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3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4.xml" ContentType="application/vnd.openxmlformats-officedocument.them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5.xml" ContentType="application/vnd.openxmlformats-officedocument.theme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6.xml" ContentType="application/vnd.openxmlformats-officedocument.theme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92" r:id="rId3"/>
    <p:sldMasterId id="2147483716" r:id="rId4"/>
    <p:sldMasterId id="2147483762" r:id="rId5"/>
    <p:sldMasterId id="2147483791" r:id="rId6"/>
    <p:sldMasterId id="2147483801" r:id="rId7"/>
    <p:sldMasterId id="2147483823" r:id="rId8"/>
  </p:sldMasterIdLst>
  <p:notesMasterIdLst>
    <p:notesMasterId r:id="rId40"/>
  </p:notesMasterIdLst>
  <p:sldIdLst>
    <p:sldId id="256" r:id="rId9"/>
    <p:sldId id="257" r:id="rId10"/>
    <p:sldId id="285" r:id="rId11"/>
    <p:sldId id="282" r:id="rId12"/>
    <p:sldId id="330" r:id="rId13"/>
    <p:sldId id="334" r:id="rId14"/>
    <p:sldId id="333" r:id="rId15"/>
    <p:sldId id="332" r:id="rId16"/>
    <p:sldId id="335" r:id="rId17"/>
    <p:sldId id="336" r:id="rId18"/>
    <p:sldId id="337" r:id="rId19"/>
    <p:sldId id="338" r:id="rId20"/>
    <p:sldId id="339" r:id="rId21"/>
    <p:sldId id="344" r:id="rId22"/>
    <p:sldId id="341" r:id="rId23"/>
    <p:sldId id="343" r:id="rId24"/>
    <p:sldId id="331" r:id="rId25"/>
    <p:sldId id="283" r:id="rId26"/>
    <p:sldId id="329" r:id="rId27"/>
    <p:sldId id="294" r:id="rId28"/>
    <p:sldId id="321" r:id="rId29"/>
    <p:sldId id="322" r:id="rId30"/>
    <p:sldId id="323" r:id="rId31"/>
    <p:sldId id="317" r:id="rId32"/>
    <p:sldId id="328" r:id="rId33"/>
    <p:sldId id="318" r:id="rId34"/>
    <p:sldId id="327" r:id="rId35"/>
    <p:sldId id="342" r:id="rId36"/>
    <p:sldId id="314" r:id="rId37"/>
    <p:sldId id="287" r:id="rId38"/>
    <p:sldId id="288" r:id="rId3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cott" initials="S" lastIdx="30" clrIdx="0">
    <p:extLst>
      <p:ext uri="{19B8F6BF-5375-455C-9EA6-DF929625EA0E}">
        <p15:presenceInfo xmlns:p15="http://schemas.microsoft.com/office/powerpoint/2012/main" userId="Scott" providerId="None"/>
      </p:ext>
    </p:extLst>
  </p:cmAuthor>
  <p:cmAuthor id="2" name="Abby Breckenridge" initials="AB" lastIdx="7" clrIdx="1">
    <p:extLst>
      <p:ext uri="{19B8F6BF-5375-455C-9EA6-DF929625EA0E}">
        <p15:presenceInfo xmlns:p15="http://schemas.microsoft.com/office/powerpoint/2012/main" userId="Abby Breckenridge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BC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470" autoAdjust="0"/>
    <p:restoredTop sz="74208" autoAdjust="0"/>
  </p:normalViewPr>
  <p:slideViewPr>
    <p:cSldViewPr snapToGrid="0">
      <p:cViewPr>
        <p:scale>
          <a:sx n="74" d="100"/>
          <a:sy n="74" d="100"/>
        </p:scale>
        <p:origin x="771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2E64D2-7D11-411B-ADC2-09291AA6CEEF}" type="datetimeFigureOut">
              <a:rPr lang="en-GB" smtClean="0"/>
              <a:t>15/02/2017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A70689-316F-4870-938E-2FD004E7DFA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18303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A70689-316F-4870-938E-2FD004E7DFA5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2538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70689-316F-4870-938E-2FD004E7DFA5}" type="slidenum">
              <a: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93778691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70689-316F-4870-938E-2FD004E7DFA5}" type="slidenum">
              <a: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60357990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70689-316F-4870-938E-2FD004E7DFA5}" type="slidenum">
              <a: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18578835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70689-316F-4870-938E-2FD004E7DFA5}" type="slidenum">
              <a: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30417307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70689-316F-4870-938E-2FD004E7DFA5}" type="slidenum">
              <a: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56241197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70689-316F-4870-938E-2FD004E7DFA5}" type="slidenum">
              <a: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20630525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05278E-5E87-46DA-836C-231A3458D21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140842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05278E-5E87-46DA-836C-231A3458D216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77525482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05278E-5E87-46DA-836C-231A3458D216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86416919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05278E-5E87-46DA-836C-231A3458D216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7427264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70689-316F-4870-938E-2FD004E7DFA5}" type="slidenum">
              <a: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53991424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70689-316F-4870-938E-2FD004E7DFA5}" type="slidenum">
              <a: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89693611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05278E-5E87-46DA-836C-231A3458D216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anose="020B0502040204020203" pitchFamily="34" charset="0"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876243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70689-316F-4870-938E-2FD004E7DFA5}" type="slidenum">
              <a: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92289735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A70689-316F-4870-938E-2FD004E7DFA5}" type="slidenum">
              <a:rPr lang="en-GB" smtClean="0"/>
              <a:t>2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691460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E9BE9C-009F-440C-9D80-3E99CAF821DD}" type="slidenum">
              <a: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01995334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E9BE9C-009F-440C-9D80-3E99CAF821DD}" type="slidenum">
              <a: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5414105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70689-316F-4870-938E-2FD004E7DFA5}" type="slidenum">
              <a: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5688395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70689-316F-4870-938E-2FD004E7DFA5}" type="slidenum">
              <a: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2027207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70689-316F-4870-938E-2FD004E7DFA5}" type="slidenum">
              <a: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6255497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70689-316F-4870-938E-2FD004E7DFA5}" type="slidenum">
              <a: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7120556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70689-316F-4870-938E-2FD004E7DFA5}" type="slidenum">
              <a: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9765164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70689-316F-4870-938E-2FD004E7DFA5}" type="slidenum">
              <a: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3087988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A70689-316F-4870-938E-2FD004E7DFA5}" type="slidenum">
              <a: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3311082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8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D02F06-11B2-4CDF-B85B-7359AB94FFF9}" type="datetimeFigureOut">
              <a:rPr lang="en-GB" smtClean="0"/>
              <a:t>15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E73C3-E7BA-4F2F-B0ED-E0265D036A5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01715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D02F06-11B2-4CDF-B85B-7359AB94FFF9}" type="datetimeFigureOut">
              <a:rPr lang="en-GB" smtClean="0"/>
              <a:t>15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E73C3-E7BA-4F2F-B0ED-E0265D036A5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249420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6951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115378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Evidenc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gradFill>
                  <a:gsLst>
                    <a:gs pos="18584">
                      <a:schemeClr val="tx2"/>
                    </a:gs>
                    <a:gs pos="57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ustomer evidence slid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 bwMode="gray">
          <a:xfrm>
            <a:off x="269239" y="1406078"/>
            <a:ext cx="5378549" cy="1791549"/>
          </a:xfrm>
          <a:blipFill>
            <a:blip r:embed="rId2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353" kern="1200" spc="0" baseline="0" dirty="0">
                <a:noFill/>
                <a:latin typeface="+mn-lt"/>
                <a:ea typeface="+mn-ea"/>
                <a:cs typeface="+mn-cs"/>
              </a:defRPr>
            </a:lvl1pPr>
            <a:lvl2pPr>
              <a:defRPr lang="en-US" sz="2353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Click icon to add picture</a:t>
            </a: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6095999" y="4773828"/>
            <a:ext cx="5829081" cy="1793104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79285" tIns="143428" rIns="179285" bIns="143428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961" dirty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096000" y="1406078"/>
            <a:ext cx="5826762" cy="3366196"/>
          </a:xfrm>
          <a:blipFill>
            <a:blip r:embed="rId3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353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algn="ctr">
              <a:defRPr lang="en-US" sz="2353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Your image her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871894" y="1801029"/>
            <a:ext cx="0" cy="4662019"/>
          </a:xfrm>
          <a:prstGeom prst="line">
            <a:avLst/>
          </a:prstGeom>
          <a:ln w="3175">
            <a:solidFill>
              <a:schemeClr val="tx1">
                <a:alpha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269239" y="3197079"/>
            <a:ext cx="5378549" cy="3369853"/>
          </a:xfrm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sz="2353"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6096001" y="4773828"/>
            <a:ext cx="5826761" cy="1791549"/>
          </a:xfrm>
        </p:spPr>
        <p:txBody>
          <a:bodyPr lIns="182880" tIns="146304" rIns="182880" bIns="146304" anchor="ctr">
            <a:noAutofit/>
          </a:bodyPr>
          <a:lstStyle>
            <a:lvl1pPr marL="0" indent="0" algn="ctr">
              <a:buNone/>
              <a:defRPr sz="3137">
                <a:gradFill>
                  <a:gsLst>
                    <a:gs pos="27434">
                      <a:srgbClr val="FFFFFF"/>
                    </a:gs>
                    <a:gs pos="54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36485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8066548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8067822" cy="724246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5621954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6687535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217195"/>
            <a:ext cx="5378548" cy="1973570"/>
          </a:xfrm>
        </p:spPr>
        <p:txBody>
          <a:bodyPr>
            <a:spAutoFit/>
          </a:bodyPr>
          <a:lstStyle>
            <a:lvl1pPr>
              <a:defRPr sz="647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9014697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3412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238" y="6476787"/>
            <a:ext cx="898127" cy="1960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15005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70067"/>
            <a:ext cx="1421436" cy="30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90893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DataInsights_quadto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88" y="0"/>
            <a:ext cx="12192000" cy="6858973"/>
          </a:xfrm>
          <a:prstGeom prst="rect">
            <a:avLst/>
          </a:prstGeom>
        </p:spPr>
      </p:pic>
      <p:pic>
        <p:nvPicPr>
          <p:cNvPr id="14" name="Picture 13" descr="DataInsights-iStock_000022453217Large.jpg"/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98439" y="2302198"/>
            <a:ext cx="2757245" cy="2751705"/>
          </a:xfrm>
          <a:prstGeom prst="rect">
            <a:avLst/>
          </a:prstGeom>
        </p:spPr>
      </p:pic>
      <p:pic>
        <p:nvPicPr>
          <p:cNvPr id="11" name="Picture 9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56" r="20331"/>
          <a:stretch>
            <a:fillRect/>
          </a:stretch>
        </p:blipFill>
        <p:spPr bwMode="auto">
          <a:xfrm>
            <a:off x="6573784" y="236590"/>
            <a:ext cx="5464145" cy="6437741"/>
          </a:xfrm>
          <a:prstGeom prst="rect">
            <a:avLst/>
          </a:prstGeom>
          <a:noFill/>
          <a:ln>
            <a:noFill/>
          </a:ln>
          <a:effectLst>
            <a:outerShdw blurRad="114300" dist="38100" dir="2700000" algn="tl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1"/>
          <p:cNvSpPr/>
          <p:nvPr userDrawn="1"/>
        </p:nvSpPr>
        <p:spPr bwMode="auto">
          <a:xfrm>
            <a:off x="1" y="2"/>
            <a:ext cx="6053737" cy="6869648"/>
          </a:xfrm>
          <a:prstGeom prst="rect">
            <a:avLst/>
          </a:prstGeom>
          <a:gradFill flip="none" rotWithShape="1">
            <a:gsLst>
              <a:gs pos="100000">
                <a:srgbClr val="003963">
                  <a:alpha val="0"/>
                </a:srgbClr>
              </a:gs>
              <a:gs pos="0">
                <a:srgbClr val="03122F"/>
              </a:gs>
              <a:gs pos="50000">
                <a:srgbClr val="072450">
                  <a:alpha val="9000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3" rIns="0" bIns="45713" anchor="ctr"/>
          <a:lstStyle/>
          <a:p>
            <a:pPr algn="ctr" defTabSz="913927">
              <a:defRPr/>
            </a:pPr>
            <a:endParaRPr lang="en-US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15" name="Picture 8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777" y="470068"/>
            <a:ext cx="1304174" cy="286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269241" y="1428402"/>
            <a:ext cx="5487085" cy="897667"/>
          </a:xfrm>
        </p:spPr>
        <p:txBody>
          <a:bodyPr/>
          <a:lstStyle>
            <a:lvl1pPr>
              <a:defRPr sz="509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269302" y="4353454"/>
            <a:ext cx="5487022" cy="1055663"/>
          </a:xfrm>
        </p:spPr>
        <p:txBody>
          <a:bodyPr/>
          <a:lstStyle>
            <a:lvl1pPr marL="0" indent="0" algn="l">
              <a:lnSpc>
                <a:spcPts val="2647"/>
              </a:lnSpc>
              <a:buNone/>
              <a:defRPr sz="2157">
                <a:solidFill>
                  <a:schemeClr val="bg1"/>
                </a:solidFill>
                <a:latin typeface="+mj-lt"/>
              </a:defRPr>
            </a:lvl1pPr>
            <a:lvl2pPr marL="4481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3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4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6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7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94032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D02F06-11B2-4CDF-B85B-7359AB94FFF9}" type="datetimeFigureOut">
              <a:rPr lang="en-GB" smtClean="0"/>
              <a:t>15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E73C3-E7BA-4F2F-B0ED-E0265D036A5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4699942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ataInsights-iStock_000022453217Large.jpg"/>
          <p:cNvPicPr>
            <a:picLocks noChangeAspect="1"/>
          </p:cNvPicPr>
          <p:nvPr userDrawn="1"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1222156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879269"/>
      </p:ext>
    </p:extLst>
  </p:cSld>
  <p:clrMapOvr>
    <a:masterClrMapping/>
  </p:clrMapOvr>
  <p:transition spd="med">
    <p:wipe dir="r"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3pt 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69241" y="1117577"/>
            <a:ext cx="10816237" cy="563458"/>
          </a:xfrm>
          <a:prstGeom prst="rect">
            <a:avLst/>
          </a:prstGeom>
        </p:spPr>
        <p:txBody>
          <a:bodyPr lIns="192024"/>
          <a:lstStyle>
            <a:lvl1pPr marL="0" indent="0">
              <a:buNone/>
              <a:defRPr lang="en-US" sz="2745" kern="120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 lang="en-US" sz="3108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None/>
              <a:defRPr lang="en-US" sz="3108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None/>
              <a:defRPr lang="en-US" sz="3108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None/>
              <a:defRPr lang="en-US" sz="3108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/>
          <a:lstStyle>
            <a:lvl1pPr algn="l">
              <a:defRPr sz="5097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dirty="0" smtClean="0">
                <a:solidFill>
                  <a:srgbClr val="505050"/>
                </a:solidFill>
              </a:defRPr>
            </a:lvl1pPr>
          </a:lstStyle>
          <a:p>
            <a:pPr>
              <a:defRPr/>
            </a:pPr>
            <a:r>
              <a:t>Microsoft Confidential</a:t>
            </a:r>
            <a:endParaRPr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913330" fontAlgn="base">
              <a:spcBef>
                <a:spcPct val="0"/>
              </a:spcBef>
              <a:spcAft>
                <a:spcPct val="0"/>
              </a:spcAft>
              <a:defRPr smtClean="0">
                <a:solidFill>
                  <a:srgbClr val="505050"/>
                </a:solidFill>
              </a:defRPr>
            </a:lvl1pPr>
          </a:lstStyle>
          <a:p>
            <a:pPr>
              <a:defRPr/>
            </a:pPr>
            <a:fld id="{56442AAA-6A77-5942-BCC4-0CCA4B0626F8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998280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dirty="0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t>Microsoft Confidential</a:t>
            </a:r>
            <a:endParaRPr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3330" fontAlgn="base">
              <a:spcBef>
                <a:spcPct val="0"/>
              </a:spcBef>
              <a:spcAft>
                <a:spcPct val="0"/>
              </a:spcAft>
              <a:defRPr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F8A0AC42-AA1D-4944-8D96-660DE70C7E1B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577158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/>
          <a:lstStyle>
            <a:lvl1pPr algn="l">
              <a:defRPr sz="5097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25603257"/>
      </p:ext>
    </p:extLst>
  </p:cSld>
  <p:clrMapOvr>
    <a:masterClrMapping/>
  </p:clrMapOvr>
  <p:transition spd="med"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0968462"/>
      </p:ext>
    </p:extLst>
  </p:cSld>
  <p:clrMapOvr>
    <a:masterClrMapping/>
  </p:clrMapOvr>
  <p:transition spd="med">
    <p:wipe dir="r"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1">
    <p:bg>
      <p:bgPr>
        <a:solidFill>
          <a:srgbClr val="DA3C1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3450549"/>
      </p:ext>
    </p:extLst>
  </p:cSld>
  <p:clrMapOvr>
    <a:masterClrMapping/>
  </p:clrMapOvr>
  <p:transition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2123787"/>
          </a:xfrm>
        </p:spPr>
        <p:txBody>
          <a:bodyPr>
            <a:spAutoFit/>
          </a:bodyPr>
          <a:lstStyle>
            <a:lvl1pPr>
              <a:defRPr sz="3528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81391666"/>
      </p:ext>
    </p:extLst>
  </p:cSld>
  <p:clrMapOvr>
    <a:masterClrMapping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DataInsights_quadton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88" y="-1"/>
            <a:ext cx="12192000" cy="6858973"/>
          </a:xfrm>
          <a:prstGeom prst="rect">
            <a:avLst/>
          </a:prstGeom>
        </p:spPr>
      </p:pic>
      <p:pic>
        <p:nvPicPr>
          <p:cNvPr id="14" name="Picture 13" descr="DataInsights-iStock_000022453217Large.jpg"/>
          <p:cNvPicPr>
            <a:picLocks noChangeAspect="1"/>
          </p:cNvPicPr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98438" y="2302198"/>
            <a:ext cx="2757245" cy="2751705"/>
          </a:xfrm>
          <a:prstGeom prst="rect">
            <a:avLst/>
          </a:prstGeom>
        </p:spPr>
      </p:pic>
      <p:pic>
        <p:nvPicPr>
          <p:cNvPr id="11" name="Picture 9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56" r="20331"/>
          <a:stretch>
            <a:fillRect/>
          </a:stretch>
        </p:blipFill>
        <p:spPr bwMode="auto">
          <a:xfrm>
            <a:off x="6573783" y="236590"/>
            <a:ext cx="5464145" cy="6437741"/>
          </a:xfrm>
          <a:prstGeom prst="rect">
            <a:avLst/>
          </a:prstGeom>
          <a:noFill/>
          <a:ln>
            <a:noFill/>
          </a:ln>
          <a:effectLst>
            <a:outerShdw blurRad="114300" dist="38100" dir="2700000" algn="tl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1"/>
          <p:cNvSpPr/>
          <p:nvPr/>
        </p:nvSpPr>
        <p:spPr bwMode="auto">
          <a:xfrm>
            <a:off x="0" y="1"/>
            <a:ext cx="6053737" cy="6869648"/>
          </a:xfrm>
          <a:prstGeom prst="rect">
            <a:avLst/>
          </a:prstGeom>
          <a:gradFill flip="none" rotWithShape="1">
            <a:gsLst>
              <a:gs pos="100000">
                <a:srgbClr val="003963">
                  <a:alpha val="0"/>
                </a:srgbClr>
              </a:gs>
              <a:gs pos="0">
                <a:srgbClr val="03122F"/>
              </a:gs>
              <a:gs pos="50000">
                <a:srgbClr val="072450">
                  <a:alpha val="9000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anchor="ctr"/>
          <a:lstStyle/>
          <a:p>
            <a:pPr algn="ctr" defTabSz="914102">
              <a:defRPr/>
            </a:pPr>
            <a:endParaRPr lang="en-US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15" name="Picture 8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776" y="470067"/>
            <a:ext cx="1304174" cy="286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269240" y="1428401"/>
            <a:ext cx="5487085" cy="897667"/>
          </a:xfrm>
        </p:spPr>
        <p:txBody>
          <a:bodyPr/>
          <a:lstStyle>
            <a:lvl1pPr>
              <a:defRPr sz="509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269302" y="4353453"/>
            <a:ext cx="5487022" cy="1055663"/>
          </a:xfrm>
        </p:spPr>
        <p:txBody>
          <a:bodyPr/>
          <a:lstStyle>
            <a:lvl1pPr marL="0" indent="0" algn="l">
              <a:lnSpc>
                <a:spcPts val="2647"/>
              </a:lnSpc>
              <a:buNone/>
              <a:defRPr sz="2157">
                <a:solidFill>
                  <a:schemeClr val="bg1"/>
                </a:solidFill>
                <a:latin typeface="+mj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993376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/>
          <a:srcRect l="120"/>
          <a:stretch/>
        </p:blipFill>
        <p:spPr>
          <a:xfrm>
            <a:off x="-1" y="-312"/>
            <a:ext cx="12206629" cy="6858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913071"/>
      </p:ext>
    </p:extLst>
  </p:cSld>
  <p:clrMapOvr>
    <a:masterClrMapping/>
  </p:clrMapOvr>
  <p:transition spd="med">
    <p:wipe dir="r"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3pt 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69240" y="1279455"/>
            <a:ext cx="10816237" cy="563458"/>
          </a:xfrm>
          <a:prstGeom prst="rect">
            <a:avLst/>
          </a:prstGeom>
        </p:spPr>
        <p:txBody>
          <a:bodyPr lIns="192024"/>
          <a:lstStyle>
            <a:lvl1pPr marL="0" indent="0">
              <a:buNone/>
              <a:defRPr lang="en-US" sz="2745" kern="120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 lang="en-US" sz="3108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None/>
              <a:defRPr lang="en-US" sz="3108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None/>
              <a:defRPr lang="en-US" sz="3108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None/>
              <a:defRPr lang="en-US" sz="3108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/>
          <a:lstStyle>
            <a:lvl1pPr algn="l">
              <a:defRPr sz="50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dirty="0" smtClean="0">
                <a:solidFill>
                  <a:srgbClr val="505050"/>
                </a:solidFill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913505" fontAlgn="base">
              <a:spcBef>
                <a:spcPct val="0"/>
              </a:spcBef>
              <a:spcAft>
                <a:spcPct val="0"/>
              </a:spcAft>
              <a:defRPr smtClean="0">
                <a:solidFill>
                  <a:srgbClr val="505050"/>
                </a:solidFill>
              </a:defRPr>
            </a:lvl1pPr>
          </a:lstStyle>
          <a:p>
            <a:pPr>
              <a:defRPr/>
            </a:pPr>
            <a:fld id="{56442AAA-6A77-5942-BCC4-0CCA4B0626F8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318309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/>
          <a:lstStyle>
            <a:lvl1pPr algn="l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67165" y="6629335"/>
            <a:ext cx="555597" cy="133860"/>
          </a:xfrm>
          <a:prstGeom prst="rect">
            <a:avLst/>
          </a:prstGeom>
        </p:spPr>
        <p:txBody>
          <a:bodyPr vert="horz" lIns="91440" tIns="0" rIns="0" bIns="0" rtlCol="0" anchor="ctr"/>
          <a:lstStyle>
            <a:lvl1pPr algn="r" defTabSz="914367" fontAlgn="auto">
              <a:spcBef>
                <a:spcPts val="0"/>
              </a:spcBef>
              <a:spcAft>
                <a:spcPts val="0"/>
              </a:spcAft>
              <a:defRPr lang="en-US" sz="882" b="0" kern="1200">
                <a:solidFill>
                  <a:srgbClr val="50505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75FAD755-3BD0-2447-A9DF-109DAABEFD99}" type="slidenum">
              <a:rPr/>
              <a:pPr>
                <a:defRPr/>
              </a:pPr>
              <a:t>‹#›</a:t>
            </a:fld>
            <a:endParaRPr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9239" y="6481587"/>
            <a:ext cx="898127" cy="191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0770807"/>
      </p:ext>
    </p:extLst>
  </p:cSld>
  <p:clrMapOvr>
    <a:masterClrMapping/>
  </p:clrMapOvr>
  <p:transition spd="med"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dirty="0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3505" fontAlgn="base">
              <a:spcBef>
                <a:spcPct val="0"/>
              </a:spcBef>
              <a:spcAft>
                <a:spcPct val="0"/>
              </a:spcAft>
              <a:defRPr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F8A0AC42-AA1D-4944-8D96-660DE70C7E1B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398373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/>
          <a:lstStyle>
            <a:lvl1pPr algn="l">
              <a:defRPr sz="50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367165" y="6437742"/>
            <a:ext cx="555597" cy="133860"/>
          </a:xfrm>
        </p:spPr>
        <p:txBody>
          <a:bodyPr/>
          <a:lstStyle>
            <a:lvl1pPr defTabSz="913505" fontAlgn="base">
              <a:spcBef>
                <a:spcPct val="0"/>
              </a:spcBef>
              <a:spcAft>
                <a:spcPct val="0"/>
              </a:spcAft>
              <a:defRPr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F8A0AC42-AA1D-4944-8D96-660DE70C7E1B}" type="slidenum">
              <a:rPr/>
              <a:pPr>
                <a:defRPr/>
              </a:pPr>
              <a:t>‹#›</a:t>
            </a:fld>
            <a:endParaRPr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502" t="40628" r="27716" b="39461"/>
          <a:stretch/>
        </p:blipFill>
        <p:spPr>
          <a:xfrm>
            <a:off x="523142" y="6434664"/>
            <a:ext cx="935823" cy="23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5970719"/>
      </p:ext>
    </p:extLst>
  </p:cSld>
  <p:clrMapOvr>
    <a:masterClrMapping/>
  </p:clrMapOvr>
  <p:transition spd="med"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/>
          <a:lstStyle>
            <a:lvl1pPr algn="l">
              <a:defRPr sz="50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367165" y="6437742"/>
            <a:ext cx="555597" cy="133860"/>
          </a:xfrm>
        </p:spPr>
        <p:txBody>
          <a:bodyPr/>
          <a:lstStyle>
            <a:lvl1pPr defTabSz="913505" fontAlgn="base">
              <a:spcBef>
                <a:spcPct val="0"/>
              </a:spcBef>
              <a:spcAft>
                <a:spcPct val="0"/>
              </a:spcAft>
              <a:defRPr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F8A0AC42-AA1D-4944-8D96-660DE70C7E1B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22820741"/>
      </p:ext>
    </p:extLst>
  </p:cSld>
  <p:clrMapOvr>
    <a:masterClrMapping/>
  </p:clrMapOvr>
  <p:transition spd="med"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 rot="16200000">
            <a:off x="4436204" y="-897799"/>
            <a:ext cx="3319595" cy="12192002"/>
          </a:xfrm>
          <a:prstGeom prst="rect">
            <a:avLst/>
          </a:prstGeom>
          <a:gradFill flip="none" rotWithShape="1">
            <a:gsLst>
              <a:gs pos="75000">
                <a:srgbClr val="003963">
                  <a:alpha val="0"/>
                </a:srgbClr>
              </a:gs>
              <a:gs pos="0">
                <a:srgbClr val="002B4A"/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anchor="ctr"/>
          <a:lstStyle/>
          <a:p>
            <a:pPr algn="ctr" defTabSz="914102">
              <a:defRPr/>
            </a:pPr>
            <a:endParaRPr lang="en-US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213788" cy="6858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970924"/>
      </p:ext>
    </p:extLst>
  </p:cSld>
  <p:clrMapOvr>
    <a:masterClrMapping/>
  </p:clrMapOvr>
  <p:transition spd="med">
    <p:wipe dir="r"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Accent Color 1">
    <p:bg>
      <p:bgPr>
        <a:solidFill>
          <a:srgbClr val="DA3C1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6113147"/>
      </p:ext>
    </p:extLst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6922" y="1284251"/>
            <a:ext cx="11655840" cy="2018835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2920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</a:defRPr>
            </a:lvl1pPr>
            <a:lvl2pPr marL="28012" indent="0">
              <a:buNone/>
              <a:defRPr sz="1961"/>
            </a:lvl2pPr>
            <a:lvl3pPr marL="219428" indent="0">
              <a:buNone/>
              <a:defRPr sz="1961"/>
            </a:lvl3pPr>
            <a:lvl4pPr marL="466868" indent="0">
              <a:buNone/>
              <a:defRPr sz="1765"/>
            </a:lvl4pPr>
            <a:lvl5pPr marL="725201" indent="0">
              <a:buNone/>
              <a:defRPr sz="176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11367165" y="6437742"/>
            <a:ext cx="555597" cy="133860"/>
          </a:xfrm>
        </p:spPr>
        <p:txBody>
          <a:bodyPr/>
          <a:lstStyle>
            <a:lvl1pPr defTabSz="913505" fontAlgn="base">
              <a:spcBef>
                <a:spcPct val="0"/>
              </a:spcBef>
              <a:spcAft>
                <a:spcPct val="0"/>
              </a:spcAft>
              <a:defRPr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F8A0AC42-AA1D-4944-8D96-660DE70C7E1B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19399865"/>
      </p:ext>
    </p:extLst>
  </p:cSld>
  <p:clrMapOvr>
    <a:masterClrMapping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/>
        </p:nvSpPr>
        <p:spPr bwMode="hidden">
          <a:xfrm>
            <a:off x="1" y="1155941"/>
            <a:ext cx="12192000" cy="5702060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8454" y="1447803"/>
            <a:ext cx="11155093" cy="2089751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11367165" y="6437742"/>
            <a:ext cx="555597" cy="133860"/>
          </a:xfrm>
        </p:spPr>
        <p:txBody>
          <a:bodyPr/>
          <a:lstStyle>
            <a:lvl1pPr defTabSz="913505" fontAlgn="base">
              <a:spcBef>
                <a:spcPct val="0"/>
              </a:spcBef>
              <a:spcAft>
                <a:spcPct val="0"/>
              </a:spcAft>
              <a:defRPr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F8A0AC42-AA1D-4944-8D96-660DE70C7E1B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44066108"/>
      </p:ext>
    </p:extLst>
  </p:cSld>
  <p:clrMapOvr>
    <a:masterClrMapping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46064"/>
            <a:ext cx="10972800" cy="43973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02828"/>
            <a:ext cx="10972800" cy="2250695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Bef>
                <a:spcPts val="1100"/>
              </a:spcBef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09600" y="627889"/>
            <a:ext cx="10972800" cy="312143"/>
          </a:xfrm>
        </p:spPr>
        <p:txBody>
          <a:bodyPr tIns="0"/>
          <a:lstStyle>
            <a:lvl1pPr>
              <a:spcAft>
                <a:spcPts val="0"/>
              </a:spcAft>
              <a:defRPr sz="1600">
                <a:solidFill>
                  <a:schemeClr val="bg1"/>
                </a:solidFill>
                <a:latin typeface="Segoe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11367165" y="6437742"/>
            <a:ext cx="555597" cy="133860"/>
          </a:xfrm>
        </p:spPr>
        <p:txBody>
          <a:bodyPr/>
          <a:lstStyle>
            <a:lvl1pPr defTabSz="913505" fontAlgn="base">
              <a:spcBef>
                <a:spcPct val="0"/>
              </a:spcBef>
              <a:spcAft>
                <a:spcPct val="0"/>
              </a:spcAft>
              <a:defRPr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F8A0AC42-AA1D-4944-8D96-660DE70C7E1B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8485624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20835" y="1447803"/>
            <a:ext cx="5396366" cy="2622373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sz="4019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0" indent="0">
              <a:buNone/>
              <a:defRPr sz="1961"/>
            </a:lvl2pPr>
            <a:lvl3pPr marL="233364" indent="0">
              <a:buNone/>
              <a:defRPr sz="1961"/>
            </a:lvl3pPr>
            <a:lvl4pPr marL="457202" indent="0">
              <a:buNone/>
              <a:defRPr sz="1961"/>
            </a:lvl4pPr>
            <a:lvl5pPr marL="693741" indent="0">
              <a:buNone/>
              <a:defRPr sz="196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279562" y="1447803"/>
            <a:ext cx="5396366" cy="2622373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lang="en-US" sz="4019" kern="1200" spc="-70" baseline="0" dirty="0" smtClean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3175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961" kern="1200" spc="-7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233364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961" kern="1200" spc="-7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460377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961" kern="1200" spc="-7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68739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961" kern="1200" spc="-7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to edit Master text styles</a:t>
            </a:r>
          </a:p>
          <a:p>
            <a:pPr marL="0" marR="0" lvl="1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Second level</a:t>
            </a:r>
          </a:p>
          <a:p>
            <a:pPr marL="0" marR="0" lvl="2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Third level</a:t>
            </a:r>
          </a:p>
          <a:p>
            <a:pPr marL="0" marR="0" lvl="3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Fourth level</a:t>
            </a:r>
          </a:p>
          <a:p>
            <a:pPr marL="0" marR="0" lvl="4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Box 7"/>
          <p:cNvSpPr txBox="1"/>
          <p:nvPr/>
        </p:nvSpPr>
        <p:spPr>
          <a:xfrm>
            <a:off x="4161400" y="6593488"/>
            <a:ext cx="3869200" cy="16597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78" spc="150" dirty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latin typeface="Segoe Semibold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4214865909"/>
      </p:ext>
    </p:extLst>
  </p:cSld>
  <p:clrMapOvr>
    <a:masterClrMapping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44" t="1853" r="1090"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6063" y="2084173"/>
            <a:ext cx="6278150" cy="3491849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84173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57"/>
            <a:ext cx="6276530" cy="1698765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448212" y="470068"/>
            <a:ext cx="2060658" cy="393703"/>
          </a:xfrm>
          <a:prstGeom prst="rect">
            <a:avLst/>
          </a:prstGeom>
          <a:noFill/>
          <a:ln w="6350" cap="sq">
            <a:solidFill>
              <a:srgbClr val="525252"/>
            </a:solidFill>
            <a:prstDash val="sysDash"/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745" dirty="0">
                <a:gradFill>
                  <a:gsLst>
                    <a:gs pos="93939">
                      <a:srgbClr val="525252"/>
                    </a:gs>
                    <a:gs pos="80808">
                      <a:srgbClr val="525252"/>
                    </a:gs>
                  </a:gsLst>
                  <a:lin ang="5400000" scaled="1"/>
                </a:gradFill>
                <a:ea typeface="Segoe UI" pitchFamily="34" charset="0"/>
                <a:cs typeface="Segoe UI" pitchFamily="34" charset="0"/>
              </a:rPr>
              <a:t>Product logo</a:t>
            </a: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48212" y="863772"/>
            <a:ext cx="2060658" cy="271689"/>
          </a:xfrm>
          <a:prstGeom prst="rect">
            <a:avLst/>
          </a:prstGeom>
          <a:noFill/>
          <a:ln w="6350" cap="sq">
            <a:noFill/>
            <a:prstDash val="sysDot"/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72" dirty="0">
                <a:gradFill>
                  <a:gsLst>
                    <a:gs pos="93939">
                      <a:srgbClr val="525252"/>
                    </a:gs>
                    <a:gs pos="80808">
                      <a:srgbClr val="525252"/>
                    </a:gs>
                  </a:gsLst>
                  <a:lin ang="5400000" scaled="1"/>
                </a:gradFill>
                <a:ea typeface="Segoe UI" pitchFamily="34" charset="0"/>
                <a:cs typeface="Segoe UI" pitchFamily="34" charset="0"/>
              </a:rPr>
              <a:t>Update on slide master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6715" y="6029312"/>
            <a:ext cx="1668788" cy="358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67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1613794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76852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406897"/>
            <a:ext cx="6276530" cy="1793104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76852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02773" y="1904878"/>
            <a:ext cx="5134767" cy="4480254"/>
          </a:xfrm>
          <a:prstGeom prst="rect">
            <a:avLst/>
          </a:prstGeom>
        </p:spPr>
      </p:pic>
      <p:grpSp>
        <p:nvGrpSpPr>
          <p:cNvPr id="8" name="Group 7"/>
          <p:cNvGrpSpPr>
            <a:grpSpLocks noChangeAspect="1"/>
          </p:cNvGrpSpPr>
          <p:nvPr userDrawn="1"/>
        </p:nvGrpSpPr>
        <p:grpSpPr bwMode="gray">
          <a:xfrm>
            <a:off x="448213" y="6034000"/>
            <a:ext cx="1648360" cy="353933"/>
            <a:chOff x="457200" y="1643393"/>
            <a:chExt cx="4492753" cy="964540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 bwMode="gray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4" name="Freeform 12"/>
            <p:cNvSpPr>
              <a:spLocks noEditPoints="1"/>
            </p:cNvSpPr>
            <p:nvPr/>
          </p:nvSpPr>
          <p:spPr bwMode="gray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</p:spTree>
    <p:extLst>
      <p:ext uri="{BB962C8B-B14F-4D97-AF65-F5344CB8AC3E}">
        <p14:creationId xmlns:p14="http://schemas.microsoft.com/office/powerpoint/2010/main" val="5332273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708" t="16947" r="68" b="15692"/>
          <a:stretch/>
        </p:blipFill>
        <p:spPr>
          <a:xfrm>
            <a:off x="623" y="-623"/>
            <a:ext cx="12191377" cy="6858623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5644611" y="2103818"/>
            <a:ext cx="6278150" cy="3491849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647850" y="2103817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646231" y="3896902"/>
            <a:ext cx="6276530" cy="1698765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2937" y="6220952"/>
            <a:ext cx="1653406" cy="356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376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8" y="-1"/>
            <a:ext cx="15133212" cy="8514857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6063" y="2084173"/>
            <a:ext cx="6278150" cy="3491849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84173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57"/>
            <a:ext cx="6276530" cy="1698765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503" y="6043943"/>
            <a:ext cx="1653406" cy="356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890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8213" y="6029312"/>
            <a:ext cx="1673890" cy="358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9246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87204532"/>
      </p:ext>
    </p:extLst>
  </p:cSld>
  <p:clrMapOvr>
    <a:masterClrMapping/>
  </p:clrMapOvr>
  <p:transition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>
            <a:spAutoFit/>
          </a:bodyPr>
          <a:lstStyle>
            <a:lvl1pPr>
              <a:defRPr sz="3529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8732258"/>
      </p:ext>
    </p:extLst>
  </p:cSld>
  <p:clrMapOvr>
    <a:masterClrMapping/>
  </p:clrMapOvr>
  <p:transition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5078352"/>
      </p:ext>
    </p:extLst>
  </p:cSld>
  <p:clrMapOvr>
    <a:masterClrMapping/>
  </p:clrMapOvr>
  <p:transition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32469675"/>
      </p:ext>
    </p:extLst>
  </p:cSld>
  <p:clrMapOvr>
    <a:masterClrMapping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06620441"/>
      </p:ext>
    </p:extLst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6"/>
            <a:ext cx="9860674" cy="778565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81746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211703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1613794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76852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406897"/>
            <a:ext cx="6276530" cy="1793104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76852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gray">
          <a:xfrm>
            <a:off x="448213" y="6034000"/>
            <a:ext cx="1648360" cy="353933"/>
            <a:chOff x="457200" y="1643393"/>
            <a:chExt cx="4492753" cy="964540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gray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1" name="Freeform 12"/>
            <p:cNvSpPr>
              <a:spLocks noEditPoints="1"/>
            </p:cNvSpPr>
            <p:nvPr/>
          </p:nvSpPr>
          <p:spPr bwMode="gray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998897" y="1904878"/>
            <a:ext cx="5016509" cy="4482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65992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66388619"/>
      </p:ext>
    </p:extLst>
  </p:cSld>
  <p:clrMapOvr>
    <a:masterClrMapping/>
  </p:clrMapOvr>
  <p:transition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10071218"/>
      </p:ext>
    </p:extLst>
  </p:cSld>
  <p:clrMapOvr>
    <a:masterClrMapping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31025943"/>
      </p:ext>
    </p:extLst>
  </p:cSld>
  <p:clrMapOvr>
    <a:masterClrMapping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48251227"/>
      </p:ext>
    </p:extLst>
  </p:cSld>
  <p:clrMapOvr>
    <a:masterClrMapping/>
  </p:clrMapOvr>
  <p:transition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217195"/>
            <a:ext cx="5378548" cy="1973570"/>
          </a:xfrm>
        </p:spPr>
        <p:txBody>
          <a:bodyPr>
            <a:spAutoFit/>
          </a:bodyPr>
          <a:lstStyle>
            <a:lvl1pPr>
              <a:defRPr sz="647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042314"/>
      </p:ext>
    </p:extLst>
  </p:cSld>
  <p:clrMapOvr>
    <a:masterClrMapping/>
  </p:clrMapOvr>
  <p:transition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911189"/>
      </p:ext>
    </p:extLst>
  </p:cSld>
  <p:clrMapOvr>
    <a:masterClrMapping/>
  </p:clrMapOvr>
  <p:transition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16891507"/>
      </p:ext>
    </p:extLst>
  </p:cSld>
  <p:clrMapOvr>
    <a:masterClrMapping/>
  </p:clrMapOvr>
  <p:transition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0193880"/>
      </p:ext>
    </p:extLst>
  </p:cSld>
  <p:clrMapOvr>
    <a:masterClrMapping/>
  </p:clrMapOvr>
  <p:transition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34010432"/>
      </p:ext>
    </p:extLst>
  </p:cSld>
  <p:clrMapOvr>
    <a:masterClrMapping/>
  </p:clrMapOvr>
  <p:transition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996499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7440638" y="0"/>
            <a:ext cx="4751362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1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75840"/>
            <a:ext cx="6275220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3333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grpSp>
        <p:nvGrpSpPr>
          <p:cNvPr id="6" name="Group 5"/>
          <p:cNvGrpSpPr>
            <a:grpSpLocks noChangeAspect="1"/>
          </p:cNvGrpSpPr>
          <p:nvPr userDrawn="1"/>
        </p:nvGrpSpPr>
        <p:grpSpPr bwMode="gray">
          <a:xfrm>
            <a:off x="448525" y="6034000"/>
            <a:ext cx="1648360" cy="353933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gray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gray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76767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59261" y="2238022"/>
            <a:ext cx="3925194" cy="3406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367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170059"/>
            <a:ext cx="11623331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0202" y="3083653"/>
            <a:ext cx="3223861" cy="690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5316559"/>
      </p:ext>
    </p:extLst>
  </p:cSld>
  <p:clrMapOvr>
    <a:masterClrMapping/>
  </p:clrMapOvr>
  <p:transition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7022542"/>
      </p:ext>
    </p:extLst>
  </p:cSld>
  <p:clrMapOvr>
    <a:masterClrMapping/>
  </p:clrMapOvr>
  <p:transition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- 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90258787"/>
      </p:ext>
    </p:extLst>
  </p:cSld>
  <p:clrMapOvr>
    <a:masterClrMapping/>
  </p:clrMapOvr>
  <p:transition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/>
          <a:lstStyle>
            <a:lvl1pPr algn="l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67166" y="6629336"/>
            <a:ext cx="555597" cy="133860"/>
          </a:xfrm>
          <a:prstGeom prst="rect">
            <a:avLst/>
          </a:prstGeom>
        </p:spPr>
        <p:txBody>
          <a:bodyPr vert="horz" lIns="91440" tIns="0" rIns="0" bIns="0" rtlCol="0" anchor="ctr"/>
          <a:lstStyle>
            <a:lvl1pPr algn="r" defTabSz="914192" fontAlgn="auto">
              <a:spcBef>
                <a:spcPts val="0"/>
              </a:spcBef>
              <a:spcAft>
                <a:spcPts val="0"/>
              </a:spcAft>
              <a:defRPr lang="en-US" sz="882" b="0" kern="1200">
                <a:solidFill>
                  <a:srgbClr val="50505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75FAD755-3BD0-2447-A9DF-109DAABEFD99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03641776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7440638" y="0"/>
            <a:ext cx="4751362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1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75840"/>
            <a:ext cx="6275220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3333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grpSp>
        <p:nvGrpSpPr>
          <p:cNvPr id="6" name="Group 5"/>
          <p:cNvGrpSpPr>
            <a:grpSpLocks noChangeAspect="1"/>
          </p:cNvGrpSpPr>
          <p:nvPr userDrawn="1"/>
        </p:nvGrpSpPr>
        <p:grpSpPr bwMode="gray">
          <a:xfrm>
            <a:off x="448525" y="6034000"/>
            <a:ext cx="1648360" cy="353933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gray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gray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76767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82608" y="2191989"/>
            <a:ext cx="3876847" cy="3464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523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0535361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2352091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>
            <a:spAutoFit/>
          </a:bodyPr>
          <a:lstStyle>
            <a:lvl1pPr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7122697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D02F06-11B2-4CDF-B85B-7359AB94FFF9}" type="datetimeFigureOut">
              <a:rPr lang="en-GB" smtClean="0"/>
              <a:t>15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E73C3-E7BA-4F2F-B0ED-E0265D036A5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09745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>
            <a:spAutoFit/>
          </a:bodyPr>
          <a:lstStyle>
            <a:lvl1pPr>
              <a:defRPr sz="3529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18256263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34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34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2819181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34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34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71923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807449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2229648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80781547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rgbClr val="9AB30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2697988"/>
          </a:xfrm>
          <a:noFill/>
        </p:spPr>
        <p:txBody>
          <a:bodyPr tIns="91440" bIns="91440" anchor="t" anchorCtr="0"/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6240474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rgbClr val="00B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2697988"/>
          </a:xfrm>
          <a:noFill/>
        </p:spPr>
        <p:txBody>
          <a:bodyPr tIns="91440" bIns="91440" anchor="t" anchorCtr="0"/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3545513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748750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7218586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D02F06-11B2-4CDF-B85B-7359AB94FFF9}" type="datetimeFigureOut">
              <a:rPr lang="en-GB" smtClean="0"/>
              <a:t>15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E73C3-E7BA-4F2F-B0ED-E0265D036A5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2019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rgbClr val="002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631754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75959804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rgbClr val="002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94987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0304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655337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4009478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170059"/>
            <a:ext cx="11623331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Microsoft Corporation. All rights reserved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0202" y="3083653"/>
            <a:ext cx="3223861" cy="690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973846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85281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- ANIMATED">
    <p:bg bwMode="auto">
      <p:bgPr>
        <a:solidFill>
          <a:srgbClr val="002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5"/>
          <p:cNvSpPr>
            <a:spLocks noChangeArrowheads="1"/>
          </p:cNvSpPr>
          <p:nvPr userDrawn="1"/>
        </p:nvSpPr>
        <p:spPr bwMode="auto">
          <a:xfrm>
            <a:off x="3113" y="4309988"/>
            <a:ext cx="12188887" cy="2551127"/>
          </a:xfrm>
          <a:prstGeom prst="rect">
            <a:avLst/>
          </a:prstGeom>
          <a:solidFill>
            <a:srgbClr val="4DA0E2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auto">
          <a:xfrm>
            <a:off x="1" y="5729528"/>
            <a:ext cx="12188888" cy="1131586"/>
          </a:xfrm>
          <a:prstGeom prst="rect">
            <a:avLst/>
          </a:prstGeom>
          <a:solidFill>
            <a:srgbClr val="00188F"/>
          </a:solidFill>
          <a:ln>
            <a:noFill/>
          </a:ln>
          <a:extLst/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sp>
        <p:nvSpPr>
          <p:cNvPr id="11" name="Rectangle 8"/>
          <p:cNvSpPr>
            <a:spLocks noChangeArrowheads="1"/>
          </p:cNvSpPr>
          <p:nvPr userDrawn="1"/>
        </p:nvSpPr>
        <p:spPr bwMode="auto">
          <a:xfrm>
            <a:off x="3113" y="3343392"/>
            <a:ext cx="12185777" cy="277059"/>
          </a:xfrm>
          <a:prstGeom prst="rect">
            <a:avLst/>
          </a:prstGeom>
          <a:solidFill>
            <a:srgbClr val="25B9E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0" y="-312"/>
            <a:ext cx="12191377" cy="6858623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481915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1680485"/>
            <a:ext cx="9860610" cy="1801436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3113" y="4309988"/>
            <a:ext cx="12188887" cy="2551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70067"/>
            <a:ext cx="1421436" cy="30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33480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24000" decel="76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6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accel="24000" decel="76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8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3" presetClass="path" presetSubtype="0" accel="24000" decel="7600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10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9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3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455 4.96142E-6 L -4.34261E-6 4.96142E-6 " pathEditMode="relative" rAng="0" ptsTypes="AA">
                                      <p:cBhvr>
                                        <p:cTn id="17" dur="9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6" presetClass="emph" presetSubtype="0" accel="100000" autoRev="1" fill="hold" grpId="2" nodeType="withEffect">
                                  <p:stCondLst>
                                    <p:cond delay="50"/>
                                  </p:stCondLst>
                                  <p:childTnLst>
                                    <p:animScale>
                                      <p:cBhvr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9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3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0.01455 2.42851E-6 L -3.02783E-6 2.42851E-6 " pathEditMode="relative" rAng="0" ptsTypes="AA">
                                      <p:cBhvr>
                                        <p:cTn id="24" dur="9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6" presetClass="emph" presetSubtype="0" accel="100000" autoRev="1" fill="hold" grpId="2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26" dur="500" fill="hold"/>
                                        <p:tgtEl>
                                          <p:spTgt spid="5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9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3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31" dur="9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6" presetClass="emph" presetSubtype="0" accel="100000" autoRev="1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33" dur="500" fill="hold"/>
                                        <p:tgtEl>
                                          <p:spTgt spid="16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0" grpId="0" animBg="1"/>
      <p:bldP spid="11" grpId="0" animBg="1"/>
      <p:bldP spid="13" grpId="0" animBg="1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8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800"/>
                  </p:stCondLst>
                  <p:childTnLst>
                    <p:animMotion origin="layout" path="M -0.01455 2.42851E-6 L -3.02783E-6 2.42851E-6 " pathEditMode="relative" rAng="0" ptsTypes="AA">
                      <p:cBhvr>
                        <p:cTn dur="95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728" y="0"/>
                    </p:animMotion>
                  </p:childTnLst>
                </p:cTn>
              </p:par>
            </p:tnLst>
          </p:tmpl>
        </p:tmplLst>
      </p:bldP>
      <p:bldP spid="5" grpId="2">
        <p:tmplLst>
          <p:tmpl>
            <p:tnLst>
              <p:par>
                <p:cTn presetID="6" presetClass="emph" presetSubtype="0" accel="100000" autoRev="1" fill="hold" nodeType="withEffect">
                  <p:stCondLst>
                    <p:cond delay="100"/>
                  </p:stCondLst>
                  <p:childTnLst>
                    <p:animScale>
                      <p:cBhvr>
                        <p:cTn dur="500" fill="hold"/>
                        <p:tgtEl>
                          <p:spTgt spid="5"/>
                        </p:tgtEl>
                      </p:cBhvr>
                      <p:by x="95000" y="95000"/>
                    </p:animScale>
                  </p:childTnLst>
                </p:cTn>
              </p:par>
            </p:tnLst>
          </p:tmpl>
        </p:tmplLst>
      </p:bldP>
      <p:bldP spid="9" grpId="0"/>
      <p:bldP spid="9" grpId="1"/>
      <p:bldP spid="9" grpId="2"/>
    </p:bldLst>
  </p:timing>
  <p:extLst mod="1">
    <p:ext uri="{DCECCB84-F9BA-43D5-87BE-67443E8EF086}">
      <p15:sldGuideLst xmlns:p15="http://schemas.microsoft.com/office/powerpoint/2012/main">
        <p15:guide id="4" orient="horz" pos="4406">
          <p15:clr>
            <a:srgbClr val="C35E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Layout_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1165664" y="2084173"/>
            <a:ext cx="9860672" cy="899665"/>
          </a:xfrm>
        </p:spPr>
        <p:txBody>
          <a:bodyPr/>
          <a:lstStyle>
            <a:lvl1pPr marL="277008" indent="-277008">
              <a:tabLst>
                <a:tab pos="277008" algn="l"/>
              </a:tabLst>
              <a:defRPr sz="5882" baseline="0"/>
            </a:lvl1pPr>
          </a:lstStyle>
          <a:p>
            <a:r>
              <a:rPr lang="en-US" dirty="0"/>
              <a:t>“	Add a quote here. Design is easier than it looks, and more important than it seems.”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647788" y="4773813"/>
            <a:ext cx="5378549" cy="105015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137" baseline="0">
                <a:latin typeface="+mj-lt"/>
              </a:defRPr>
            </a:lvl1pPr>
          </a:lstStyle>
          <a:p>
            <a:pPr lvl="0"/>
            <a:r>
              <a:rPr lang="en-US" dirty="0"/>
              <a:t>Author’s Name</a:t>
            </a:r>
          </a:p>
          <a:p>
            <a:pPr lvl="0"/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342934698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D02F06-11B2-4CDF-B85B-7359AB94FFF9}" type="datetimeFigureOut">
              <a:rPr lang="en-GB" smtClean="0"/>
              <a:t>15/02/2017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E73C3-E7BA-4F2F-B0ED-E0265D036A5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954994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1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75840"/>
            <a:ext cx="8067760" cy="1801436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3333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8524" y="6041178"/>
            <a:ext cx="1613565" cy="346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6388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-50 Right Photo Layou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217195"/>
            <a:ext cx="5378548" cy="1973570"/>
          </a:xfrm>
        </p:spPr>
        <p:txBody>
          <a:bodyPr>
            <a:spAutoFit/>
          </a:bodyPr>
          <a:lstStyle>
            <a:lvl1pPr>
              <a:defRPr sz="647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51270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2" spc="-98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3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5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448212" y="470070"/>
            <a:ext cx="2060658" cy="393703"/>
          </a:xfrm>
          <a:prstGeom prst="rect">
            <a:avLst/>
          </a:prstGeom>
          <a:noFill/>
          <a:ln w="6350" cap="sq">
            <a:solidFill>
              <a:schemeClr val="tx1"/>
            </a:solidFill>
            <a:prstDash val="sysDash"/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751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45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51515">
                      <a:schemeClr val="tx1"/>
                    </a:gs>
                    <a:gs pos="43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+mn-lt"/>
                <a:ea typeface="Segoe UI" pitchFamily="34" charset="0"/>
                <a:cs typeface="Segoe UI" pitchFamily="34" charset="0"/>
              </a:rPr>
              <a:t>Product logo</a:t>
            </a: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48212" y="863774"/>
            <a:ext cx="2060658" cy="271689"/>
          </a:xfrm>
          <a:prstGeom prst="rect">
            <a:avLst/>
          </a:prstGeom>
          <a:noFill/>
          <a:ln w="6350" cap="sq">
            <a:noFill/>
            <a:prstDash val="sysDot"/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751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51515">
                      <a:schemeClr val="tx1"/>
                    </a:gs>
                    <a:gs pos="43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+mn-lt"/>
                <a:ea typeface="Segoe UI" pitchFamily="34" charset="0"/>
                <a:cs typeface="Segoe UI" pitchFamily="34" charset="0"/>
              </a:rPr>
              <a:t>Update on slide master</a:t>
            </a:r>
          </a:p>
        </p:txBody>
      </p:sp>
    </p:spTree>
    <p:extLst>
      <p:ext uri="{BB962C8B-B14F-4D97-AF65-F5344CB8AC3E}">
        <p14:creationId xmlns:p14="http://schemas.microsoft.com/office/powerpoint/2010/main" val="77094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1" y="1189177"/>
            <a:ext cx="11653523" cy="1858018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11" indent="0">
              <a:buNone/>
              <a:defRPr/>
            </a:lvl3pPr>
            <a:lvl4pPr marL="448021" indent="0">
              <a:buNone/>
              <a:defRPr/>
            </a:lvl4pPr>
            <a:lvl5pPr marL="67203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5591184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Non-bulleted text White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1" y="1189179"/>
            <a:ext cx="11653523" cy="1890133"/>
          </a:xfrm>
        </p:spPr>
        <p:txBody>
          <a:bodyPr/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224011" indent="0">
              <a:buNone/>
              <a:defRPr sz="1800">
                <a:solidFill>
                  <a:schemeClr val="bg1"/>
                </a:solidFill>
              </a:defRPr>
            </a:lvl3pPr>
            <a:lvl4pPr marL="448021" indent="0">
              <a:buNone/>
              <a:defRPr sz="1600">
                <a:solidFill>
                  <a:schemeClr val="bg1"/>
                </a:solidFill>
              </a:defRPr>
            </a:lvl4pPr>
            <a:lvl5pPr marL="672032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10740637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 white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57406632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8"/>
            <a:ext cx="11653523" cy="1854686"/>
          </a:xfrm>
        </p:spPr>
        <p:txBody>
          <a:bodyPr>
            <a:spAutoFit/>
          </a:bodyPr>
          <a:lstStyle>
            <a:lvl1pPr>
              <a:defRPr sz="3527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4761501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5"/>
            </a:lvl1pPr>
            <a:lvl2pPr marL="0" indent="0">
              <a:buNone/>
              <a:defRPr sz="1961"/>
            </a:lvl2pPr>
            <a:lvl3pPr marL="227122" indent="0">
              <a:buNone/>
              <a:tabLst/>
              <a:defRPr sz="1961"/>
            </a:lvl3pPr>
            <a:lvl4pPr marL="451132" indent="0">
              <a:buNone/>
              <a:defRPr/>
            </a:lvl4pPr>
            <a:lvl5pPr marL="672032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5"/>
            </a:lvl1pPr>
            <a:lvl2pPr marL="0" indent="0">
              <a:buNone/>
              <a:defRPr sz="1961"/>
            </a:lvl2pPr>
            <a:lvl3pPr marL="227122" indent="0">
              <a:buNone/>
              <a:tabLst/>
              <a:defRPr sz="1961"/>
            </a:lvl3pPr>
            <a:lvl4pPr marL="451132" indent="0">
              <a:buNone/>
              <a:defRPr/>
            </a:lvl4pPr>
            <a:lvl5pPr marL="672032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6175719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189176"/>
            <a:ext cx="5378548" cy="2377940"/>
          </a:xfrm>
        </p:spPr>
        <p:txBody>
          <a:bodyPr wrap="square">
            <a:spAutoFit/>
          </a:bodyPr>
          <a:lstStyle>
            <a:lvl1pPr marL="281569" indent="-281569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5"/>
            </a:lvl1pPr>
            <a:lvl2pPr marL="520502" indent="-228513">
              <a:defRPr sz="2353"/>
            </a:lvl2pPr>
            <a:lvl3pPr marL="685539" indent="-165038">
              <a:tabLst/>
              <a:defRPr sz="1961"/>
            </a:lvl3pPr>
            <a:lvl4pPr marL="863271" indent="-177733">
              <a:defRPr/>
            </a:lvl4pPr>
            <a:lvl5pPr marL="1028308" indent="-165038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569" indent="-281569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5"/>
            </a:lvl1pPr>
            <a:lvl2pPr marL="520502" indent="-228513">
              <a:defRPr sz="2353"/>
            </a:lvl2pPr>
            <a:lvl3pPr marL="685539" indent="-165038">
              <a:tabLst/>
              <a:defRPr sz="1961"/>
            </a:lvl3pPr>
            <a:lvl4pPr marL="863271" indent="-177733">
              <a:defRPr/>
            </a:lvl4pPr>
            <a:lvl5pPr marL="1028308" indent="-165038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3628013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852130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D02F06-11B2-4CDF-B85B-7359AB94FFF9}" type="datetimeFigureOut">
              <a:rPr lang="en-GB" smtClean="0"/>
              <a:t>15/02/2017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E73C3-E7BA-4F2F-B0ED-E0265D036A5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860457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69241" y="964751"/>
            <a:ext cx="11655840" cy="683264"/>
          </a:xfrm>
        </p:spPr>
        <p:txBody>
          <a:bodyPr/>
          <a:lstStyle>
            <a:lvl1pPr marL="0" indent="0" algn="l" defTabSz="91401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3600" b="0" i="1" u="none" strike="noStrike" kern="1200" cap="none" spc="-100" normalizeH="0" baseline="0" dirty="0" smtClean="0">
                <a:ln w="3175"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6957565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69241" y="1625151"/>
            <a:ext cx="11655840" cy="683264"/>
          </a:xfrm>
        </p:spPr>
        <p:txBody>
          <a:bodyPr/>
          <a:lstStyle>
            <a:lvl1pPr marL="0" indent="0" algn="l" defTabSz="91401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3600" b="0" i="1" u="none" strike="noStrike" kern="1200" cap="none" spc="-100" normalizeH="0" baseline="0" dirty="0" smtClean="0">
                <a:ln w="3175"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2822645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8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4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2" y="3877276"/>
            <a:ext cx="9860674" cy="778565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52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890131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8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4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449620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084174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4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78604664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084174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4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11992026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084174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4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60878136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084174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4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32813711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7357483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69522472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D02F06-11B2-4CDF-B85B-7359AB94FFF9}" type="datetimeFigureOut">
              <a:rPr lang="en-GB" smtClean="0"/>
              <a:t>15/02/2017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E73C3-E7BA-4F2F-B0ED-E0265D036A5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683117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2045651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90586414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08" tIns="45708" rIns="45708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751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813947"/>
          </a:xfrm>
        </p:spPr>
        <p:txBody>
          <a:bodyPr/>
          <a:lstStyle>
            <a:lvl1pPr marL="0" indent="0">
              <a:buNone/>
              <a:defRPr sz="3233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59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86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208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2989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5224096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2" y="6170061"/>
            <a:ext cx="11623331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34" tIns="143387" rIns="179234" bIns="143387" numCol="1" anchor="t" anchorCtr="0" compatLnSpc="1">
            <a:prstTxWarp prst="textNoShape">
              <a:avLst/>
            </a:prstTxWarp>
            <a:spAutoFit/>
          </a:bodyPr>
          <a:lstStyle/>
          <a:p>
            <a:pPr defTabSz="913573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0202" y="3083655"/>
            <a:ext cx="3223861" cy="690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632329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1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680" indent="-284680">
              <a:buClr>
                <a:schemeClr val="tx1"/>
              </a:buClr>
              <a:buSzPct val="90000"/>
              <a:buFont typeface="Arial" pitchFamily="34" charset="0"/>
              <a:buChar char="•"/>
              <a:defRPr sz="352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027" indent="-275348">
              <a:buClr>
                <a:schemeClr val="tx1"/>
              </a:buClr>
              <a:buSzPct val="90000"/>
              <a:buFont typeface="Arial" pitchFamily="34" charset="0"/>
              <a:buChar char="•"/>
              <a:defRPr sz="313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707" indent="-28468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718" indent="-224011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727" indent="-224011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5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1914210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6063" y="2084173"/>
            <a:ext cx="6278150" cy="3491849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84173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57"/>
            <a:ext cx="6276530" cy="1698765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448212" y="470068"/>
            <a:ext cx="2060658" cy="393703"/>
          </a:xfrm>
          <a:prstGeom prst="rect">
            <a:avLst/>
          </a:prstGeom>
          <a:noFill/>
          <a:ln w="6350" cap="sq">
            <a:solidFill>
              <a:srgbClr val="525252"/>
            </a:solidFill>
            <a:prstDash val="sysDash"/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45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93939">
                      <a:srgbClr val="525252"/>
                    </a:gs>
                    <a:gs pos="80808">
                      <a:srgbClr val="525252"/>
                    </a:gs>
                  </a:gsLst>
                  <a:lin ang="5400000" scaled="1"/>
                </a:gradFill>
                <a:effectLst/>
                <a:uLnTx/>
                <a:uFillTx/>
                <a:latin typeface="+mn-lt"/>
                <a:ea typeface="Segoe UI" pitchFamily="34" charset="0"/>
                <a:cs typeface="Segoe UI" pitchFamily="34" charset="0"/>
              </a:rPr>
              <a:t>Product logo</a:t>
            </a: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48212" y="863772"/>
            <a:ext cx="2060658" cy="271689"/>
          </a:xfrm>
          <a:prstGeom prst="rect">
            <a:avLst/>
          </a:prstGeom>
          <a:noFill/>
          <a:ln w="6350" cap="sq">
            <a:noFill/>
            <a:prstDash val="sysDot"/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93939">
                      <a:srgbClr val="525252"/>
                    </a:gs>
                    <a:gs pos="80808">
                      <a:srgbClr val="525252"/>
                    </a:gs>
                  </a:gsLst>
                  <a:lin ang="5400000" scaled="1"/>
                </a:gradFill>
                <a:effectLst/>
                <a:uLnTx/>
                <a:uFillTx/>
                <a:latin typeface="+mn-lt"/>
                <a:ea typeface="Segoe UI" pitchFamily="34" charset="0"/>
                <a:cs typeface="Segoe UI" pitchFamily="34" charset="0"/>
              </a:rPr>
              <a:t>Update on slide master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6714" y="6029312"/>
            <a:ext cx="1673267" cy="368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7372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448212" y="470068"/>
            <a:ext cx="2060658" cy="393703"/>
          </a:xfrm>
          <a:prstGeom prst="rect">
            <a:avLst/>
          </a:prstGeom>
          <a:noFill/>
          <a:ln w="6350" cap="sq">
            <a:solidFill>
              <a:schemeClr val="tx1"/>
            </a:solidFill>
            <a:prstDash val="sysDash"/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45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51515">
                      <a:schemeClr val="tx1"/>
                    </a:gs>
                    <a:gs pos="43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+mn-lt"/>
                <a:ea typeface="Segoe UI" pitchFamily="34" charset="0"/>
                <a:cs typeface="Segoe UI" pitchFamily="34" charset="0"/>
              </a:rPr>
              <a:t>Product logo</a:t>
            </a: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48212" y="863772"/>
            <a:ext cx="2060658" cy="271689"/>
          </a:xfrm>
          <a:prstGeom prst="rect">
            <a:avLst/>
          </a:prstGeom>
          <a:noFill/>
          <a:ln w="6350" cap="sq">
            <a:noFill/>
            <a:prstDash val="sysDot"/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51515">
                      <a:schemeClr val="tx1"/>
                    </a:gs>
                    <a:gs pos="43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+mn-lt"/>
                <a:ea typeface="Segoe UI" pitchFamily="34" charset="0"/>
                <a:cs typeface="Segoe UI" pitchFamily="34" charset="0"/>
              </a:rPr>
              <a:t>Update on slide master</a:t>
            </a:r>
          </a:p>
        </p:txBody>
      </p:sp>
    </p:spTree>
    <p:extLst>
      <p:ext uri="{BB962C8B-B14F-4D97-AF65-F5344CB8AC3E}">
        <p14:creationId xmlns:p14="http://schemas.microsoft.com/office/powerpoint/2010/main" val="1431761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6308751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Non-bulleted text White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890133"/>
          </a:xfrm>
        </p:spPr>
        <p:txBody>
          <a:bodyPr/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224097" indent="0">
              <a:buNone/>
              <a:defRPr sz="1800">
                <a:solidFill>
                  <a:schemeClr val="bg1"/>
                </a:solidFill>
              </a:defRPr>
            </a:lvl3pPr>
            <a:lvl4pPr marL="448193" indent="0">
              <a:buNone/>
              <a:defRPr sz="1600">
                <a:solidFill>
                  <a:schemeClr val="bg1"/>
                </a:solidFill>
              </a:defRPr>
            </a:lvl4pPr>
            <a:lvl5pPr marL="67229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4266083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 white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0026450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D02F06-11B2-4CDF-B85B-7359AB94FFF9}" type="datetimeFigureOut">
              <a:rPr lang="en-GB" smtClean="0"/>
              <a:t>15/02/2017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E73C3-E7BA-4F2F-B0ED-E0265D036A5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263754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>
            <a:spAutoFit/>
          </a:bodyPr>
          <a:lstStyle>
            <a:lvl1pPr>
              <a:defRPr sz="352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89979674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6250046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3085135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6123342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69241" y="964751"/>
            <a:ext cx="11655840" cy="683264"/>
          </a:xfrm>
        </p:spPr>
        <p:txBody>
          <a:bodyPr/>
          <a:lstStyle>
            <a:lvl1pPr marL="0" indent="0"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3600" b="0" i="1" u="none" strike="noStrike" kern="1200" cap="none" spc="-100" normalizeH="0" baseline="0" dirty="0" smtClean="0">
                <a:ln w="3175"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57436014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69241" y="1625151"/>
            <a:ext cx="11655840" cy="683264"/>
          </a:xfrm>
        </p:spPr>
        <p:txBody>
          <a:bodyPr/>
          <a:lstStyle>
            <a:lvl1pPr marL="0" indent="0"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3600" b="0" i="1" u="none" strike="noStrike" kern="1200" cap="none" spc="-100" normalizeH="0" baseline="0" dirty="0" smtClean="0">
                <a:ln w="3175"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22478843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6"/>
            <a:ext cx="9860674" cy="778565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538251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726362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589941605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640108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D02F06-11B2-4CDF-B85B-7359AB94FFF9}" type="datetimeFigureOut">
              <a:rPr lang="en-GB" smtClean="0"/>
              <a:t>15/02/2017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E73C3-E7BA-4F2F-B0ED-E0265D036A5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815296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551120018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537516870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217195"/>
            <a:ext cx="5378548" cy="1973570"/>
          </a:xfrm>
        </p:spPr>
        <p:txBody>
          <a:bodyPr>
            <a:spAutoFit/>
          </a:bodyPr>
          <a:lstStyle>
            <a:lvl1pPr>
              <a:defRPr sz="647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5749917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05216720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96648461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062409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334914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5009093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170059"/>
            <a:ext cx="11623331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0202" y="3083653"/>
            <a:ext cx="3223861" cy="690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31109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4745684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D02F06-11B2-4CDF-B85B-7359AB94FFF9}" type="datetimeFigureOut">
              <a:rPr lang="en-GB" smtClean="0"/>
              <a:t>15/02/2017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E73C3-E7BA-4F2F-B0ED-E0265D036A5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384557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Only white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6" name="Rectangle 35"/>
          <p:cNvSpPr/>
          <p:nvPr userDrawn="1"/>
        </p:nvSpPr>
        <p:spPr bwMode="auto">
          <a:xfrm>
            <a:off x="0" y="6325187"/>
            <a:ext cx="12192000" cy="532814"/>
          </a:xfrm>
          <a:prstGeom prst="rect">
            <a:avLst/>
          </a:prstGeom>
          <a:solidFill>
            <a:srgbClr val="409AE1"/>
          </a:solidFill>
          <a:ln w="28575"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marR="0" lvl="0" indent="0" defTabSz="93256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050" b="0" i="0" u="none" strike="noStrike" kern="0" cap="none" spc="0" normalizeH="0" baseline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</p:txBody>
      </p:sp>
      <p:sp>
        <p:nvSpPr>
          <p:cNvPr id="6" name="Freeform 539"/>
          <p:cNvSpPr>
            <a:spLocks noChangeAspect="1"/>
          </p:cNvSpPr>
          <p:nvPr userDrawn="1"/>
        </p:nvSpPr>
        <p:spPr bwMode="auto">
          <a:xfrm>
            <a:off x="9303795" y="5959092"/>
            <a:ext cx="1968055" cy="1082010"/>
          </a:xfrm>
          <a:custGeom>
            <a:avLst/>
            <a:gdLst>
              <a:gd name="T0" fmla="*/ 312 w 400"/>
              <a:gd name="T1" fmla="*/ 220 h 220"/>
              <a:gd name="T2" fmla="*/ 45 w 400"/>
              <a:gd name="T3" fmla="*/ 220 h 220"/>
              <a:gd name="T4" fmla="*/ 0 w 400"/>
              <a:gd name="T5" fmla="*/ 175 h 220"/>
              <a:gd name="T6" fmla="*/ 34 w 400"/>
              <a:gd name="T7" fmla="*/ 131 h 220"/>
              <a:gd name="T8" fmla="*/ 87 w 400"/>
              <a:gd name="T9" fmla="*/ 91 h 220"/>
              <a:gd name="T10" fmla="*/ 183 w 400"/>
              <a:gd name="T11" fmla="*/ 0 h 220"/>
              <a:gd name="T12" fmla="*/ 270 w 400"/>
              <a:gd name="T13" fmla="*/ 55 h 220"/>
              <a:gd name="T14" fmla="*/ 312 w 400"/>
              <a:gd name="T15" fmla="*/ 44 h 220"/>
              <a:gd name="T16" fmla="*/ 400 w 400"/>
              <a:gd name="T17" fmla="*/ 132 h 220"/>
              <a:gd name="T18" fmla="*/ 312 w 400"/>
              <a:gd name="T19" fmla="*/ 220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00" h="220">
                <a:moveTo>
                  <a:pt x="312" y="220"/>
                </a:moveTo>
                <a:cubicBezTo>
                  <a:pt x="45" y="220"/>
                  <a:pt x="45" y="220"/>
                  <a:pt x="45" y="220"/>
                </a:cubicBezTo>
                <a:cubicBezTo>
                  <a:pt x="20" y="220"/>
                  <a:pt x="0" y="200"/>
                  <a:pt x="0" y="175"/>
                </a:cubicBezTo>
                <a:cubicBezTo>
                  <a:pt x="0" y="154"/>
                  <a:pt x="15" y="136"/>
                  <a:pt x="34" y="131"/>
                </a:cubicBezTo>
                <a:cubicBezTo>
                  <a:pt x="43" y="110"/>
                  <a:pt x="63" y="94"/>
                  <a:pt x="87" y="91"/>
                </a:cubicBezTo>
                <a:cubicBezTo>
                  <a:pt x="89" y="40"/>
                  <a:pt x="131" y="0"/>
                  <a:pt x="183" y="0"/>
                </a:cubicBezTo>
                <a:cubicBezTo>
                  <a:pt x="220" y="0"/>
                  <a:pt x="254" y="22"/>
                  <a:pt x="270" y="55"/>
                </a:cubicBezTo>
                <a:cubicBezTo>
                  <a:pt x="282" y="48"/>
                  <a:pt x="297" y="44"/>
                  <a:pt x="312" y="44"/>
                </a:cubicBezTo>
                <a:cubicBezTo>
                  <a:pt x="360" y="44"/>
                  <a:pt x="400" y="84"/>
                  <a:pt x="400" y="132"/>
                </a:cubicBezTo>
                <a:cubicBezTo>
                  <a:pt x="400" y="181"/>
                  <a:pt x="360" y="220"/>
                  <a:pt x="312" y="220"/>
                </a:cubicBezTo>
                <a:close/>
              </a:path>
            </a:pathLst>
          </a:custGeom>
          <a:solidFill>
            <a:srgbClr val="409AE1"/>
          </a:solidFill>
          <a:ln w="28575">
            <a:noFill/>
          </a:ln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325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</p:txBody>
      </p:sp>
      <p:grpSp>
        <p:nvGrpSpPr>
          <p:cNvPr id="9" name="Group 8"/>
          <p:cNvGrpSpPr/>
          <p:nvPr userDrawn="1"/>
        </p:nvGrpSpPr>
        <p:grpSpPr>
          <a:xfrm>
            <a:off x="9338575" y="6216162"/>
            <a:ext cx="1824626" cy="773723"/>
            <a:chOff x="4494770" y="2621197"/>
            <a:chExt cx="3127126" cy="1326043"/>
          </a:xfrm>
        </p:grpSpPr>
        <p:sp>
          <p:nvSpPr>
            <p:cNvPr id="10" name="Freeform 12"/>
            <p:cNvSpPr>
              <a:spLocks/>
            </p:cNvSpPr>
            <p:nvPr/>
          </p:nvSpPr>
          <p:spPr bwMode="auto">
            <a:xfrm>
              <a:off x="4494770" y="3400845"/>
              <a:ext cx="457856" cy="62986"/>
            </a:xfrm>
            <a:custGeom>
              <a:avLst/>
              <a:gdLst>
                <a:gd name="T0" fmla="*/ 704 w 756"/>
                <a:gd name="T1" fmla="*/ 104 h 104"/>
                <a:gd name="T2" fmla="*/ 52 w 756"/>
                <a:gd name="T3" fmla="*/ 104 h 104"/>
                <a:gd name="T4" fmla="*/ 52 w 756"/>
                <a:gd name="T5" fmla="*/ 104 h 104"/>
                <a:gd name="T6" fmla="*/ 42 w 756"/>
                <a:gd name="T7" fmla="*/ 104 h 104"/>
                <a:gd name="T8" fmla="*/ 32 w 756"/>
                <a:gd name="T9" fmla="*/ 100 h 104"/>
                <a:gd name="T10" fmla="*/ 22 w 756"/>
                <a:gd name="T11" fmla="*/ 96 h 104"/>
                <a:gd name="T12" fmla="*/ 14 w 756"/>
                <a:gd name="T13" fmla="*/ 90 h 104"/>
                <a:gd name="T14" fmla="*/ 8 w 756"/>
                <a:gd name="T15" fmla="*/ 82 h 104"/>
                <a:gd name="T16" fmla="*/ 4 w 756"/>
                <a:gd name="T17" fmla="*/ 72 h 104"/>
                <a:gd name="T18" fmla="*/ 0 w 756"/>
                <a:gd name="T19" fmla="*/ 62 h 104"/>
                <a:gd name="T20" fmla="*/ 0 w 756"/>
                <a:gd name="T21" fmla="*/ 52 h 104"/>
                <a:gd name="T22" fmla="*/ 0 w 756"/>
                <a:gd name="T23" fmla="*/ 52 h 104"/>
                <a:gd name="T24" fmla="*/ 0 w 756"/>
                <a:gd name="T25" fmla="*/ 42 h 104"/>
                <a:gd name="T26" fmla="*/ 4 w 756"/>
                <a:gd name="T27" fmla="*/ 32 h 104"/>
                <a:gd name="T28" fmla="*/ 8 w 756"/>
                <a:gd name="T29" fmla="*/ 22 h 104"/>
                <a:gd name="T30" fmla="*/ 14 w 756"/>
                <a:gd name="T31" fmla="*/ 16 h 104"/>
                <a:gd name="T32" fmla="*/ 22 w 756"/>
                <a:gd name="T33" fmla="*/ 8 h 104"/>
                <a:gd name="T34" fmla="*/ 32 w 756"/>
                <a:gd name="T35" fmla="*/ 4 h 104"/>
                <a:gd name="T36" fmla="*/ 42 w 756"/>
                <a:gd name="T37" fmla="*/ 0 h 104"/>
                <a:gd name="T38" fmla="*/ 52 w 756"/>
                <a:gd name="T39" fmla="*/ 0 h 104"/>
                <a:gd name="T40" fmla="*/ 704 w 756"/>
                <a:gd name="T41" fmla="*/ 0 h 104"/>
                <a:gd name="T42" fmla="*/ 704 w 756"/>
                <a:gd name="T43" fmla="*/ 0 h 104"/>
                <a:gd name="T44" fmla="*/ 714 w 756"/>
                <a:gd name="T45" fmla="*/ 0 h 104"/>
                <a:gd name="T46" fmla="*/ 724 w 756"/>
                <a:gd name="T47" fmla="*/ 4 h 104"/>
                <a:gd name="T48" fmla="*/ 732 w 756"/>
                <a:gd name="T49" fmla="*/ 8 h 104"/>
                <a:gd name="T50" fmla="*/ 740 w 756"/>
                <a:gd name="T51" fmla="*/ 16 h 104"/>
                <a:gd name="T52" fmla="*/ 748 w 756"/>
                <a:gd name="T53" fmla="*/ 22 h 104"/>
                <a:gd name="T54" fmla="*/ 752 w 756"/>
                <a:gd name="T55" fmla="*/ 32 h 104"/>
                <a:gd name="T56" fmla="*/ 756 w 756"/>
                <a:gd name="T57" fmla="*/ 42 h 104"/>
                <a:gd name="T58" fmla="*/ 756 w 756"/>
                <a:gd name="T59" fmla="*/ 52 h 104"/>
                <a:gd name="T60" fmla="*/ 756 w 756"/>
                <a:gd name="T61" fmla="*/ 52 h 104"/>
                <a:gd name="T62" fmla="*/ 756 w 756"/>
                <a:gd name="T63" fmla="*/ 62 h 104"/>
                <a:gd name="T64" fmla="*/ 752 w 756"/>
                <a:gd name="T65" fmla="*/ 72 h 104"/>
                <a:gd name="T66" fmla="*/ 748 w 756"/>
                <a:gd name="T67" fmla="*/ 82 h 104"/>
                <a:gd name="T68" fmla="*/ 740 w 756"/>
                <a:gd name="T69" fmla="*/ 90 h 104"/>
                <a:gd name="T70" fmla="*/ 732 w 756"/>
                <a:gd name="T71" fmla="*/ 96 h 104"/>
                <a:gd name="T72" fmla="*/ 724 w 756"/>
                <a:gd name="T73" fmla="*/ 100 h 104"/>
                <a:gd name="T74" fmla="*/ 714 w 756"/>
                <a:gd name="T75" fmla="*/ 104 h 104"/>
                <a:gd name="T76" fmla="*/ 704 w 756"/>
                <a:gd name="T77" fmla="*/ 104 h 104"/>
                <a:gd name="T78" fmla="*/ 704 w 756"/>
                <a:gd name="T79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56" h="104">
                  <a:moveTo>
                    <a:pt x="704" y="104"/>
                  </a:moveTo>
                  <a:lnTo>
                    <a:pt x="52" y="104"/>
                  </a:lnTo>
                  <a:lnTo>
                    <a:pt x="52" y="104"/>
                  </a:lnTo>
                  <a:lnTo>
                    <a:pt x="42" y="104"/>
                  </a:lnTo>
                  <a:lnTo>
                    <a:pt x="32" y="100"/>
                  </a:lnTo>
                  <a:lnTo>
                    <a:pt x="22" y="96"/>
                  </a:lnTo>
                  <a:lnTo>
                    <a:pt x="14" y="90"/>
                  </a:lnTo>
                  <a:lnTo>
                    <a:pt x="8" y="82"/>
                  </a:lnTo>
                  <a:lnTo>
                    <a:pt x="4" y="72"/>
                  </a:lnTo>
                  <a:lnTo>
                    <a:pt x="0" y="6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42"/>
                  </a:lnTo>
                  <a:lnTo>
                    <a:pt x="4" y="32"/>
                  </a:lnTo>
                  <a:lnTo>
                    <a:pt x="8" y="22"/>
                  </a:lnTo>
                  <a:lnTo>
                    <a:pt x="14" y="16"/>
                  </a:lnTo>
                  <a:lnTo>
                    <a:pt x="22" y="8"/>
                  </a:lnTo>
                  <a:lnTo>
                    <a:pt x="32" y="4"/>
                  </a:lnTo>
                  <a:lnTo>
                    <a:pt x="42" y="0"/>
                  </a:lnTo>
                  <a:lnTo>
                    <a:pt x="52" y="0"/>
                  </a:lnTo>
                  <a:lnTo>
                    <a:pt x="704" y="0"/>
                  </a:lnTo>
                  <a:lnTo>
                    <a:pt x="704" y="0"/>
                  </a:lnTo>
                  <a:lnTo>
                    <a:pt x="714" y="0"/>
                  </a:lnTo>
                  <a:lnTo>
                    <a:pt x="724" y="4"/>
                  </a:lnTo>
                  <a:lnTo>
                    <a:pt x="732" y="8"/>
                  </a:lnTo>
                  <a:lnTo>
                    <a:pt x="740" y="16"/>
                  </a:lnTo>
                  <a:lnTo>
                    <a:pt x="748" y="22"/>
                  </a:lnTo>
                  <a:lnTo>
                    <a:pt x="752" y="32"/>
                  </a:lnTo>
                  <a:lnTo>
                    <a:pt x="756" y="42"/>
                  </a:lnTo>
                  <a:lnTo>
                    <a:pt x="756" y="52"/>
                  </a:lnTo>
                  <a:lnTo>
                    <a:pt x="756" y="52"/>
                  </a:lnTo>
                  <a:lnTo>
                    <a:pt x="756" y="62"/>
                  </a:lnTo>
                  <a:lnTo>
                    <a:pt x="752" y="72"/>
                  </a:lnTo>
                  <a:lnTo>
                    <a:pt x="748" y="82"/>
                  </a:lnTo>
                  <a:lnTo>
                    <a:pt x="740" y="90"/>
                  </a:lnTo>
                  <a:lnTo>
                    <a:pt x="732" y="96"/>
                  </a:lnTo>
                  <a:lnTo>
                    <a:pt x="724" y="100"/>
                  </a:lnTo>
                  <a:lnTo>
                    <a:pt x="714" y="104"/>
                  </a:lnTo>
                  <a:lnTo>
                    <a:pt x="704" y="104"/>
                  </a:lnTo>
                  <a:lnTo>
                    <a:pt x="704" y="104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Freeform 13"/>
            <p:cNvSpPr>
              <a:spLocks/>
            </p:cNvSpPr>
            <p:nvPr/>
          </p:nvSpPr>
          <p:spPr bwMode="auto">
            <a:xfrm>
              <a:off x="4889641" y="3331803"/>
              <a:ext cx="540222" cy="245886"/>
            </a:xfrm>
            <a:custGeom>
              <a:avLst/>
              <a:gdLst>
                <a:gd name="T0" fmla="*/ 456 w 892"/>
                <a:gd name="T1" fmla="*/ 406 h 406"/>
                <a:gd name="T2" fmla="*/ 436 w 892"/>
                <a:gd name="T3" fmla="*/ 402 h 406"/>
                <a:gd name="T4" fmla="*/ 418 w 892"/>
                <a:gd name="T5" fmla="*/ 390 h 406"/>
                <a:gd name="T6" fmla="*/ 408 w 892"/>
                <a:gd name="T7" fmla="*/ 374 h 406"/>
                <a:gd name="T8" fmla="*/ 404 w 892"/>
                <a:gd name="T9" fmla="*/ 354 h 406"/>
                <a:gd name="T10" fmla="*/ 402 w 892"/>
                <a:gd name="T11" fmla="*/ 346 h 406"/>
                <a:gd name="T12" fmla="*/ 396 w 892"/>
                <a:gd name="T13" fmla="*/ 344 h 406"/>
                <a:gd name="T14" fmla="*/ 164 w 892"/>
                <a:gd name="T15" fmla="*/ 344 h 406"/>
                <a:gd name="T16" fmla="*/ 138 w 892"/>
                <a:gd name="T17" fmla="*/ 344 h 406"/>
                <a:gd name="T18" fmla="*/ 104 w 892"/>
                <a:gd name="T19" fmla="*/ 336 h 406"/>
                <a:gd name="T20" fmla="*/ 66 w 892"/>
                <a:gd name="T21" fmla="*/ 318 h 406"/>
                <a:gd name="T22" fmla="*/ 46 w 892"/>
                <a:gd name="T23" fmla="*/ 302 h 406"/>
                <a:gd name="T24" fmla="*/ 30 w 892"/>
                <a:gd name="T25" fmla="*/ 284 h 406"/>
                <a:gd name="T26" fmla="*/ 14 w 892"/>
                <a:gd name="T27" fmla="*/ 258 h 406"/>
                <a:gd name="T28" fmla="*/ 4 w 892"/>
                <a:gd name="T29" fmla="*/ 224 h 406"/>
                <a:gd name="T30" fmla="*/ 0 w 892"/>
                <a:gd name="T31" fmla="*/ 180 h 406"/>
                <a:gd name="T32" fmla="*/ 0 w 892"/>
                <a:gd name="T33" fmla="*/ 156 h 406"/>
                <a:gd name="T34" fmla="*/ 10 w 892"/>
                <a:gd name="T35" fmla="*/ 114 h 406"/>
                <a:gd name="T36" fmla="*/ 28 w 892"/>
                <a:gd name="T37" fmla="*/ 80 h 406"/>
                <a:gd name="T38" fmla="*/ 52 w 892"/>
                <a:gd name="T39" fmla="*/ 54 h 406"/>
                <a:gd name="T40" fmla="*/ 78 w 892"/>
                <a:gd name="T41" fmla="*/ 32 h 406"/>
                <a:gd name="T42" fmla="*/ 108 w 892"/>
                <a:gd name="T43" fmla="*/ 18 h 406"/>
                <a:gd name="T44" fmla="*/ 150 w 892"/>
                <a:gd name="T45" fmla="*/ 4 h 406"/>
                <a:gd name="T46" fmla="*/ 840 w 892"/>
                <a:gd name="T47" fmla="*/ 0 h 406"/>
                <a:gd name="T48" fmla="*/ 852 w 892"/>
                <a:gd name="T49" fmla="*/ 2 h 406"/>
                <a:gd name="T50" fmla="*/ 870 w 892"/>
                <a:gd name="T51" fmla="*/ 10 h 406"/>
                <a:gd name="T52" fmla="*/ 884 w 892"/>
                <a:gd name="T53" fmla="*/ 24 h 406"/>
                <a:gd name="T54" fmla="*/ 892 w 892"/>
                <a:gd name="T55" fmla="*/ 42 h 406"/>
                <a:gd name="T56" fmla="*/ 892 w 892"/>
                <a:gd name="T57" fmla="*/ 52 h 406"/>
                <a:gd name="T58" fmla="*/ 888 w 892"/>
                <a:gd name="T59" fmla="*/ 74 h 406"/>
                <a:gd name="T60" fmla="*/ 878 w 892"/>
                <a:gd name="T61" fmla="*/ 90 h 406"/>
                <a:gd name="T62" fmla="*/ 860 w 892"/>
                <a:gd name="T63" fmla="*/ 102 h 406"/>
                <a:gd name="T64" fmla="*/ 840 w 892"/>
                <a:gd name="T65" fmla="*/ 106 h 406"/>
                <a:gd name="T66" fmla="*/ 180 w 892"/>
                <a:gd name="T67" fmla="*/ 106 h 406"/>
                <a:gd name="T68" fmla="*/ 148 w 892"/>
                <a:gd name="T69" fmla="*/ 114 h 406"/>
                <a:gd name="T70" fmla="*/ 124 w 892"/>
                <a:gd name="T71" fmla="*/ 130 h 406"/>
                <a:gd name="T72" fmla="*/ 110 w 892"/>
                <a:gd name="T73" fmla="*/ 150 h 406"/>
                <a:gd name="T74" fmla="*/ 104 w 892"/>
                <a:gd name="T75" fmla="*/ 170 h 406"/>
                <a:gd name="T76" fmla="*/ 104 w 892"/>
                <a:gd name="T77" fmla="*/ 180 h 406"/>
                <a:gd name="T78" fmla="*/ 108 w 892"/>
                <a:gd name="T79" fmla="*/ 208 h 406"/>
                <a:gd name="T80" fmla="*/ 118 w 892"/>
                <a:gd name="T81" fmla="*/ 226 h 406"/>
                <a:gd name="T82" fmla="*/ 130 w 892"/>
                <a:gd name="T83" fmla="*/ 234 h 406"/>
                <a:gd name="T84" fmla="*/ 152 w 892"/>
                <a:gd name="T85" fmla="*/ 240 h 406"/>
                <a:gd name="T86" fmla="*/ 394 w 892"/>
                <a:gd name="T87" fmla="*/ 240 h 406"/>
                <a:gd name="T88" fmla="*/ 406 w 892"/>
                <a:gd name="T89" fmla="*/ 240 h 406"/>
                <a:gd name="T90" fmla="*/ 438 w 892"/>
                <a:gd name="T91" fmla="*/ 248 h 406"/>
                <a:gd name="T92" fmla="*/ 464 w 892"/>
                <a:gd name="T93" fmla="*/ 260 h 406"/>
                <a:gd name="T94" fmla="*/ 476 w 892"/>
                <a:gd name="T95" fmla="*/ 270 h 406"/>
                <a:gd name="T96" fmla="*/ 498 w 892"/>
                <a:gd name="T97" fmla="*/ 302 h 406"/>
                <a:gd name="T98" fmla="*/ 506 w 892"/>
                <a:gd name="T99" fmla="*/ 324 h 406"/>
                <a:gd name="T100" fmla="*/ 508 w 892"/>
                <a:gd name="T101" fmla="*/ 354 h 406"/>
                <a:gd name="T102" fmla="*/ 508 w 892"/>
                <a:gd name="T103" fmla="*/ 364 h 406"/>
                <a:gd name="T104" fmla="*/ 500 w 892"/>
                <a:gd name="T105" fmla="*/ 384 h 406"/>
                <a:gd name="T106" fmla="*/ 486 w 892"/>
                <a:gd name="T107" fmla="*/ 398 h 406"/>
                <a:gd name="T108" fmla="*/ 466 w 892"/>
                <a:gd name="T109" fmla="*/ 406 h 406"/>
                <a:gd name="T110" fmla="*/ 456 w 892"/>
                <a:gd name="T111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92" h="406">
                  <a:moveTo>
                    <a:pt x="456" y="406"/>
                  </a:moveTo>
                  <a:lnTo>
                    <a:pt x="456" y="406"/>
                  </a:lnTo>
                  <a:lnTo>
                    <a:pt x="446" y="406"/>
                  </a:lnTo>
                  <a:lnTo>
                    <a:pt x="436" y="402"/>
                  </a:lnTo>
                  <a:lnTo>
                    <a:pt x="426" y="398"/>
                  </a:lnTo>
                  <a:lnTo>
                    <a:pt x="418" y="390"/>
                  </a:lnTo>
                  <a:lnTo>
                    <a:pt x="412" y="384"/>
                  </a:lnTo>
                  <a:lnTo>
                    <a:pt x="408" y="374"/>
                  </a:lnTo>
                  <a:lnTo>
                    <a:pt x="404" y="364"/>
                  </a:lnTo>
                  <a:lnTo>
                    <a:pt x="404" y="354"/>
                  </a:lnTo>
                  <a:lnTo>
                    <a:pt x="404" y="354"/>
                  </a:lnTo>
                  <a:lnTo>
                    <a:pt x="402" y="346"/>
                  </a:lnTo>
                  <a:lnTo>
                    <a:pt x="402" y="346"/>
                  </a:lnTo>
                  <a:lnTo>
                    <a:pt x="396" y="344"/>
                  </a:lnTo>
                  <a:lnTo>
                    <a:pt x="164" y="344"/>
                  </a:lnTo>
                  <a:lnTo>
                    <a:pt x="164" y="344"/>
                  </a:lnTo>
                  <a:lnTo>
                    <a:pt x="150" y="344"/>
                  </a:lnTo>
                  <a:lnTo>
                    <a:pt x="138" y="344"/>
                  </a:lnTo>
                  <a:lnTo>
                    <a:pt x="122" y="340"/>
                  </a:lnTo>
                  <a:lnTo>
                    <a:pt x="104" y="336"/>
                  </a:lnTo>
                  <a:lnTo>
                    <a:pt x="84" y="328"/>
                  </a:lnTo>
                  <a:lnTo>
                    <a:pt x="66" y="318"/>
                  </a:lnTo>
                  <a:lnTo>
                    <a:pt x="46" y="302"/>
                  </a:lnTo>
                  <a:lnTo>
                    <a:pt x="46" y="302"/>
                  </a:lnTo>
                  <a:lnTo>
                    <a:pt x="38" y="294"/>
                  </a:lnTo>
                  <a:lnTo>
                    <a:pt x="30" y="284"/>
                  </a:lnTo>
                  <a:lnTo>
                    <a:pt x="22" y="272"/>
                  </a:lnTo>
                  <a:lnTo>
                    <a:pt x="14" y="258"/>
                  </a:lnTo>
                  <a:lnTo>
                    <a:pt x="8" y="242"/>
                  </a:lnTo>
                  <a:lnTo>
                    <a:pt x="4" y="224"/>
                  </a:lnTo>
                  <a:lnTo>
                    <a:pt x="0" y="204"/>
                  </a:lnTo>
                  <a:lnTo>
                    <a:pt x="0" y="180"/>
                  </a:lnTo>
                  <a:lnTo>
                    <a:pt x="0" y="180"/>
                  </a:lnTo>
                  <a:lnTo>
                    <a:pt x="0" y="156"/>
                  </a:lnTo>
                  <a:lnTo>
                    <a:pt x="4" y="134"/>
                  </a:lnTo>
                  <a:lnTo>
                    <a:pt x="10" y="114"/>
                  </a:lnTo>
                  <a:lnTo>
                    <a:pt x="18" y="96"/>
                  </a:lnTo>
                  <a:lnTo>
                    <a:pt x="28" y="80"/>
                  </a:lnTo>
                  <a:lnTo>
                    <a:pt x="38" y="66"/>
                  </a:lnTo>
                  <a:lnTo>
                    <a:pt x="52" y="54"/>
                  </a:lnTo>
                  <a:lnTo>
                    <a:pt x="64" y="42"/>
                  </a:lnTo>
                  <a:lnTo>
                    <a:pt x="78" y="32"/>
                  </a:lnTo>
                  <a:lnTo>
                    <a:pt x="92" y="24"/>
                  </a:lnTo>
                  <a:lnTo>
                    <a:pt x="108" y="18"/>
                  </a:lnTo>
                  <a:lnTo>
                    <a:pt x="122" y="12"/>
                  </a:lnTo>
                  <a:lnTo>
                    <a:pt x="150" y="4"/>
                  </a:lnTo>
                  <a:lnTo>
                    <a:pt x="176" y="0"/>
                  </a:lnTo>
                  <a:lnTo>
                    <a:pt x="840" y="0"/>
                  </a:lnTo>
                  <a:lnTo>
                    <a:pt x="840" y="0"/>
                  </a:lnTo>
                  <a:lnTo>
                    <a:pt x="852" y="2"/>
                  </a:lnTo>
                  <a:lnTo>
                    <a:pt x="860" y="4"/>
                  </a:lnTo>
                  <a:lnTo>
                    <a:pt x="870" y="10"/>
                  </a:lnTo>
                  <a:lnTo>
                    <a:pt x="878" y="16"/>
                  </a:lnTo>
                  <a:lnTo>
                    <a:pt x="884" y="24"/>
                  </a:lnTo>
                  <a:lnTo>
                    <a:pt x="888" y="32"/>
                  </a:lnTo>
                  <a:lnTo>
                    <a:pt x="892" y="42"/>
                  </a:lnTo>
                  <a:lnTo>
                    <a:pt x="892" y="52"/>
                  </a:lnTo>
                  <a:lnTo>
                    <a:pt x="892" y="52"/>
                  </a:lnTo>
                  <a:lnTo>
                    <a:pt x="892" y="64"/>
                  </a:lnTo>
                  <a:lnTo>
                    <a:pt x="888" y="74"/>
                  </a:lnTo>
                  <a:lnTo>
                    <a:pt x="884" y="82"/>
                  </a:lnTo>
                  <a:lnTo>
                    <a:pt x="878" y="90"/>
                  </a:lnTo>
                  <a:lnTo>
                    <a:pt x="870" y="96"/>
                  </a:lnTo>
                  <a:lnTo>
                    <a:pt x="860" y="102"/>
                  </a:lnTo>
                  <a:lnTo>
                    <a:pt x="852" y="104"/>
                  </a:lnTo>
                  <a:lnTo>
                    <a:pt x="840" y="106"/>
                  </a:lnTo>
                  <a:lnTo>
                    <a:pt x="180" y="106"/>
                  </a:lnTo>
                  <a:lnTo>
                    <a:pt x="180" y="106"/>
                  </a:lnTo>
                  <a:lnTo>
                    <a:pt x="162" y="108"/>
                  </a:lnTo>
                  <a:lnTo>
                    <a:pt x="148" y="114"/>
                  </a:lnTo>
                  <a:lnTo>
                    <a:pt x="136" y="120"/>
                  </a:lnTo>
                  <a:lnTo>
                    <a:pt x="124" y="130"/>
                  </a:lnTo>
                  <a:lnTo>
                    <a:pt x="114" y="142"/>
                  </a:lnTo>
                  <a:lnTo>
                    <a:pt x="110" y="150"/>
                  </a:lnTo>
                  <a:lnTo>
                    <a:pt x="106" y="158"/>
                  </a:lnTo>
                  <a:lnTo>
                    <a:pt x="104" y="170"/>
                  </a:lnTo>
                  <a:lnTo>
                    <a:pt x="104" y="180"/>
                  </a:lnTo>
                  <a:lnTo>
                    <a:pt x="104" y="180"/>
                  </a:lnTo>
                  <a:lnTo>
                    <a:pt x="106" y="196"/>
                  </a:lnTo>
                  <a:lnTo>
                    <a:pt x="108" y="208"/>
                  </a:lnTo>
                  <a:lnTo>
                    <a:pt x="112" y="218"/>
                  </a:lnTo>
                  <a:lnTo>
                    <a:pt x="118" y="226"/>
                  </a:lnTo>
                  <a:lnTo>
                    <a:pt x="118" y="226"/>
                  </a:lnTo>
                  <a:lnTo>
                    <a:pt x="130" y="234"/>
                  </a:lnTo>
                  <a:lnTo>
                    <a:pt x="142" y="238"/>
                  </a:lnTo>
                  <a:lnTo>
                    <a:pt x="152" y="240"/>
                  </a:lnTo>
                  <a:lnTo>
                    <a:pt x="160" y="240"/>
                  </a:lnTo>
                  <a:lnTo>
                    <a:pt x="394" y="240"/>
                  </a:lnTo>
                  <a:lnTo>
                    <a:pt x="394" y="240"/>
                  </a:lnTo>
                  <a:lnTo>
                    <a:pt x="406" y="240"/>
                  </a:lnTo>
                  <a:lnTo>
                    <a:pt x="426" y="244"/>
                  </a:lnTo>
                  <a:lnTo>
                    <a:pt x="438" y="248"/>
                  </a:lnTo>
                  <a:lnTo>
                    <a:pt x="450" y="252"/>
                  </a:lnTo>
                  <a:lnTo>
                    <a:pt x="464" y="260"/>
                  </a:lnTo>
                  <a:lnTo>
                    <a:pt x="476" y="270"/>
                  </a:lnTo>
                  <a:lnTo>
                    <a:pt x="476" y="270"/>
                  </a:lnTo>
                  <a:lnTo>
                    <a:pt x="488" y="284"/>
                  </a:lnTo>
                  <a:lnTo>
                    <a:pt x="498" y="302"/>
                  </a:lnTo>
                  <a:lnTo>
                    <a:pt x="502" y="312"/>
                  </a:lnTo>
                  <a:lnTo>
                    <a:pt x="506" y="324"/>
                  </a:lnTo>
                  <a:lnTo>
                    <a:pt x="508" y="338"/>
                  </a:lnTo>
                  <a:lnTo>
                    <a:pt x="508" y="354"/>
                  </a:lnTo>
                  <a:lnTo>
                    <a:pt x="508" y="354"/>
                  </a:lnTo>
                  <a:lnTo>
                    <a:pt x="508" y="364"/>
                  </a:lnTo>
                  <a:lnTo>
                    <a:pt x="504" y="374"/>
                  </a:lnTo>
                  <a:lnTo>
                    <a:pt x="500" y="384"/>
                  </a:lnTo>
                  <a:lnTo>
                    <a:pt x="494" y="390"/>
                  </a:lnTo>
                  <a:lnTo>
                    <a:pt x="486" y="398"/>
                  </a:lnTo>
                  <a:lnTo>
                    <a:pt x="476" y="402"/>
                  </a:lnTo>
                  <a:lnTo>
                    <a:pt x="466" y="406"/>
                  </a:lnTo>
                  <a:lnTo>
                    <a:pt x="456" y="406"/>
                  </a:lnTo>
                  <a:lnTo>
                    <a:pt x="456" y="406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eform 14"/>
            <p:cNvSpPr>
              <a:spLocks/>
            </p:cNvSpPr>
            <p:nvPr/>
          </p:nvSpPr>
          <p:spPr bwMode="auto">
            <a:xfrm>
              <a:off x="6726775" y="3077438"/>
              <a:ext cx="895121" cy="245886"/>
            </a:xfrm>
            <a:custGeom>
              <a:avLst/>
              <a:gdLst>
                <a:gd name="T0" fmla="*/ 52 w 1478"/>
                <a:gd name="T1" fmla="*/ 406 h 406"/>
                <a:gd name="T2" fmla="*/ 32 w 1478"/>
                <a:gd name="T3" fmla="*/ 402 h 406"/>
                <a:gd name="T4" fmla="*/ 14 w 1478"/>
                <a:gd name="T5" fmla="*/ 390 h 406"/>
                <a:gd name="T6" fmla="*/ 4 w 1478"/>
                <a:gd name="T7" fmla="*/ 374 h 406"/>
                <a:gd name="T8" fmla="*/ 0 w 1478"/>
                <a:gd name="T9" fmla="*/ 352 h 406"/>
                <a:gd name="T10" fmla="*/ 0 w 1478"/>
                <a:gd name="T11" fmla="*/ 342 h 406"/>
                <a:gd name="T12" fmla="*/ 8 w 1478"/>
                <a:gd name="T13" fmla="*/ 324 h 406"/>
                <a:gd name="T14" fmla="*/ 22 w 1478"/>
                <a:gd name="T15" fmla="*/ 310 h 406"/>
                <a:gd name="T16" fmla="*/ 42 w 1478"/>
                <a:gd name="T17" fmla="*/ 302 h 406"/>
                <a:gd name="T18" fmla="*/ 1300 w 1478"/>
                <a:gd name="T19" fmla="*/ 300 h 406"/>
                <a:gd name="T20" fmla="*/ 1316 w 1478"/>
                <a:gd name="T21" fmla="*/ 296 h 406"/>
                <a:gd name="T22" fmla="*/ 1342 w 1478"/>
                <a:gd name="T23" fmla="*/ 286 h 406"/>
                <a:gd name="T24" fmla="*/ 1364 w 1478"/>
                <a:gd name="T25" fmla="*/ 264 h 406"/>
                <a:gd name="T26" fmla="*/ 1372 w 1478"/>
                <a:gd name="T27" fmla="*/ 246 h 406"/>
                <a:gd name="T28" fmla="*/ 1374 w 1478"/>
                <a:gd name="T29" fmla="*/ 226 h 406"/>
                <a:gd name="T30" fmla="*/ 1374 w 1478"/>
                <a:gd name="T31" fmla="*/ 210 h 406"/>
                <a:gd name="T32" fmla="*/ 1366 w 1478"/>
                <a:gd name="T33" fmla="*/ 188 h 406"/>
                <a:gd name="T34" fmla="*/ 1360 w 1478"/>
                <a:gd name="T35" fmla="*/ 180 h 406"/>
                <a:gd name="T36" fmla="*/ 1336 w 1478"/>
                <a:gd name="T37" fmla="*/ 168 h 406"/>
                <a:gd name="T38" fmla="*/ 1318 w 1478"/>
                <a:gd name="T39" fmla="*/ 166 h 406"/>
                <a:gd name="T40" fmla="*/ 1084 w 1478"/>
                <a:gd name="T41" fmla="*/ 166 h 406"/>
                <a:gd name="T42" fmla="*/ 1052 w 1478"/>
                <a:gd name="T43" fmla="*/ 162 h 406"/>
                <a:gd name="T44" fmla="*/ 1028 w 1478"/>
                <a:gd name="T45" fmla="*/ 152 h 406"/>
                <a:gd name="T46" fmla="*/ 1002 w 1478"/>
                <a:gd name="T47" fmla="*/ 134 h 406"/>
                <a:gd name="T48" fmla="*/ 990 w 1478"/>
                <a:gd name="T49" fmla="*/ 122 h 406"/>
                <a:gd name="T50" fmla="*/ 976 w 1478"/>
                <a:gd name="T51" fmla="*/ 94 h 406"/>
                <a:gd name="T52" fmla="*/ 970 w 1478"/>
                <a:gd name="T53" fmla="*/ 68 h 406"/>
                <a:gd name="T54" fmla="*/ 970 w 1478"/>
                <a:gd name="T55" fmla="*/ 52 h 406"/>
                <a:gd name="T56" fmla="*/ 974 w 1478"/>
                <a:gd name="T57" fmla="*/ 32 h 406"/>
                <a:gd name="T58" fmla="*/ 984 w 1478"/>
                <a:gd name="T59" fmla="*/ 14 h 406"/>
                <a:gd name="T60" fmla="*/ 1002 w 1478"/>
                <a:gd name="T61" fmla="*/ 4 h 406"/>
                <a:gd name="T62" fmla="*/ 1022 w 1478"/>
                <a:gd name="T63" fmla="*/ 0 h 406"/>
                <a:gd name="T64" fmla="*/ 1032 w 1478"/>
                <a:gd name="T65" fmla="*/ 0 h 406"/>
                <a:gd name="T66" fmla="*/ 1052 w 1478"/>
                <a:gd name="T67" fmla="*/ 8 h 406"/>
                <a:gd name="T68" fmla="*/ 1066 w 1478"/>
                <a:gd name="T69" fmla="*/ 22 h 406"/>
                <a:gd name="T70" fmla="*/ 1074 w 1478"/>
                <a:gd name="T71" fmla="*/ 42 h 406"/>
                <a:gd name="T72" fmla="*/ 1074 w 1478"/>
                <a:gd name="T73" fmla="*/ 52 h 406"/>
                <a:gd name="T74" fmla="*/ 1076 w 1478"/>
                <a:gd name="T75" fmla="*/ 60 h 406"/>
                <a:gd name="T76" fmla="*/ 1314 w 1478"/>
                <a:gd name="T77" fmla="*/ 60 h 406"/>
                <a:gd name="T78" fmla="*/ 1328 w 1478"/>
                <a:gd name="T79" fmla="*/ 60 h 406"/>
                <a:gd name="T80" fmla="*/ 1356 w 1478"/>
                <a:gd name="T81" fmla="*/ 64 h 406"/>
                <a:gd name="T82" fmla="*/ 1394 w 1478"/>
                <a:gd name="T83" fmla="*/ 78 h 406"/>
                <a:gd name="T84" fmla="*/ 1432 w 1478"/>
                <a:gd name="T85" fmla="*/ 104 h 406"/>
                <a:gd name="T86" fmla="*/ 1440 w 1478"/>
                <a:gd name="T87" fmla="*/ 112 h 406"/>
                <a:gd name="T88" fmla="*/ 1456 w 1478"/>
                <a:gd name="T89" fmla="*/ 134 h 406"/>
                <a:gd name="T90" fmla="*/ 1470 w 1478"/>
                <a:gd name="T91" fmla="*/ 164 h 406"/>
                <a:gd name="T92" fmla="*/ 1478 w 1478"/>
                <a:gd name="T93" fmla="*/ 202 h 406"/>
                <a:gd name="T94" fmla="*/ 1478 w 1478"/>
                <a:gd name="T95" fmla="*/ 226 h 406"/>
                <a:gd name="T96" fmla="*/ 1474 w 1478"/>
                <a:gd name="T97" fmla="*/ 272 h 406"/>
                <a:gd name="T98" fmla="*/ 1460 w 1478"/>
                <a:gd name="T99" fmla="*/ 310 h 406"/>
                <a:gd name="T100" fmla="*/ 1440 w 1478"/>
                <a:gd name="T101" fmla="*/ 340 h 406"/>
                <a:gd name="T102" fmla="*/ 1414 w 1478"/>
                <a:gd name="T103" fmla="*/ 364 h 406"/>
                <a:gd name="T104" fmla="*/ 1386 w 1478"/>
                <a:gd name="T105" fmla="*/ 382 h 406"/>
                <a:gd name="T106" fmla="*/ 1356 w 1478"/>
                <a:gd name="T107" fmla="*/ 394 h 406"/>
                <a:gd name="T108" fmla="*/ 1302 w 1478"/>
                <a:gd name="T109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78" h="406">
                  <a:moveTo>
                    <a:pt x="52" y="406"/>
                  </a:moveTo>
                  <a:lnTo>
                    <a:pt x="52" y="406"/>
                  </a:lnTo>
                  <a:lnTo>
                    <a:pt x="42" y="404"/>
                  </a:lnTo>
                  <a:lnTo>
                    <a:pt x="32" y="402"/>
                  </a:lnTo>
                  <a:lnTo>
                    <a:pt x="22" y="396"/>
                  </a:lnTo>
                  <a:lnTo>
                    <a:pt x="14" y="390"/>
                  </a:lnTo>
                  <a:lnTo>
                    <a:pt x="8" y="382"/>
                  </a:lnTo>
                  <a:lnTo>
                    <a:pt x="4" y="374"/>
                  </a:lnTo>
                  <a:lnTo>
                    <a:pt x="0" y="364"/>
                  </a:lnTo>
                  <a:lnTo>
                    <a:pt x="0" y="352"/>
                  </a:lnTo>
                  <a:lnTo>
                    <a:pt x="0" y="352"/>
                  </a:lnTo>
                  <a:lnTo>
                    <a:pt x="0" y="342"/>
                  </a:lnTo>
                  <a:lnTo>
                    <a:pt x="4" y="332"/>
                  </a:lnTo>
                  <a:lnTo>
                    <a:pt x="8" y="324"/>
                  </a:lnTo>
                  <a:lnTo>
                    <a:pt x="14" y="316"/>
                  </a:lnTo>
                  <a:lnTo>
                    <a:pt x="22" y="310"/>
                  </a:lnTo>
                  <a:lnTo>
                    <a:pt x="32" y="304"/>
                  </a:lnTo>
                  <a:lnTo>
                    <a:pt x="42" y="302"/>
                  </a:lnTo>
                  <a:lnTo>
                    <a:pt x="52" y="300"/>
                  </a:lnTo>
                  <a:lnTo>
                    <a:pt x="1300" y="300"/>
                  </a:lnTo>
                  <a:lnTo>
                    <a:pt x="1300" y="300"/>
                  </a:lnTo>
                  <a:lnTo>
                    <a:pt x="1316" y="296"/>
                  </a:lnTo>
                  <a:lnTo>
                    <a:pt x="1330" y="292"/>
                  </a:lnTo>
                  <a:lnTo>
                    <a:pt x="1342" y="286"/>
                  </a:lnTo>
                  <a:lnTo>
                    <a:pt x="1354" y="276"/>
                  </a:lnTo>
                  <a:lnTo>
                    <a:pt x="1364" y="264"/>
                  </a:lnTo>
                  <a:lnTo>
                    <a:pt x="1368" y="256"/>
                  </a:lnTo>
                  <a:lnTo>
                    <a:pt x="1372" y="246"/>
                  </a:lnTo>
                  <a:lnTo>
                    <a:pt x="1374" y="236"/>
                  </a:lnTo>
                  <a:lnTo>
                    <a:pt x="1374" y="226"/>
                  </a:lnTo>
                  <a:lnTo>
                    <a:pt x="1374" y="226"/>
                  </a:lnTo>
                  <a:lnTo>
                    <a:pt x="1374" y="210"/>
                  </a:lnTo>
                  <a:lnTo>
                    <a:pt x="1370" y="198"/>
                  </a:lnTo>
                  <a:lnTo>
                    <a:pt x="1366" y="188"/>
                  </a:lnTo>
                  <a:lnTo>
                    <a:pt x="1360" y="180"/>
                  </a:lnTo>
                  <a:lnTo>
                    <a:pt x="1360" y="180"/>
                  </a:lnTo>
                  <a:lnTo>
                    <a:pt x="1348" y="172"/>
                  </a:lnTo>
                  <a:lnTo>
                    <a:pt x="1336" y="168"/>
                  </a:lnTo>
                  <a:lnTo>
                    <a:pt x="1326" y="166"/>
                  </a:lnTo>
                  <a:lnTo>
                    <a:pt x="1318" y="166"/>
                  </a:lnTo>
                  <a:lnTo>
                    <a:pt x="1084" y="166"/>
                  </a:lnTo>
                  <a:lnTo>
                    <a:pt x="1084" y="166"/>
                  </a:lnTo>
                  <a:lnTo>
                    <a:pt x="1072" y="166"/>
                  </a:lnTo>
                  <a:lnTo>
                    <a:pt x="1052" y="162"/>
                  </a:lnTo>
                  <a:lnTo>
                    <a:pt x="1040" y="158"/>
                  </a:lnTo>
                  <a:lnTo>
                    <a:pt x="1028" y="152"/>
                  </a:lnTo>
                  <a:lnTo>
                    <a:pt x="1014" y="146"/>
                  </a:lnTo>
                  <a:lnTo>
                    <a:pt x="1002" y="134"/>
                  </a:lnTo>
                  <a:lnTo>
                    <a:pt x="1002" y="134"/>
                  </a:lnTo>
                  <a:lnTo>
                    <a:pt x="990" y="122"/>
                  </a:lnTo>
                  <a:lnTo>
                    <a:pt x="980" y="104"/>
                  </a:lnTo>
                  <a:lnTo>
                    <a:pt x="976" y="94"/>
                  </a:lnTo>
                  <a:lnTo>
                    <a:pt x="972" y="80"/>
                  </a:lnTo>
                  <a:lnTo>
                    <a:pt x="970" y="68"/>
                  </a:lnTo>
                  <a:lnTo>
                    <a:pt x="970" y="52"/>
                  </a:lnTo>
                  <a:lnTo>
                    <a:pt x="970" y="52"/>
                  </a:lnTo>
                  <a:lnTo>
                    <a:pt x="970" y="42"/>
                  </a:lnTo>
                  <a:lnTo>
                    <a:pt x="974" y="32"/>
                  </a:lnTo>
                  <a:lnTo>
                    <a:pt x="978" y="22"/>
                  </a:lnTo>
                  <a:lnTo>
                    <a:pt x="984" y="14"/>
                  </a:lnTo>
                  <a:lnTo>
                    <a:pt x="992" y="8"/>
                  </a:lnTo>
                  <a:lnTo>
                    <a:pt x="1002" y="4"/>
                  </a:lnTo>
                  <a:lnTo>
                    <a:pt x="1012" y="0"/>
                  </a:lnTo>
                  <a:lnTo>
                    <a:pt x="1022" y="0"/>
                  </a:lnTo>
                  <a:lnTo>
                    <a:pt x="1022" y="0"/>
                  </a:lnTo>
                  <a:lnTo>
                    <a:pt x="1032" y="0"/>
                  </a:lnTo>
                  <a:lnTo>
                    <a:pt x="1042" y="4"/>
                  </a:lnTo>
                  <a:lnTo>
                    <a:pt x="1052" y="8"/>
                  </a:lnTo>
                  <a:lnTo>
                    <a:pt x="1060" y="14"/>
                  </a:lnTo>
                  <a:lnTo>
                    <a:pt x="1066" y="22"/>
                  </a:lnTo>
                  <a:lnTo>
                    <a:pt x="1070" y="32"/>
                  </a:lnTo>
                  <a:lnTo>
                    <a:pt x="1074" y="42"/>
                  </a:lnTo>
                  <a:lnTo>
                    <a:pt x="1074" y="52"/>
                  </a:lnTo>
                  <a:lnTo>
                    <a:pt x="1074" y="52"/>
                  </a:lnTo>
                  <a:lnTo>
                    <a:pt x="1076" y="60"/>
                  </a:lnTo>
                  <a:lnTo>
                    <a:pt x="1076" y="60"/>
                  </a:lnTo>
                  <a:lnTo>
                    <a:pt x="1082" y="60"/>
                  </a:lnTo>
                  <a:lnTo>
                    <a:pt x="1314" y="60"/>
                  </a:lnTo>
                  <a:lnTo>
                    <a:pt x="1314" y="60"/>
                  </a:lnTo>
                  <a:lnTo>
                    <a:pt x="1328" y="60"/>
                  </a:lnTo>
                  <a:lnTo>
                    <a:pt x="1340" y="62"/>
                  </a:lnTo>
                  <a:lnTo>
                    <a:pt x="1356" y="64"/>
                  </a:lnTo>
                  <a:lnTo>
                    <a:pt x="1374" y="70"/>
                  </a:lnTo>
                  <a:lnTo>
                    <a:pt x="1394" y="78"/>
                  </a:lnTo>
                  <a:lnTo>
                    <a:pt x="1412" y="88"/>
                  </a:lnTo>
                  <a:lnTo>
                    <a:pt x="1432" y="104"/>
                  </a:lnTo>
                  <a:lnTo>
                    <a:pt x="1432" y="104"/>
                  </a:lnTo>
                  <a:lnTo>
                    <a:pt x="1440" y="112"/>
                  </a:lnTo>
                  <a:lnTo>
                    <a:pt x="1448" y="122"/>
                  </a:lnTo>
                  <a:lnTo>
                    <a:pt x="1456" y="134"/>
                  </a:lnTo>
                  <a:lnTo>
                    <a:pt x="1464" y="148"/>
                  </a:lnTo>
                  <a:lnTo>
                    <a:pt x="1470" y="164"/>
                  </a:lnTo>
                  <a:lnTo>
                    <a:pt x="1474" y="182"/>
                  </a:lnTo>
                  <a:lnTo>
                    <a:pt x="1478" y="202"/>
                  </a:lnTo>
                  <a:lnTo>
                    <a:pt x="1478" y="226"/>
                  </a:lnTo>
                  <a:lnTo>
                    <a:pt x="1478" y="226"/>
                  </a:lnTo>
                  <a:lnTo>
                    <a:pt x="1478" y="250"/>
                  </a:lnTo>
                  <a:lnTo>
                    <a:pt x="1474" y="272"/>
                  </a:lnTo>
                  <a:lnTo>
                    <a:pt x="1468" y="292"/>
                  </a:lnTo>
                  <a:lnTo>
                    <a:pt x="1460" y="310"/>
                  </a:lnTo>
                  <a:lnTo>
                    <a:pt x="1450" y="326"/>
                  </a:lnTo>
                  <a:lnTo>
                    <a:pt x="1440" y="340"/>
                  </a:lnTo>
                  <a:lnTo>
                    <a:pt x="1426" y="352"/>
                  </a:lnTo>
                  <a:lnTo>
                    <a:pt x="1414" y="364"/>
                  </a:lnTo>
                  <a:lnTo>
                    <a:pt x="1400" y="374"/>
                  </a:lnTo>
                  <a:lnTo>
                    <a:pt x="1386" y="382"/>
                  </a:lnTo>
                  <a:lnTo>
                    <a:pt x="1370" y="388"/>
                  </a:lnTo>
                  <a:lnTo>
                    <a:pt x="1356" y="394"/>
                  </a:lnTo>
                  <a:lnTo>
                    <a:pt x="1328" y="402"/>
                  </a:lnTo>
                  <a:lnTo>
                    <a:pt x="1302" y="406"/>
                  </a:lnTo>
                  <a:lnTo>
                    <a:pt x="52" y="406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Freeform 15"/>
            <p:cNvSpPr>
              <a:spLocks noEditPoints="1"/>
            </p:cNvSpPr>
            <p:nvPr/>
          </p:nvSpPr>
          <p:spPr bwMode="auto">
            <a:xfrm>
              <a:off x="6892717" y="3505013"/>
              <a:ext cx="208337" cy="208337"/>
            </a:xfrm>
            <a:custGeom>
              <a:avLst/>
              <a:gdLst>
                <a:gd name="T0" fmla="*/ 172 w 344"/>
                <a:gd name="T1" fmla="*/ 344 h 344"/>
                <a:gd name="T2" fmla="*/ 172 w 344"/>
                <a:gd name="T3" fmla="*/ 344 h 344"/>
                <a:gd name="T4" fmla="*/ 142 w 344"/>
                <a:gd name="T5" fmla="*/ 334 h 344"/>
                <a:gd name="T6" fmla="*/ 124 w 344"/>
                <a:gd name="T7" fmla="*/ 312 h 344"/>
                <a:gd name="T8" fmla="*/ 118 w 344"/>
                <a:gd name="T9" fmla="*/ 300 h 344"/>
                <a:gd name="T10" fmla="*/ 102 w 344"/>
                <a:gd name="T11" fmla="*/ 278 h 344"/>
                <a:gd name="T12" fmla="*/ 72 w 344"/>
                <a:gd name="T13" fmla="*/ 248 h 344"/>
                <a:gd name="T14" fmla="*/ 28 w 344"/>
                <a:gd name="T15" fmla="*/ 218 h 344"/>
                <a:gd name="T16" fmla="*/ 16 w 344"/>
                <a:gd name="T17" fmla="*/ 210 h 344"/>
                <a:gd name="T18" fmla="*/ 2 w 344"/>
                <a:gd name="T19" fmla="*/ 186 h 344"/>
                <a:gd name="T20" fmla="*/ 0 w 344"/>
                <a:gd name="T21" fmla="*/ 172 h 344"/>
                <a:gd name="T22" fmla="*/ 8 w 344"/>
                <a:gd name="T23" fmla="*/ 144 h 344"/>
                <a:gd name="T24" fmla="*/ 30 w 344"/>
                <a:gd name="T25" fmla="*/ 124 h 344"/>
                <a:gd name="T26" fmla="*/ 54 w 344"/>
                <a:gd name="T27" fmla="*/ 112 h 344"/>
                <a:gd name="T28" fmla="*/ 90 w 344"/>
                <a:gd name="T29" fmla="*/ 82 h 344"/>
                <a:gd name="T30" fmla="*/ 112 w 344"/>
                <a:gd name="T31" fmla="*/ 54 h 344"/>
                <a:gd name="T32" fmla="*/ 124 w 344"/>
                <a:gd name="T33" fmla="*/ 34 h 344"/>
                <a:gd name="T34" fmla="*/ 126 w 344"/>
                <a:gd name="T35" fmla="*/ 26 h 344"/>
                <a:gd name="T36" fmla="*/ 142 w 344"/>
                <a:gd name="T37" fmla="*/ 10 h 344"/>
                <a:gd name="T38" fmla="*/ 164 w 344"/>
                <a:gd name="T39" fmla="*/ 2 h 344"/>
                <a:gd name="T40" fmla="*/ 172 w 344"/>
                <a:gd name="T41" fmla="*/ 0 h 344"/>
                <a:gd name="T42" fmla="*/ 172 w 344"/>
                <a:gd name="T43" fmla="*/ 0 h 344"/>
                <a:gd name="T44" fmla="*/ 188 w 344"/>
                <a:gd name="T45" fmla="*/ 2 h 344"/>
                <a:gd name="T46" fmla="*/ 214 w 344"/>
                <a:gd name="T47" fmla="*/ 20 h 344"/>
                <a:gd name="T48" fmla="*/ 222 w 344"/>
                <a:gd name="T49" fmla="*/ 34 h 344"/>
                <a:gd name="T50" fmla="*/ 226 w 344"/>
                <a:gd name="T51" fmla="*/ 44 h 344"/>
                <a:gd name="T52" fmla="*/ 242 w 344"/>
                <a:gd name="T53" fmla="*/ 68 h 344"/>
                <a:gd name="T54" fmla="*/ 270 w 344"/>
                <a:gd name="T55" fmla="*/ 96 h 344"/>
                <a:gd name="T56" fmla="*/ 314 w 344"/>
                <a:gd name="T57" fmla="*/ 124 h 344"/>
                <a:gd name="T58" fmla="*/ 328 w 344"/>
                <a:gd name="T59" fmla="*/ 134 h 344"/>
                <a:gd name="T60" fmla="*/ 342 w 344"/>
                <a:gd name="T61" fmla="*/ 160 h 344"/>
                <a:gd name="T62" fmla="*/ 344 w 344"/>
                <a:gd name="T63" fmla="*/ 176 h 344"/>
                <a:gd name="T64" fmla="*/ 340 w 344"/>
                <a:gd name="T65" fmla="*/ 190 h 344"/>
                <a:gd name="T66" fmla="*/ 322 w 344"/>
                <a:gd name="T67" fmla="*/ 214 h 344"/>
                <a:gd name="T68" fmla="*/ 308 w 344"/>
                <a:gd name="T69" fmla="*/ 222 h 344"/>
                <a:gd name="T70" fmla="*/ 276 w 344"/>
                <a:gd name="T71" fmla="*/ 240 h 344"/>
                <a:gd name="T72" fmla="*/ 250 w 344"/>
                <a:gd name="T73" fmla="*/ 266 h 344"/>
                <a:gd name="T74" fmla="*/ 232 w 344"/>
                <a:gd name="T75" fmla="*/ 292 h 344"/>
                <a:gd name="T76" fmla="*/ 220 w 344"/>
                <a:gd name="T77" fmla="*/ 312 h 344"/>
                <a:gd name="T78" fmla="*/ 200 w 344"/>
                <a:gd name="T79" fmla="*/ 336 h 344"/>
                <a:gd name="T80" fmla="*/ 172 w 344"/>
                <a:gd name="T81" fmla="*/ 344 h 344"/>
                <a:gd name="T82" fmla="*/ 146 w 344"/>
                <a:gd name="T83" fmla="*/ 172 h 344"/>
                <a:gd name="T84" fmla="*/ 170 w 344"/>
                <a:gd name="T85" fmla="*/ 196 h 344"/>
                <a:gd name="T86" fmla="*/ 196 w 344"/>
                <a:gd name="T87" fmla="*/ 170 h 344"/>
                <a:gd name="T88" fmla="*/ 172 w 344"/>
                <a:gd name="T89" fmla="*/ 148 h 344"/>
                <a:gd name="T90" fmla="*/ 146 w 344"/>
                <a:gd name="T91" fmla="*/ 172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44" h="344">
                  <a:moveTo>
                    <a:pt x="172" y="344"/>
                  </a:moveTo>
                  <a:lnTo>
                    <a:pt x="172" y="344"/>
                  </a:lnTo>
                  <a:lnTo>
                    <a:pt x="172" y="344"/>
                  </a:lnTo>
                  <a:lnTo>
                    <a:pt x="172" y="344"/>
                  </a:lnTo>
                  <a:lnTo>
                    <a:pt x="156" y="342"/>
                  </a:lnTo>
                  <a:lnTo>
                    <a:pt x="142" y="334"/>
                  </a:lnTo>
                  <a:lnTo>
                    <a:pt x="132" y="324"/>
                  </a:lnTo>
                  <a:lnTo>
                    <a:pt x="124" y="312"/>
                  </a:lnTo>
                  <a:lnTo>
                    <a:pt x="124" y="312"/>
                  </a:lnTo>
                  <a:lnTo>
                    <a:pt x="118" y="300"/>
                  </a:lnTo>
                  <a:lnTo>
                    <a:pt x="112" y="290"/>
                  </a:lnTo>
                  <a:lnTo>
                    <a:pt x="102" y="278"/>
                  </a:lnTo>
                  <a:lnTo>
                    <a:pt x="90" y="264"/>
                  </a:lnTo>
                  <a:lnTo>
                    <a:pt x="72" y="248"/>
                  </a:lnTo>
                  <a:lnTo>
                    <a:pt x="52" y="232"/>
                  </a:lnTo>
                  <a:lnTo>
                    <a:pt x="28" y="218"/>
                  </a:lnTo>
                  <a:lnTo>
                    <a:pt x="28" y="218"/>
                  </a:lnTo>
                  <a:lnTo>
                    <a:pt x="16" y="210"/>
                  </a:lnTo>
                  <a:lnTo>
                    <a:pt x="8" y="198"/>
                  </a:lnTo>
                  <a:lnTo>
                    <a:pt x="2" y="186"/>
                  </a:lnTo>
                  <a:lnTo>
                    <a:pt x="0" y="172"/>
                  </a:lnTo>
                  <a:lnTo>
                    <a:pt x="0" y="172"/>
                  </a:lnTo>
                  <a:lnTo>
                    <a:pt x="2" y="156"/>
                  </a:lnTo>
                  <a:lnTo>
                    <a:pt x="8" y="144"/>
                  </a:lnTo>
                  <a:lnTo>
                    <a:pt x="18" y="132"/>
                  </a:lnTo>
                  <a:lnTo>
                    <a:pt x="30" y="124"/>
                  </a:lnTo>
                  <a:lnTo>
                    <a:pt x="30" y="124"/>
                  </a:lnTo>
                  <a:lnTo>
                    <a:pt x="54" y="112"/>
                  </a:lnTo>
                  <a:lnTo>
                    <a:pt x="74" y="96"/>
                  </a:lnTo>
                  <a:lnTo>
                    <a:pt x="90" y="82"/>
                  </a:lnTo>
                  <a:lnTo>
                    <a:pt x="102" y="68"/>
                  </a:lnTo>
                  <a:lnTo>
                    <a:pt x="112" y="54"/>
                  </a:lnTo>
                  <a:lnTo>
                    <a:pt x="118" y="44"/>
                  </a:lnTo>
                  <a:lnTo>
                    <a:pt x="124" y="34"/>
                  </a:lnTo>
                  <a:lnTo>
                    <a:pt x="124" y="34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42" y="10"/>
                  </a:lnTo>
                  <a:lnTo>
                    <a:pt x="156" y="2"/>
                  </a:lnTo>
                  <a:lnTo>
                    <a:pt x="164" y="2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180" y="2"/>
                  </a:lnTo>
                  <a:lnTo>
                    <a:pt x="188" y="2"/>
                  </a:lnTo>
                  <a:lnTo>
                    <a:pt x="202" y="10"/>
                  </a:lnTo>
                  <a:lnTo>
                    <a:pt x="214" y="20"/>
                  </a:lnTo>
                  <a:lnTo>
                    <a:pt x="218" y="28"/>
                  </a:lnTo>
                  <a:lnTo>
                    <a:pt x="222" y="34"/>
                  </a:lnTo>
                  <a:lnTo>
                    <a:pt x="222" y="34"/>
                  </a:lnTo>
                  <a:lnTo>
                    <a:pt x="226" y="44"/>
                  </a:lnTo>
                  <a:lnTo>
                    <a:pt x="232" y="56"/>
                  </a:lnTo>
                  <a:lnTo>
                    <a:pt x="242" y="68"/>
                  </a:lnTo>
                  <a:lnTo>
                    <a:pt x="254" y="82"/>
                  </a:lnTo>
                  <a:lnTo>
                    <a:pt x="270" y="96"/>
                  </a:lnTo>
                  <a:lnTo>
                    <a:pt x="290" y="112"/>
                  </a:lnTo>
                  <a:lnTo>
                    <a:pt x="314" y="124"/>
                  </a:lnTo>
                  <a:lnTo>
                    <a:pt x="314" y="124"/>
                  </a:lnTo>
                  <a:lnTo>
                    <a:pt x="328" y="134"/>
                  </a:lnTo>
                  <a:lnTo>
                    <a:pt x="336" y="146"/>
                  </a:lnTo>
                  <a:lnTo>
                    <a:pt x="342" y="160"/>
                  </a:lnTo>
                  <a:lnTo>
                    <a:pt x="344" y="176"/>
                  </a:lnTo>
                  <a:lnTo>
                    <a:pt x="344" y="176"/>
                  </a:lnTo>
                  <a:lnTo>
                    <a:pt x="342" y="184"/>
                  </a:lnTo>
                  <a:lnTo>
                    <a:pt x="340" y="190"/>
                  </a:lnTo>
                  <a:lnTo>
                    <a:pt x="334" y="204"/>
                  </a:lnTo>
                  <a:lnTo>
                    <a:pt x="322" y="214"/>
                  </a:lnTo>
                  <a:lnTo>
                    <a:pt x="308" y="222"/>
                  </a:lnTo>
                  <a:lnTo>
                    <a:pt x="308" y="222"/>
                  </a:lnTo>
                  <a:lnTo>
                    <a:pt x="292" y="230"/>
                  </a:lnTo>
                  <a:lnTo>
                    <a:pt x="276" y="240"/>
                  </a:lnTo>
                  <a:lnTo>
                    <a:pt x="262" y="252"/>
                  </a:lnTo>
                  <a:lnTo>
                    <a:pt x="250" y="266"/>
                  </a:lnTo>
                  <a:lnTo>
                    <a:pt x="240" y="278"/>
                  </a:lnTo>
                  <a:lnTo>
                    <a:pt x="232" y="292"/>
                  </a:lnTo>
                  <a:lnTo>
                    <a:pt x="220" y="312"/>
                  </a:lnTo>
                  <a:lnTo>
                    <a:pt x="220" y="312"/>
                  </a:lnTo>
                  <a:lnTo>
                    <a:pt x="212" y="326"/>
                  </a:lnTo>
                  <a:lnTo>
                    <a:pt x="200" y="336"/>
                  </a:lnTo>
                  <a:lnTo>
                    <a:pt x="188" y="342"/>
                  </a:lnTo>
                  <a:lnTo>
                    <a:pt x="172" y="344"/>
                  </a:lnTo>
                  <a:lnTo>
                    <a:pt x="172" y="344"/>
                  </a:lnTo>
                  <a:close/>
                  <a:moveTo>
                    <a:pt x="146" y="172"/>
                  </a:moveTo>
                  <a:lnTo>
                    <a:pt x="146" y="172"/>
                  </a:lnTo>
                  <a:lnTo>
                    <a:pt x="170" y="196"/>
                  </a:lnTo>
                  <a:lnTo>
                    <a:pt x="170" y="196"/>
                  </a:lnTo>
                  <a:lnTo>
                    <a:pt x="196" y="170"/>
                  </a:lnTo>
                  <a:lnTo>
                    <a:pt x="196" y="170"/>
                  </a:lnTo>
                  <a:lnTo>
                    <a:pt x="172" y="148"/>
                  </a:lnTo>
                  <a:lnTo>
                    <a:pt x="172" y="148"/>
                  </a:lnTo>
                  <a:lnTo>
                    <a:pt x="146" y="172"/>
                  </a:lnTo>
                  <a:lnTo>
                    <a:pt x="146" y="172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Freeform 18"/>
            <p:cNvSpPr>
              <a:spLocks/>
            </p:cNvSpPr>
            <p:nvPr/>
          </p:nvSpPr>
          <p:spPr bwMode="auto">
            <a:xfrm>
              <a:off x="6965393" y="3268818"/>
              <a:ext cx="64197" cy="213182"/>
            </a:xfrm>
            <a:custGeom>
              <a:avLst/>
              <a:gdLst>
                <a:gd name="T0" fmla="*/ 52 w 106"/>
                <a:gd name="T1" fmla="*/ 352 h 352"/>
                <a:gd name="T2" fmla="*/ 52 w 106"/>
                <a:gd name="T3" fmla="*/ 352 h 352"/>
                <a:gd name="T4" fmla="*/ 52 w 106"/>
                <a:gd name="T5" fmla="*/ 352 h 352"/>
                <a:gd name="T6" fmla="*/ 52 w 106"/>
                <a:gd name="T7" fmla="*/ 352 h 352"/>
                <a:gd name="T8" fmla="*/ 40 w 106"/>
                <a:gd name="T9" fmla="*/ 352 h 352"/>
                <a:gd name="T10" fmla="*/ 32 w 106"/>
                <a:gd name="T11" fmla="*/ 348 h 352"/>
                <a:gd name="T12" fmla="*/ 22 w 106"/>
                <a:gd name="T13" fmla="*/ 342 h 352"/>
                <a:gd name="T14" fmla="*/ 14 w 106"/>
                <a:gd name="T15" fmla="*/ 336 h 352"/>
                <a:gd name="T16" fmla="*/ 8 w 106"/>
                <a:gd name="T17" fmla="*/ 328 h 352"/>
                <a:gd name="T18" fmla="*/ 4 w 106"/>
                <a:gd name="T19" fmla="*/ 320 h 352"/>
                <a:gd name="T20" fmla="*/ 0 w 106"/>
                <a:gd name="T21" fmla="*/ 310 h 352"/>
                <a:gd name="T22" fmla="*/ 0 w 106"/>
                <a:gd name="T23" fmla="*/ 300 h 352"/>
                <a:gd name="T24" fmla="*/ 0 w 106"/>
                <a:gd name="T25" fmla="*/ 300 h 352"/>
                <a:gd name="T26" fmla="*/ 0 w 106"/>
                <a:gd name="T27" fmla="*/ 134 h 352"/>
                <a:gd name="T28" fmla="*/ 0 w 106"/>
                <a:gd name="T29" fmla="*/ 44 h 352"/>
                <a:gd name="T30" fmla="*/ 52 w 106"/>
                <a:gd name="T31" fmla="*/ 36 h 352"/>
                <a:gd name="T32" fmla="*/ 90 w 106"/>
                <a:gd name="T33" fmla="*/ 0 h 352"/>
                <a:gd name="T34" fmla="*/ 90 w 106"/>
                <a:gd name="T35" fmla="*/ 0 h 352"/>
                <a:gd name="T36" fmla="*/ 96 w 106"/>
                <a:gd name="T37" fmla="*/ 6 h 352"/>
                <a:gd name="T38" fmla="*/ 100 w 106"/>
                <a:gd name="T39" fmla="*/ 16 h 352"/>
                <a:gd name="T40" fmla="*/ 104 w 106"/>
                <a:gd name="T41" fmla="*/ 28 h 352"/>
                <a:gd name="T42" fmla="*/ 106 w 106"/>
                <a:gd name="T43" fmla="*/ 52 h 352"/>
                <a:gd name="T44" fmla="*/ 106 w 106"/>
                <a:gd name="T45" fmla="*/ 138 h 352"/>
                <a:gd name="T46" fmla="*/ 104 w 106"/>
                <a:gd name="T47" fmla="*/ 300 h 352"/>
                <a:gd name="T48" fmla="*/ 104 w 106"/>
                <a:gd name="T49" fmla="*/ 300 h 352"/>
                <a:gd name="T50" fmla="*/ 104 w 106"/>
                <a:gd name="T51" fmla="*/ 310 h 352"/>
                <a:gd name="T52" fmla="*/ 100 w 106"/>
                <a:gd name="T53" fmla="*/ 320 h 352"/>
                <a:gd name="T54" fmla="*/ 96 w 106"/>
                <a:gd name="T55" fmla="*/ 330 h 352"/>
                <a:gd name="T56" fmla="*/ 88 w 106"/>
                <a:gd name="T57" fmla="*/ 338 h 352"/>
                <a:gd name="T58" fmla="*/ 82 w 106"/>
                <a:gd name="T59" fmla="*/ 344 h 352"/>
                <a:gd name="T60" fmla="*/ 72 w 106"/>
                <a:gd name="T61" fmla="*/ 348 h 352"/>
                <a:gd name="T62" fmla="*/ 62 w 106"/>
                <a:gd name="T63" fmla="*/ 352 h 352"/>
                <a:gd name="T64" fmla="*/ 52 w 106"/>
                <a:gd name="T65" fmla="*/ 352 h 352"/>
                <a:gd name="T66" fmla="*/ 52 w 106"/>
                <a:gd name="T67" fmla="*/ 352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6" h="352">
                  <a:moveTo>
                    <a:pt x="52" y="352"/>
                  </a:moveTo>
                  <a:lnTo>
                    <a:pt x="52" y="352"/>
                  </a:lnTo>
                  <a:lnTo>
                    <a:pt x="52" y="352"/>
                  </a:lnTo>
                  <a:lnTo>
                    <a:pt x="52" y="352"/>
                  </a:lnTo>
                  <a:lnTo>
                    <a:pt x="40" y="352"/>
                  </a:lnTo>
                  <a:lnTo>
                    <a:pt x="32" y="348"/>
                  </a:lnTo>
                  <a:lnTo>
                    <a:pt x="22" y="342"/>
                  </a:lnTo>
                  <a:lnTo>
                    <a:pt x="14" y="336"/>
                  </a:lnTo>
                  <a:lnTo>
                    <a:pt x="8" y="328"/>
                  </a:lnTo>
                  <a:lnTo>
                    <a:pt x="4" y="320"/>
                  </a:lnTo>
                  <a:lnTo>
                    <a:pt x="0" y="310"/>
                  </a:lnTo>
                  <a:lnTo>
                    <a:pt x="0" y="300"/>
                  </a:lnTo>
                  <a:lnTo>
                    <a:pt x="0" y="300"/>
                  </a:lnTo>
                  <a:lnTo>
                    <a:pt x="0" y="134"/>
                  </a:lnTo>
                  <a:lnTo>
                    <a:pt x="0" y="44"/>
                  </a:lnTo>
                  <a:lnTo>
                    <a:pt x="52" y="36"/>
                  </a:lnTo>
                  <a:lnTo>
                    <a:pt x="90" y="0"/>
                  </a:lnTo>
                  <a:lnTo>
                    <a:pt x="90" y="0"/>
                  </a:lnTo>
                  <a:lnTo>
                    <a:pt x="96" y="6"/>
                  </a:lnTo>
                  <a:lnTo>
                    <a:pt x="100" y="16"/>
                  </a:lnTo>
                  <a:lnTo>
                    <a:pt x="104" y="28"/>
                  </a:lnTo>
                  <a:lnTo>
                    <a:pt x="106" y="52"/>
                  </a:lnTo>
                  <a:lnTo>
                    <a:pt x="106" y="138"/>
                  </a:lnTo>
                  <a:lnTo>
                    <a:pt x="104" y="300"/>
                  </a:lnTo>
                  <a:lnTo>
                    <a:pt x="104" y="300"/>
                  </a:lnTo>
                  <a:lnTo>
                    <a:pt x="104" y="310"/>
                  </a:lnTo>
                  <a:lnTo>
                    <a:pt x="100" y="320"/>
                  </a:lnTo>
                  <a:lnTo>
                    <a:pt x="96" y="330"/>
                  </a:lnTo>
                  <a:lnTo>
                    <a:pt x="88" y="338"/>
                  </a:lnTo>
                  <a:lnTo>
                    <a:pt x="82" y="344"/>
                  </a:lnTo>
                  <a:lnTo>
                    <a:pt x="72" y="348"/>
                  </a:lnTo>
                  <a:lnTo>
                    <a:pt x="62" y="352"/>
                  </a:lnTo>
                  <a:lnTo>
                    <a:pt x="52" y="352"/>
                  </a:lnTo>
                  <a:lnTo>
                    <a:pt x="52" y="352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Freeform 19"/>
            <p:cNvSpPr>
              <a:spLocks noEditPoints="1"/>
            </p:cNvSpPr>
            <p:nvPr/>
          </p:nvSpPr>
          <p:spPr bwMode="auto">
            <a:xfrm>
              <a:off x="5077386" y="3609182"/>
              <a:ext cx="186534" cy="185323"/>
            </a:xfrm>
            <a:custGeom>
              <a:avLst/>
              <a:gdLst>
                <a:gd name="T0" fmla="*/ 154 w 308"/>
                <a:gd name="T1" fmla="*/ 306 h 306"/>
                <a:gd name="T2" fmla="*/ 124 w 308"/>
                <a:gd name="T3" fmla="*/ 304 h 306"/>
                <a:gd name="T4" fmla="*/ 94 w 308"/>
                <a:gd name="T5" fmla="*/ 294 h 306"/>
                <a:gd name="T6" fmla="*/ 68 w 308"/>
                <a:gd name="T7" fmla="*/ 280 h 306"/>
                <a:gd name="T8" fmla="*/ 46 w 308"/>
                <a:gd name="T9" fmla="*/ 262 h 306"/>
                <a:gd name="T10" fmla="*/ 26 w 308"/>
                <a:gd name="T11" fmla="*/ 240 h 306"/>
                <a:gd name="T12" fmla="*/ 12 w 308"/>
                <a:gd name="T13" fmla="*/ 212 h 306"/>
                <a:gd name="T14" fmla="*/ 4 w 308"/>
                <a:gd name="T15" fmla="*/ 184 h 306"/>
                <a:gd name="T16" fmla="*/ 0 w 308"/>
                <a:gd name="T17" fmla="*/ 154 h 306"/>
                <a:gd name="T18" fmla="*/ 2 w 308"/>
                <a:gd name="T19" fmla="*/ 138 h 306"/>
                <a:gd name="T20" fmla="*/ 8 w 308"/>
                <a:gd name="T21" fmla="*/ 108 h 306"/>
                <a:gd name="T22" fmla="*/ 20 w 308"/>
                <a:gd name="T23" fmla="*/ 80 h 306"/>
                <a:gd name="T24" fmla="*/ 36 w 308"/>
                <a:gd name="T25" fmla="*/ 56 h 306"/>
                <a:gd name="T26" fmla="*/ 56 w 308"/>
                <a:gd name="T27" fmla="*/ 34 h 306"/>
                <a:gd name="T28" fmla="*/ 82 w 308"/>
                <a:gd name="T29" fmla="*/ 18 h 306"/>
                <a:gd name="T30" fmla="*/ 108 w 308"/>
                <a:gd name="T31" fmla="*/ 6 h 306"/>
                <a:gd name="T32" fmla="*/ 138 w 308"/>
                <a:gd name="T33" fmla="*/ 0 h 306"/>
                <a:gd name="T34" fmla="*/ 154 w 308"/>
                <a:gd name="T35" fmla="*/ 0 h 306"/>
                <a:gd name="T36" fmla="*/ 186 w 308"/>
                <a:gd name="T37" fmla="*/ 2 h 306"/>
                <a:gd name="T38" fmla="*/ 214 w 308"/>
                <a:gd name="T39" fmla="*/ 12 h 306"/>
                <a:gd name="T40" fmla="*/ 240 w 308"/>
                <a:gd name="T41" fmla="*/ 26 h 306"/>
                <a:gd name="T42" fmla="*/ 262 w 308"/>
                <a:gd name="T43" fmla="*/ 44 h 306"/>
                <a:gd name="T44" fmla="*/ 282 w 308"/>
                <a:gd name="T45" fmla="*/ 68 h 306"/>
                <a:gd name="T46" fmla="*/ 296 w 308"/>
                <a:gd name="T47" fmla="*/ 94 h 306"/>
                <a:gd name="T48" fmla="*/ 304 w 308"/>
                <a:gd name="T49" fmla="*/ 122 h 306"/>
                <a:gd name="T50" fmla="*/ 308 w 308"/>
                <a:gd name="T51" fmla="*/ 154 h 306"/>
                <a:gd name="T52" fmla="*/ 308 w 308"/>
                <a:gd name="T53" fmla="*/ 168 h 306"/>
                <a:gd name="T54" fmla="*/ 302 w 308"/>
                <a:gd name="T55" fmla="*/ 198 h 306"/>
                <a:gd name="T56" fmla="*/ 290 w 308"/>
                <a:gd name="T57" fmla="*/ 226 h 306"/>
                <a:gd name="T58" fmla="*/ 272 w 308"/>
                <a:gd name="T59" fmla="*/ 250 h 306"/>
                <a:gd name="T60" fmla="*/ 252 w 308"/>
                <a:gd name="T61" fmla="*/ 272 h 306"/>
                <a:gd name="T62" fmla="*/ 228 w 308"/>
                <a:gd name="T63" fmla="*/ 288 h 306"/>
                <a:gd name="T64" fmla="*/ 200 w 308"/>
                <a:gd name="T65" fmla="*/ 300 h 306"/>
                <a:gd name="T66" fmla="*/ 170 w 308"/>
                <a:gd name="T67" fmla="*/ 306 h 306"/>
                <a:gd name="T68" fmla="*/ 154 w 308"/>
                <a:gd name="T69" fmla="*/ 306 h 306"/>
                <a:gd name="T70" fmla="*/ 154 w 308"/>
                <a:gd name="T71" fmla="*/ 104 h 306"/>
                <a:gd name="T72" fmla="*/ 136 w 308"/>
                <a:gd name="T73" fmla="*/ 108 h 306"/>
                <a:gd name="T74" fmla="*/ 120 w 308"/>
                <a:gd name="T75" fmla="*/ 118 h 306"/>
                <a:gd name="T76" fmla="*/ 110 w 308"/>
                <a:gd name="T77" fmla="*/ 134 h 306"/>
                <a:gd name="T78" fmla="*/ 106 w 308"/>
                <a:gd name="T79" fmla="*/ 154 h 306"/>
                <a:gd name="T80" fmla="*/ 106 w 308"/>
                <a:gd name="T81" fmla="*/ 164 h 306"/>
                <a:gd name="T82" fmla="*/ 114 w 308"/>
                <a:gd name="T83" fmla="*/ 180 h 306"/>
                <a:gd name="T84" fmla="*/ 128 w 308"/>
                <a:gd name="T85" fmla="*/ 194 h 306"/>
                <a:gd name="T86" fmla="*/ 144 w 308"/>
                <a:gd name="T87" fmla="*/ 200 h 306"/>
                <a:gd name="T88" fmla="*/ 154 w 308"/>
                <a:gd name="T89" fmla="*/ 202 h 306"/>
                <a:gd name="T90" fmla="*/ 174 w 308"/>
                <a:gd name="T91" fmla="*/ 198 h 306"/>
                <a:gd name="T92" fmla="*/ 188 w 308"/>
                <a:gd name="T93" fmla="*/ 188 h 306"/>
                <a:gd name="T94" fmla="*/ 200 w 308"/>
                <a:gd name="T95" fmla="*/ 172 h 306"/>
                <a:gd name="T96" fmla="*/ 202 w 308"/>
                <a:gd name="T97" fmla="*/ 154 h 306"/>
                <a:gd name="T98" fmla="*/ 202 w 308"/>
                <a:gd name="T99" fmla="*/ 144 h 306"/>
                <a:gd name="T100" fmla="*/ 194 w 308"/>
                <a:gd name="T101" fmla="*/ 126 h 306"/>
                <a:gd name="T102" fmla="*/ 182 w 308"/>
                <a:gd name="T103" fmla="*/ 112 h 306"/>
                <a:gd name="T104" fmla="*/ 164 w 308"/>
                <a:gd name="T105" fmla="*/ 106 h 306"/>
                <a:gd name="T106" fmla="*/ 154 w 308"/>
                <a:gd name="T107" fmla="*/ 104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08" h="306">
                  <a:moveTo>
                    <a:pt x="154" y="306"/>
                  </a:moveTo>
                  <a:lnTo>
                    <a:pt x="154" y="306"/>
                  </a:lnTo>
                  <a:lnTo>
                    <a:pt x="138" y="306"/>
                  </a:lnTo>
                  <a:lnTo>
                    <a:pt x="124" y="304"/>
                  </a:lnTo>
                  <a:lnTo>
                    <a:pt x="108" y="300"/>
                  </a:lnTo>
                  <a:lnTo>
                    <a:pt x="94" y="294"/>
                  </a:lnTo>
                  <a:lnTo>
                    <a:pt x="82" y="288"/>
                  </a:lnTo>
                  <a:lnTo>
                    <a:pt x="68" y="280"/>
                  </a:lnTo>
                  <a:lnTo>
                    <a:pt x="56" y="272"/>
                  </a:lnTo>
                  <a:lnTo>
                    <a:pt x="46" y="262"/>
                  </a:lnTo>
                  <a:lnTo>
                    <a:pt x="36" y="250"/>
                  </a:lnTo>
                  <a:lnTo>
                    <a:pt x="26" y="240"/>
                  </a:lnTo>
                  <a:lnTo>
                    <a:pt x="20" y="226"/>
                  </a:lnTo>
                  <a:lnTo>
                    <a:pt x="12" y="212"/>
                  </a:lnTo>
                  <a:lnTo>
                    <a:pt x="8" y="198"/>
                  </a:lnTo>
                  <a:lnTo>
                    <a:pt x="4" y="184"/>
                  </a:lnTo>
                  <a:lnTo>
                    <a:pt x="2" y="168"/>
                  </a:lnTo>
                  <a:lnTo>
                    <a:pt x="0" y="154"/>
                  </a:lnTo>
                  <a:lnTo>
                    <a:pt x="0" y="154"/>
                  </a:lnTo>
                  <a:lnTo>
                    <a:pt x="2" y="138"/>
                  </a:lnTo>
                  <a:lnTo>
                    <a:pt x="4" y="122"/>
                  </a:lnTo>
                  <a:lnTo>
                    <a:pt x="8" y="108"/>
                  </a:lnTo>
                  <a:lnTo>
                    <a:pt x="12" y="94"/>
                  </a:lnTo>
                  <a:lnTo>
                    <a:pt x="20" y="80"/>
                  </a:lnTo>
                  <a:lnTo>
                    <a:pt x="26" y="68"/>
                  </a:lnTo>
                  <a:lnTo>
                    <a:pt x="36" y="56"/>
                  </a:lnTo>
                  <a:lnTo>
                    <a:pt x="46" y="44"/>
                  </a:lnTo>
                  <a:lnTo>
                    <a:pt x="56" y="34"/>
                  </a:lnTo>
                  <a:lnTo>
                    <a:pt x="68" y="26"/>
                  </a:lnTo>
                  <a:lnTo>
                    <a:pt x="82" y="18"/>
                  </a:lnTo>
                  <a:lnTo>
                    <a:pt x="94" y="12"/>
                  </a:lnTo>
                  <a:lnTo>
                    <a:pt x="108" y="6"/>
                  </a:lnTo>
                  <a:lnTo>
                    <a:pt x="124" y="2"/>
                  </a:lnTo>
                  <a:lnTo>
                    <a:pt x="138" y="0"/>
                  </a:lnTo>
                  <a:lnTo>
                    <a:pt x="154" y="0"/>
                  </a:lnTo>
                  <a:lnTo>
                    <a:pt x="154" y="0"/>
                  </a:lnTo>
                  <a:lnTo>
                    <a:pt x="170" y="0"/>
                  </a:lnTo>
                  <a:lnTo>
                    <a:pt x="186" y="2"/>
                  </a:lnTo>
                  <a:lnTo>
                    <a:pt x="200" y="6"/>
                  </a:lnTo>
                  <a:lnTo>
                    <a:pt x="214" y="12"/>
                  </a:lnTo>
                  <a:lnTo>
                    <a:pt x="228" y="18"/>
                  </a:lnTo>
                  <a:lnTo>
                    <a:pt x="240" y="26"/>
                  </a:lnTo>
                  <a:lnTo>
                    <a:pt x="252" y="34"/>
                  </a:lnTo>
                  <a:lnTo>
                    <a:pt x="262" y="44"/>
                  </a:lnTo>
                  <a:lnTo>
                    <a:pt x="272" y="56"/>
                  </a:lnTo>
                  <a:lnTo>
                    <a:pt x="282" y="68"/>
                  </a:lnTo>
                  <a:lnTo>
                    <a:pt x="290" y="80"/>
                  </a:lnTo>
                  <a:lnTo>
                    <a:pt x="296" y="94"/>
                  </a:lnTo>
                  <a:lnTo>
                    <a:pt x="302" y="108"/>
                  </a:lnTo>
                  <a:lnTo>
                    <a:pt x="304" y="122"/>
                  </a:lnTo>
                  <a:lnTo>
                    <a:pt x="308" y="138"/>
                  </a:lnTo>
                  <a:lnTo>
                    <a:pt x="308" y="154"/>
                  </a:lnTo>
                  <a:lnTo>
                    <a:pt x="308" y="154"/>
                  </a:lnTo>
                  <a:lnTo>
                    <a:pt x="308" y="168"/>
                  </a:lnTo>
                  <a:lnTo>
                    <a:pt x="304" y="184"/>
                  </a:lnTo>
                  <a:lnTo>
                    <a:pt x="302" y="198"/>
                  </a:lnTo>
                  <a:lnTo>
                    <a:pt x="296" y="212"/>
                  </a:lnTo>
                  <a:lnTo>
                    <a:pt x="290" y="226"/>
                  </a:lnTo>
                  <a:lnTo>
                    <a:pt x="282" y="240"/>
                  </a:lnTo>
                  <a:lnTo>
                    <a:pt x="272" y="250"/>
                  </a:lnTo>
                  <a:lnTo>
                    <a:pt x="262" y="262"/>
                  </a:lnTo>
                  <a:lnTo>
                    <a:pt x="252" y="272"/>
                  </a:lnTo>
                  <a:lnTo>
                    <a:pt x="240" y="280"/>
                  </a:lnTo>
                  <a:lnTo>
                    <a:pt x="228" y="288"/>
                  </a:lnTo>
                  <a:lnTo>
                    <a:pt x="214" y="294"/>
                  </a:lnTo>
                  <a:lnTo>
                    <a:pt x="200" y="300"/>
                  </a:lnTo>
                  <a:lnTo>
                    <a:pt x="186" y="304"/>
                  </a:lnTo>
                  <a:lnTo>
                    <a:pt x="170" y="306"/>
                  </a:lnTo>
                  <a:lnTo>
                    <a:pt x="154" y="306"/>
                  </a:lnTo>
                  <a:lnTo>
                    <a:pt x="154" y="306"/>
                  </a:lnTo>
                  <a:close/>
                  <a:moveTo>
                    <a:pt x="154" y="104"/>
                  </a:moveTo>
                  <a:lnTo>
                    <a:pt x="154" y="104"/>
                  </a:lnTo>
                  <a:lnTo>
                    <a:pt x="144" y="106"/>
                  </a:lnTo>
                  <a:lnTo>
                    <a:pt x="136" y="108"/>
                  </a:lnTo>
                  <a:lnTo>
                    <a:pt x="128" y="112"/>
                  </a:lnTo>
                  <a:lnTo>
                    <a:pt x="120" y="118"/>
                  </a:lnTo>
                  <a:lnTo>
                    <a:pt x="114" y="126"/>
                  </a:lnTo>
                  <a:lnTo>
                    <a:pt x="110" y="134"/>
                  </a:lnTo>
                  <a:lnTo>
                    <a:pt x="106" y="144"/>
                  </a:lnTo>
                  <a:lnTo>
                    <a:pt x="106" y="154"/>
                  </a:lnTo>
                  <a:lnTo>
                    <a:pt x="106" y="154"/>
                  </a:lnTo>
                  <a:lnTo>
                    <a:pt x="106" y="164"/>
                  </a:lnTo>
                  <a:lnTo>
                    <a:pt x="110" y="172"/>
                  </a:lnTo>
                  <a:lnTo>
                    <a:pt x="114" y="180"/>
                  </a:lnTo>
                  <a:lnTo>
                    <a:pt x="120" y="188"/>
                  </a:lnTo>
                  <a:lnTo>
                    <a:pt x="128" y="194"/>
                  </a:lnTo>
                  <a:lnTo>
                    <a:pt x="136" y="198"/>
                  </a:lnTo>
                  <a:lnTo>
                    <a:pt x="144" y="200"/>
                  </a:lnTo>
                  <a:lnTo>
                    <a:pt x="154" y="202"/>
                  </a:lnTo>
                  <a:lnTo>
                    <a:pt x="154" y="202"/>
                  </a:lnTo>
                  <a:lnTo>
                    <a:pt x="164" y="200"/>
                  </a:lnTo>
                  <a:lnTo>
                    <a:pt x="174" y="198"/>
                  </a:lnTo>
                  <a:lnTo>
                    <a:pt x="182" y="194"/>
                  </a:lnTo>
                  <a:lnTo>
                    <a:pt x="188" y="188"/>
                  </a:lnTo>
                  <a:lnTo>
                    <a:pt x="194" y="180"/>
                  </a:lnTo>
                  <a:lnTo>
                    <a:pt x="200" y="172"/>
                  </a:lnTo>
                  <a:lnTo>
                    <a:pt x="202" y="164"/>
                  </a:lnTo>
                  <a:lnTo>
                    <a:pt x="202" y="154"/>
                  </a:lnTo>
                  <a:lnTo>
                    <a:pt x="202" y="154"/>
                  </a:lnTo>
                  <a:lnTo>
                    <a:pt x="202" y="144"/>
                  </a:lnTo>
                  <a:lnTo>
                    <a:pt x="200" y="134"/>
                  </a:lnTo>
                  <a:lnTo>
                    <a:pt x="194" y="126"/>
                  </a:lnTo>
                  <a:lnTo>
                    <a:pt x="188" y="118"/>
                  </a:lnTo>
                  <a:lnTo>
                    <a:pt x="182" y="112"/>
                  </a:lnTo>
                  <a:lnTo>
                    <a:pt x="174" y="108"/>
                  </a:lnTo>
                  <a:lnTo>
                    <a:pt x="164" y="106"/>
                  </a:lnTo>
                  <a:lnTo>
                    <a:pt x="154" y="104"/>
                  </a:lnTo>
                  <a:lnTo>
                    <a:pt x="154" y="104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Freeform 20"/>
            <p:cNvSpPr>
              <a:spLocks noEditPoints="1"/>
            </p:cNvSpPr>
            <p:nvPr/>
          </p:nvSpPr>
          <p:spPr bwMode="auto">
            <a:xfrm>
              <a:off x="7250039" y="2854566"/>
              <a:ext cx="186534" cy="186534"/>
            </a:xfrm>
            <a:custGeom>
              <a:avLst/>
              <a:gdLst>
                <a:gd name="T0" fmla="*/ 154 w 308"/>
                <a:gd name="T1" fmla="*/ 308 h 308"/>
                <a:gd name="T2" fmla="*/ 122 w 308"/>
                <a:gd name="T3" fmla="*/ 304 h 308"/>
                <a:gd name="T4" fmla="*/ 94 w 308"/>
                <a:gd name="T5" fmla="*/ 296 h 308"/>
                <a:gd name="T6" fmla="*/ 68 w 308"/>
                <a:gd name="T7" fmla="*/ 282 h 308"/>
                <a:gd name="T8" fmla="*/ 44 w 308"/>
                <a:gd name="T9" fmla="*/ 262 h 308"/>
                <a:gd name="T10" fmla="*/ 26 w 308"/>
                <a:gd name="T11" fmla="*/ 240 h 308"/>
                <a:gd name="T12" fmla="*/ 12 w 308"/>
                <a:gd name="T13" fmla="*/ 214 h 308"/>
                <a:gd name="T14" fmla="*/ 2 w 308"/>
                <a:gd name="T15" fmla="*/ 184 h 308"/>
                <a:gd name="T16" fmla="*/ 0 w 308"/>
                <a:gd name="T17" fmla="*/ 154 h 308"/>
                <a:gd name="T18" fmla="*/ 0 w 308"/>
                <a:gd name="T19" fmla="*/ 138 h 308"/>
                <a:gd name="T20" fmla="*/ 6 w 308"/>
                <a:gd name="T21" fmla="*/ 108 h 308"/>
                <a:gd name="T22" fmla="*/ 18 w 308"/>
                <a:gd name="T23" fmla="*/ 80 h 308"/>
                <a:gd name="T24" fmla="*/ 34 w 308"/>
                <a:gd name="T25" fmla="*/ 56 h 308"/>
                <a:gd name="T26" fmla="*/ 56 w 308"/>
                <a:gd name="T27" fmla="*/ 36 h 308"/>
                <a:gd name="T28" fmla="*/ 80 w 308"/>
                <a:gd name="T29" fmla="*/ 18 h 308"/>
                <a:gd name="T30" fmla="*/ 108 w 308"/>
                <a:gd name="T31" fmla="*/ 6 h 308"/>
                <a:gd name="T32" fmla="*/ 138 w 308"/>
                <a:gd name="T33" fmla="*/ 0 h 308"/>
                <a:gd name="T34" fmla="*/ 154 w 308"/>
                <a:gd name="T35" fmla="*/ 0 h 308"/>
                <a:gd name="T36" fmla="*/ 184 w 308"/>
                <a:gd name="T37" fmla="*/ 4 h 308"/>
                <a:gd name="T38" fmla="*/ 214 w 308"/>
                <a:gd name="T39" fmla="*/ 12 h 308"/>
                <a:gd name="T40" fmla="*/ 240 w 308"/>
                <a:gd name="T41" fmla="*/ 26 h 308"/>
                <a:gd name="T42" fmla="*/ 262 w 308"/>
                <a:gd name="T43" fmla="*/ 46 h 308"/>
                <a:gd name="T44" fmla="*/ 280 w 308"/>
                <a:gd name="T45" fmla="*/ 68 h 308"/>
                <a:gd name="T46" fmla="*/ 294 w 308"/>
                <a:gd name="T47" fmla="*/ 94 h 308"/>
                <a:gd name="T48" fmla="*/ 304 w 308"/>
                <a:gd name="T49" fmla="*/ 122 h 308"/>
                <a:gd name="T50" fmla="*/ 308 w 308"/>
                <a:gd name="T51" fmla="*/ 154 h 308"/>
                <a:gd name="T52" fmla="*/ 306 w 308"/>
                <a:gd name="T53" fmla="*/ 170 h 308"/>
                <a:gd name="T54" fmla="*/ 300 w 308"/>
                <a:gd name="T55" fmla="*/ 200 h 308"/>
                <a:gd name="T56" fmla="*/ 288 w 308"/>
                <a:gd name="T57" fmla="*/ 226 h 308"/>
                <a:gd name="T58" fmla="*/ 272 w 308"/>
                <a:gd name="T59" fmla="*/ 252 h 308"/>
                <a:gd name="T60" fmla="*/ 252 w 308"/>
                <a:gd name="T61" fmla="*/ 272 h 308"/>
                <a:gd name="T62" fmla="*/ 226 w 308"/>
                <a:gd name="T63" fmla="*/ 288 h 308"/>
                <a:gd name="T64" fmla="*/ 200 w 308"/>
                <a:gd name="T65" fmla="*/ 300 h 308"/>
                <a:gd name="T66" fmla="*/ 170 w 308"/>
                <a:gd name="T67" fmla="*/ 306 h 308"/>
                <a:gd name="T68" fmla="*/ 154 w 308"/>
                <a:gd name="T69" fmla="*/ 308 h 308"/>
                <a:gd name="T70" fmla="*/ 154 w 308"/>
                <a:gd name="T71" fmla="*/ 104 h 308"/>
                <a:gd name="T72" fmla="*/ 134 w 308"/>
                <a:gd name="T73" fmla="*/ 108 h 308"/>
                <a:gd name="T74" fmla="*/ 120 w 308"/>
                <a:gd name="T75" fmla="*/ 120 h 308"/>
                <a:gd name="T76" fmla="*/ 108 w 308"/>
                <a:gd name="T77" fmla="*/ 134 h 308"/>
                <a:gd name="T78" fmla="*/ 104 w 308"/>
                <a:gd name="T79" fmla="*/ 154 h 308"/>
                <a:gd name="T80" fmla="*/ 106 w 308"/>
                <a:gd name="T81" fmla="*/ 164 h 308"/>
                <a:gd name="T82" fmla="*/ 114 w 308"/>
                <a:gd name="T83" fmla="*/ 180 h 308"/>
                <a:gd name="T84" fmla="*/ 126 w 308"/>
                <a:gd name="T85" fmla="*/ 194 h 308"/>
                <a:gd name="T86" fmla="*/ 144 w 308"/>
                <a:gd name="T87" fmla="*/ 202 h 308"/>
                <a:gd name="T88" fmla="*/ 154 w 308"/>
                <a:gd name="T89" fmla="*/ 202 h 308"/>
                <a:gd name="T90" fmla="*/ 172 w 308"/>
                <a:gd name="T91" fmla="*/ 198 h 308"/>
                <a:gd name="T92" fmla="*/ 188 w 308"/>
                <a:gd name="T93" fmla="*/ 188 h 308"/>
                <a:gd name="T94" fmla="*/ 198 w 308"/>
                <a:gd name="T95" fmla="*/ 172 h 308"/>
                <a:gd name="T96" fmla="*/ 202 w 308"/>
                <a:gd name="T97" fmla="*/ 154 h 308"/>
                <a:gd name="T98" fmla="*/ 202 w 308"/>
                <a:gd name="T99" fmla="*/ 144 h 308"/>
                <a:gd name="T100" fmla="*/ 194 w 308"/>
                <a:gd name="T101" fmla="*/ 126 h 308"/>
                <a:gd name="T102" fmla="*/ 180 w 308"/>
                <a:gd name="T103" fmla="*/ 114 h 308"/>
                <a:gd name="T104" fmla="*/ 164 w 308"/>
                <a:gd name="T105" fmla="*/ 106 h 308"/>
                <a:gd name="T106" fmla="*/ 154 w 308"/>
                <a:gd name="T107" fmla="*/ 104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08" h="308">
                  <a:moveTo>
                    <a:pt x="154" y="308"/>
                  </a:moveTo>
                  <a:lnTo>
                    <a:pt x="154" y="308"/>
                  </a:lnTo>
                  <a:lnTo>
                    <a:pt x="138" y="306"/>
                  </a:lnTo>
                  <a:lnTo>
                    <a:pt x="122" y="304"/>
                  </a:lnTo>
                  <a:lnTo>
                    <a:pt x="108" y="300"/>
                  </a:lnTo>
                  <a:lnTo>
                    <a:pt x="94" y="296"/>
                  </a:lnTo>
                  <a:lnTo>
                    <a:pt x="80" y="288"/>
                  </a:lnTo>
                  <a:lnTo>
                    <a:pt x="68" y="282"/>
                  </a:lnTo>
                  <a:lnTo>
                    <a:pt x="56" y="272"/>
                  </a:lnTo>
                  <a:lnTo>
                    <a:pt x="44" y="262"/>
                  </a:lnTo>
                  <a:lnTo>
                    <a:pt x="34" y="252"/>
                  </a:lnTo>
                  <a:lnTo>
                    <a:pt x="26" y="240"/>
                  </a:lnTo>
                  <a:lnTo>
                    <a:pt x="18" y="226"/>
                  </a:lnTo>
                  <a:lnTo>
                    <a:pt x="12" y="214"/>
                  </a:lnTo>
                  <a:lnTo>
                    <a:pt x="6" y="200"/>
                  </a:lnTo>
                  <a:lnTo>
                    <a:pt x="2" y="184"/>
                  </a:lnTo>
                  <a:lnTo>
                    <a:pt x="0" y="170"/>
                  </a:lnTo>
                  <a:lnTo>
                    <a:pt x="0" y="154"/>
                  </a:lnTo>
                  <a:lnTo>
                    <a:pt x="0" y="154"/>
                  </a:lnTo>
                  <a:lnTo>
                    <a:pt x="0" y="138"/>
                  </a:lnTo>
                  <a:lnTo>
                    <a:pt x="2" y="122"/>
                  </a:lnTo>
                  <a:lnTo>
                    <a:pt x="6" y="108"/>
                  </a:lnTo>
                  <a:lnTo>
                    <a:pt x="12" y="94"/>
                  </a:lnTo>
                  <a:lnTo>
                    <a:pt x="18" y="80"/>
                  </a:lnTo>
                  <a:lnTo>
                    <a:pt x="26" y="68"/>
                  </a:lnTo>
                  <a:lnTo>
                    <a:pt x="34" y="56"/>
                  </a:lnTo>
                  <a:lnTo>
                    <a:pt x="44" y="46"/>
                  </a:lnTo>
                  <a:lnTo>
                    <a:pt x="56" y="36"/>
                  </a:lnTo>
                  <a:lnTo>
                    <a:pt x="68" y="26"/>
                  </a:lnTo>
                  <a:lnTo>
                    <a:pt x="80" y="18"/>
                  </a:lnTo>
                  <a:lnTo>
                    <a:pt x="94" y="12"/>
                  </a:lnTo>
                  <a:lnTo>
                    <a:pt x="108" y="6"/>
                  </a:lnTo>
                  <a:lnTo>
                    <a:pt x="122" y="4"/>
                  </a:lnTo>
                  <a:lnTo>
                    <a:pt x="138" y="0"/>
                  </a:lnTo>
                  <a:lnTo>
                    <a:pt x="154" y="0"/>
                  </a:lnTo>
                  <a:lnTo>
                    <a:pt x="154" y="0"/>
                  </a:lnTo>
                  <a:lnTo>
                    <a:pt x="170" y="0"/>
                  </a:lnTo>
                  <a:lnTo>
                    <a:pt x="184" y="4"/>
                  </a:lnTo>
                  <a:lnTo>
                    <a:pt x="200" y="6"/>
                  </a:lnTo>
                  <a:lnTo>
                    <a:pt x="214" y="12"/>
                  </a:lnTo>
                  <a:lnTo>
                    <a:pt x="226" y="18"/>
                  </a:lnTo>
                  <a:lnTo>
                    <a:pt x="240" y="26"/>
                  </a:lnTo>
                  <a:lnTo>
                    <a:pt x="252" y="36"/>
                  </a:lnTo>
                  <a:lnTo>
                    <a:pt x="262" y="46"/>
                  </a:lnTo>
                  <a:lnTo>
                    <a:pt x="272" y="56"/>
                  </a:lnTo>
                  <a:lnTo>
                    <a:pt x="280" y="68"/>
                  </a:lnTo>
                  <a:lnTo>
                    <a:pt x="288" y="80"/>
                  </a:lnTo>
                  <a:lnTo>
                    <a:pt x="294" y="94"/>
                  </a:lnTo>
                  <a:lnTo>
                    <a:pt x="300" y="108"/>
                  </a:lnTo>
                  <a:lnTo>
                    <a:pt x="304" y="122"/>
                  </a:lnTo>
                  <a:lnTo>
                    <a:pt x="306" y="138"/>
                  </a:lnTo>
                  <a:lnTo>
                    <a:pt x="308" y="154"/>
                  </a:lnTo>
                  <a:lnTo>
                    <a:pt x="308" y="154"/>
                  </a:lnTo>
                  <a:lnTo>
                    <a:pt x="306" y="170"/>
                  </a:lnTo>
                  <a:lnTo>
                    <a:pt x="304" y="184"/>
                  </a:lnTo>
                  <a:lnTo>
                    <a:pt x="300" y="200"/>
                  </a:lnTo>
                  <a:lnTo>
                    <a:pt x="294" y="214"/>
                  </a:lnTo>
                  <a:lnTo>
                    <a:pt x="288" y="226"/>
                  </a:lnTo>
                  <a:lnTo>
                    <a:pt x="280" y="240"/>
                  </a:lnTo>
                  <a:lnTo>
                    <a:pt x="272" y="252"/>
                  </a:lnTo>
                  <a:lnTo>
                    <a:pt x="262" y="262"/>
                  </a:lnTo>
                  <a:lnTo>
                    <a:pt x="252" y="272"/>
                  </a:lnTo>
                  <a:lnTo>
                    <a:pt x="240" y="282"/>
                  </a:lnTo>
                  <a:lnTo>
                    <a:pt x="226" y="288"/>
                  </a:lnTo>
                  <a:lnTo>
                    <a:pt x="214" y="296"/>
                  </a:lnTo>
                  <a:lnTo>
                    <a:pt x="200" y="300"/>
                  </a:lnTo>
                  <a:lnTo>
                    <a:pt x="184" y="304"/>
                  </a:lnTo>
                  <a:lnTo>
                    <a:pt x="170" y="306"/>
                  </a:lnTo>
                  <a:lnTo>
                    <a:pt x="154" y="308"/>
                  </a:lnTo>
                  <a:lnTo>
                    <a:pt x="154" y="308"/>
                  </a:lnTo>
                  <a:close/>
                  <a:moveTo>
                    <a:pt x="154" y="104"/>
                  </a:moveTo>
                  <a:lnTo>
                    <a:pt x="154" y="104"/>
                  </a:lnTo>
                  <a:lnTo>
                    <a:pt x="144" y="106"/>
                  </a:lnTo>
                  <a:lnTo>
                    <a:pt x="134" y="108"/>
                  </a:lnTo>
                  <a:lnTo>
                    <a:pt x="126" y="114"/>
                  </a:lnTo>
                  <a:lnTo>
                    <a:pt x="120" y="120"/>
                  </a:lnTo>
                  <a:lnTo>
                    <a:pt x="114" y="126"/>
                  </a:lnTo>
                  <a:lnTo>
                    <a:pt x="108" y="134"/>
                  </a:lnTo>
                  <a:lnTo>
                    <a:pt x="106" y="144"/>
                  </a:lnTo>
                  <a:lnTo>
                    <a:pt x="104" y="154"/>
                  </a:lnTo>
                  <a:lnTo>
                    <a:pt x="104" y="154"/>
                  </a:lnTo>
                  <a:lnTo>
                    <a:pt x="106" y="164"/>
                  </a:lnTo>
                  <a:lnTo>
                    <a:pt x="108" y="172"/>
                  </a:lnTo>
                  <a:lnTo>
                    <a:pt x="114" y="180"/>
                  </a:lnTo>
                  <a:lnTo>
                    <a:pt x="120" y="188"/>
                  </a:lnTo>
                  <a:lnTo>
                    <a:pt x="126" y="194"/>
                  </a:lnTo>
                  <a:lnTo>
                    <a:pt x="134" y="198"/>
                  </a:lnTo>
                  <a:lnTo>
                    <a:pt x="144" y="202"/>
                  </a:lnTo>
                  <a:lnTo>
                    <a:pt x="154" y="202"/>
                  </a:lnTo>
                  <a:lnTo>
                    <a:pt x="154" y="202"/>
                  </a:lnTo>
                  <a:lnTo>
                    <a:pt x="164" y="202"/>
                  </a:lnTo>
                  <a:lnTo>
                    <a:pt x="172" y="198"/>
                  </a:lnTo>
                  <a:lnTo>
                    <a:pt x="180" y="194"/>
                  </a:lnTo>
                  <a:lnTo>
                    <a:pt x="188" y="188"/>
                  </a:lnTo>
                  <a:lnTo>
                    <a:pt x="194" y="180"/>
                  </a:lnTo>
                  <a:lnTo>
                    <a:pt x="198" y="172"/>
                  </a:lnTo>
                  <a:lnTo>
                    <a:pt x="202" y="164"/>
                  </a:lnTo>
                  <a:lnTo>
                    <a:pt x="202" y="154"/>
                  </a:lnTo>
                  <a:lnTo>
                    <a:pt x="202" y="154"/>
                  </a:lnTo>
                  <a:lnTo>
                    <a:pt x="202" y="144"/>
                  </a:lnTo>
                  <a:lnTo>
                    <a:pt x="198" y="134"/>
                  </a:lnTo>
                  <a:lnTo>
                    <a:pt x="194" y="126"/>
                  </a:lnTo>
                  <a:lnTo>
                    <a:pt x="188" y="120"/>
                  </a:lnTo>
                  <a:lnTo>
                    <a:pt x="180" y="114"/>
                  </a:lnTo>
                  <a:lnTo>
                    <a:pt x="172" y="108"/>
                  </a:lnTo>
                  <a:lnTo>
                    <a:pt x="164" y="106"/>
                  </a:lnTo>
                  <a:lnTo>
                    <a:pt x="154" y="104"/>
                  </a:lnTo>
                  <a:lnTo>
                    <a:pt x="154" y="104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grpSp>
          <p:nvGrpSpPr>
            <p:cNvPr id="17" name="Group 16"/>
            <p:cNvGrpSpPr/>
            <p:nvPr/>
          </p:nvGrpSpPr>
          <p:grpSpPr>
            <a:xfrm>
              <a:off x="5413104" y="2621197"/>
              <a:ext cx="1326042" cy="1326043"/>
              <a:chOff x="5413104" y="2598477"/>
              <a:chExt cx="1326042" cy="1326043"/>
            </a:xfrm>
          </p:grpSpPr>
          <p:sp>
            <p:nvSpPr>
              <p:cNvPr id="18" name="Freeform 5"/>
              <p:cNvSpPr>
                <a:spLocks/>
              </p:cNvSpPr>
              <p:nvPr/>
            </p:nvSpPr>
            <p:spPr bwMode="auto">
              <a:xfrm>
                <a:off x="5642613" y="3166154"/>
                <a:ext cx="838193" cy="391237"/>
              </a:xfrm>
              <a:custGeom>
                <a:avLst/>
                <a:gdLst>
                  <a:gd name="T0" fmla="*/ 1228 w 1384"/>
                  <a:gd name="T1" fmla="*/ 646 h 646"/>
                  <a:gd name="T2" fmla="*/ 1198 w 1384"/>
                  <a:gd name="T3" fmla="*/ 636 h 646"/>
                  <a:gd name="T4" fmla="*/ 1178 w 1384"/>
                  <a:gd name="T5" fmla="*/ 614 h 646"/>
                  <a:gd name="T6" fmla="*/ 1174 w 1384"/>
                  <a:gd name="T7" fmla="*/ 106 h 646"/>
                  <a:gd name="T8" fmla="*/ 1118 w 1384"/>
                  <a:gd name="T9" fmla="*/ 594 h 646"/>
                  <a:gd name="T10" fmla="*/ 1108 w 1384"/>
                  <a:gd name="T11" fmla="*/ 622 h 646"/>
                  <a:gd name="T12" fmla="*/ 1086 w 1384"/>
                  <a:gd name="T13" fmla="*/ 642 h 646"/>
                  <a:gd name="T14" fmla="*/ 824 w 1384"/>
                  <a:gd name="T15" fmla="*/ 646 h 646"/>
                  <a:gd name="T16" fmla="*/ 804 w 1384"/>
                  <a:gd name="T17" fmla="*/ 642 h 646"/>
                  <a:gd name="T18" fmla="*/ 780 w 1384"/>
                  <a:gd name="T19" fmla="*/ 622 h 646"/>
                  <a:gd name="T20" fmla="*/ 772 w 1384"/>
                  <a:gd name="T21" fmla="*/ 594 h 646"/>
                  <a:gd name="T22" fmla="*/ 714 w 1384"/>
                  <a:gd name="T23" fmla="*/ 594 h 646"/>
                  <a:gd name="T24" fmla="*/ 710 w 1384"/>
                  <a:gd name="T25" fmla="*/ 614 h 646"/>
                  <a:gd name="T26" fmla="*/ 690 w 1384"/>
                  <a:gd name="T27" fmla="*/ 636 h 646"/>
                  <a:gd name="T28" fmla="*/ 662 w 1384"/>
                  <a:gd name="T29" fmla="*/ 646 h 646"/>
                  <a:gd name="T30" fmla="*/ 410 w 1384"/>
                  <a:gd name="T31" fmla="*/ 644 h 646"/>
                  <a:gd name="T32" fmla="*/ 384 w 1384"/>
                  <a:gd name="T33" fmla="*/ 630 h 646"/>
                  <a:gd name="T34" fmla="*/ 368 w 1384"/>
                  <a:gd name="T35" fmla="*/ 604 h 646"/>
                  <a:gd name="T36" fmla="*/ 310 w 1384"/>
                  <a:gd name="T37" fmla="*/ 322 h 646"/>
                  <a:gd name="T38" fmla="*/ 310 w 1384"/>
                  <a:gd name="T39" fmla="*/ 604 h 646"/>
                  <a:gd name="T40" fmla="*/ 296 w 1384"/>
                  <a:gd name="T41" fmla="*/ 630 h 646"/>
                  <a:gd name="T42" fmla="*/ 268 w 1384"/>
                  <a:gd name="T43" fmla="*/ 644 h 646"/>
                  <a:gd name="T44" fmla="*/ 52 w 1384"/>
                  <a:gd name="T45" fmla="*/ 646 h 646"/>
                  <a:gd name="T46" fmla="*/ 24 w 1384"/>
                  <a:gd name="T47" fmla="*/ 636 h 646"/>
                  <a:gd name="T48" fmla="*/ 4 w 1384"/>
                  <a:gd name="T49" fmla="*/ 614 h 646"/>
                  <a:gd name="T50" fmla="*/ 0 w 1384"/>
                  <a:gd name="T51" fmla="*/ 594 h 646"/>
                  <a:gd name="T52" fmla="*/ 10 w 1384"/>
                  <a:gd name="T53" fmla="*/ 564 h 646"/>
                  <a:gd name="T54" fmla="*/ 32 w 1384"/>
                  <a:gd name="T55" fmla="*/ 544 h 646"/>
                  <a:gd name="T56" fmla="*/ 206 w 1384"/>
                  <a:gd name="T57" fmla="*/ 540 h 646"/>
                  <a:gd name="T58" fmla="*/ 208 w 1384"/>
                  <a:gd name="T59" fmla="*/ 278 h 646"/>
                  <a:gd name="T60" fmla="*/ 228 w 1384"/>
                  <a:gd name="T61" fmla="*/ 240 h 646"/>
                  <a:gd name="T62" fmla="*/ 266 w 1384"/>
                  <a:gd name="T63" fmla="*/ 218 h 646"/>
                  <a:gd name="T64" fmla="*/ 398 w 1384"/>
                  <a:gd name="T65" fmla="*/ 218 h 646"/>
                  <a:gd name="T66" fmla="*/ 440 w 1384"/>
                  <a:gd name="T67" fmla="*/ 230 h 646"/>
                  <a:gd name="T68" fmla="*/ 466 w 1384"/>
                  <a:gd name="T69" fmla="*/ 264 h 646"/>
                  <a:gd name="T70" fmla="*/ 472 w 1384"/>
                  <a:gd name="T71" fmla="*/ 540 h 646"/>
                  <a:gd name="T72" fmla="*/ 608 w 1384"/>
                  <a:gd name="T73" fmla="*/ 152 h 646"/>
                  <a:gd name="T74" fmla="*/ 622 w 1384"/>
                  <a:gd name="T75" fmla="*/ 110 h 646"/>
                  <a:gd name="T76" fmla="*/ 654 w 1384"/>
                  <a:gd name="T77" fmla="*/ 82 h 646"/>
                  <a:gd name="T78" fmla="*/ 800 w 1384"/>
                  <a:gd name="T79" fmla="*/ 76 h 646"/>
                  <a:gd name="T80" fmla="*/ 830 w 1384"/>
                  <a:gd name="T81" fmla="*/ 82 h 646"/>
                  <a:gd name="T82" fmla="*/ 864 w 1384"/>
                  <a:gd name="T83" fmla="*/ 110 h 646"/>
                  <a:gd name="T84" fmla="*/ 876 w 1384"/>
                  <a:gd name="T85" fmla="*/ 152 h 646"/>
                  <a:gd name="T86" fmla="*/ 1012 w 1384"/>
                  <a:gd name="T87" fmla="*/ 76 h 646"/>
                  <a:gd name="T88" fmla="*/ 1018 w 1384"/>
                  <a:gd name="T89" fmla="*/ 46 h 646"/>
                  <a:gd name="T90" fmla="*/ 1046 w 1384"/>
                  <a:gd name="T91" fmla="*/ 12 h 646"/>
                  <a:gd name="T92" fmla="*/ 1088 w 1384"/>
                  <a:gd name="T93" fmla="*/ 0 h 646"/>
                  <a:gd name="T94" fmla="*/ 1220 w 1384"/>
                  <a:gd name="T95" fmla="*/ 2 h 646"/>
                  <a:gd name="T96" fmla="*/ 1258 w 1384"/>
                  <a:gd name="T97" fmla="*/ 22 h 646"/>
                  <a:gd name="T98" fmla="*/ 1278 w 1384"/>
                  <a:gd name="T99" fmla="*/ 60 h 646"/>
                  <a:gd name="T100" fmla="*/ 1332 w 1384"/>
                  <a:gd name="T101" fmla="*/ 540 h 646"/>
                  <a:gd name="T102" fmla="*/ 1352 w 1384"/>
                  <a:gd name="T103" fmla="*/ 544 h 646"/>
                  <a:gd name="T104" fmla="*/ 1376 w 1384"/>
                  <a:gd name="T105" fmla="*/ 564 h 646"/>
                  <a:gd name="T106" fmla="*/ 1384 w 1384"/>
                  <a:gd name="T107" fmla="*/ 594 h 646"/>
                  <a:gd name="T108" fmla="*/ 1380 w 1384"/>
                  <a:gd name="T109" fmla="*/ 614 h 646"/>
                  <a:gd name="T110" fmla="*/ 1362 w 1384"/>
                  <a:gd name="T111" fmla="*/ 636 h 646"/>
                  <a:gd name="T112" fmla="*/ 1332 w 1384"/>
                  <a:gd name="T113" fmla="*/ 646 h 6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384" h="646">
                    <a:moveTo>
                      <a:pt x="1332" y="646"/>
                    </a:moveTo>
                    <a:lnTo>
                      <a:pt x="1228" y="646"/>
                    </a:lnTo>
                    <a:lnTo>
                      <a:pt x="1228" y="646"/>
                    </a:lnTo>
                    <a:lnTo>
                      <a:pt x="1216" y="644"/>
                    </a:lnTo>
                    <a:lnTo>
                      <a:pt x="1206" y="642"/>
                    </a:lnTo>
                    <a:lnTo>
                      <a:pt x="1198" y="636"/>
                    </a:lnTo>
                    <a:lnTo>
                      <a:pt x="1190" y="630"/>
                    </a:lnTo>
                    <a:lnTo>
                      <a:pt x="1184" y="622"/>
                    </a:lnTo>
                    <a:lnTo>
                      <a:pt x="1178" y="614"/>
                    </a:lnTo>
                    <a:lnTo>
                      <a:pt x="1176" y="604"/>
                    </a:lnTo>
                    <a:lnTo>
                      <a:pt x="1174" y="594"/>
                    </a:lnTo>
                    <a:lnTo>
                      <a:pt x="1174" y="106"/>
                    </a:lnTo>
                    <a:lnTo>
                      <a:pt x="1118" y="106"/>
                    </a:lnTo>
                    <a:lnTo>
                      <a:pt x="1118" y="594"/>
                    </a:lnTo>
                    <a:lnTo>
                      <a:pt x="1118" y="594"/>
                    </a:lnTo>
                    <a:lnTo>
                      <a:pt x="1116" y="604"/>
                    </a:lnTo>
                    <a:lnTo>
                      <a:pt x="1114" y="614"/>
                    </a:lnTo>
                    <a:lnTo>
                      <a:pt x="1108" y="622"/>
                    </a:lnTo>
                    <a:lnTo>
                      <a:pt x="1102" y="630"/>
                    </a:lnTo>
                    <a:lnTo>
                      <a:pt x="1094" y="636"/>
                    </a:lnTo>
                    <a:lnTo>
                      <a:pt x="1086" y="642"/>
                    </a:lnTo>
                    <a:lnTo>
                      <a:pt x="1076" y="644"/>
                    </a:lnTo>
                    <a:lnTo>
                      <a:pt x="1064" y="646"/>
                    </a:lnTo>
                    <a:lnTo>
                      <a:pt x="824" y="646"/>
                    </a:lnTo>
                    <a:lnTo>
                      <a:pt x="824" y="646"/>
                    </a:lnTo>
                    <a:lnTo>
                      <a:pt x="814" y="644"/>
                    </a:lnTo>
                    <a:lnTo>
                      <a:pt x="804" y="642"/>
                    </a:lnTo>
                    <a:lnTo>
                      <a:pt x="794" y="636"/>
                    </a:lnTo>
                    <a:lnTo>
                      <a:pt x="786" y="630"/>
                    </a:lnTo>
                    <a:lnTo>
                      <a:pt x="780" y="622"/>
                    </a:lnTo>
                    <a:lnTo>
                      <a:pt x="776" y="614"/>
                    </a:lnTo>
                    <a:lnTo>
                      <a:pt x="772" y="604"/>
                    </a:lnTo>
                    <a:lnTo>
                      <a:pt x="772" y="594"/>
                    </a:lnTo>
                    <a:lnTo>
                      <a:pt x="772" y="182"/>
                    </a:lnTo>
                    <a:lnTo>
                      <a:pt x="714" y="182"/>
                    </a:lnTo>
                    <a:lnTo>
                      <a:pt x="714" y="594"/>
                    </a:lnTo>
                    <a:lnTo>
                      <a:pt x="714" y="594"/>
                    </a:lnTo>
                    <a:lnTo>
                      <a:pt x="712" y="604"/>
                    </a:lnTo>
                    <a:lnTo>
                      <a:pt x="710" y="614"/>
                    </a:lnTo>
                    <a:lnTo>
                      <a:pt x="706" y="622"/>
                    </a:lnTo>
                    <a:lnTo>
                      <a:pt x="698" y="630"/>
                    </a:lnTo>
                    <a:lnTo>
                      <a:pt x="690" y="636"/>
                    </a:lnTo>
                    <a:lnTo>
                      <a:pt x="682" y="642"/>
                    </a:lnTo>
                    <a:lnTo>
                      <a:pt x="672" y="644"/>
                    </a:lnTo>
                    <a:lnTo>
                      <a:pt x="662" y="646"/>
                    </a:lnTo>
                    <a:lnTo>
                      <a:pt x="420" y="646"/>
                    </a:lnTo>
                    <a:lnTo>
                      <a:pt x="420" y="646"/>
                    </a:lnTo>
                    <a:lnTo>
                      <a:pt x="410" y="644"/>
                    </a:lnTo>
                    <a:lnTo>
                      <a:pt x="400" y="642"/>
                    </a:lnTo>
                    <a:lnTo>
                      <a:pt x="390" y="636"/>
                    </a:lnTo>
                    <a:lnTo>
                      <a:pt x="384" y="630"/>
                    </a:lnTo>
                    <a:lnTo>
                      <a:pt x="376" y="622"/>
                    </a:lnTo>
                    <a:lnTo>
                      <a:pt x="372" y="614"/>
                    </a:lnTo>
                    <a:lnTo>
                      <a:pt x="368" y="604"/>
                    </a:lnTo>
                    <a:lnTo>
                      <a:pt x="368" y="594"/>
                    </a:lnTo>
                    <a:lnTo>
                      <a:pt x="368" y="322"/>
                    </a:lnTo>
                    <a:lnTo>
                      <a:pt x="310" y="322"/>
                    </a:lnTo>
                    <a:lnTo>
                      <a:pt x="310" y="594"/>
                    </a:lnTo>
                    <a:lnTo>
                      <a:pt x="310" y="594"/>
                    </a:lnTo>
                    <a:lnTo>
                      <a:pt x="310" y="604"/>
                    </a:lnTo>
                    <a:lnTo>
                      <a:pt x="306" y="614"/>
                    </a:lnTo>
                    <a:lnTo>
                      <a:pt x="302" y="622"/>
                    </a:lnTo>
                    <a:lnTo>
                      <a:pt x="296" y="630"/>
                    </a:lnTo>
                    <a:lnTo>
                      <a:pt x="288" y="636"/>
                    </a:lnTo>
                    <a:lnTo>
                      <a:pt x="278" y="642"/>
                    </a:lnTo>
                    <a:lnTo>
                      <a:pt x="268" y="644"/>
                    </a:lnTo>
                    <a:lnTo>
                      <a:pt x="258" y="646"/>
                    </a:lnTo>
                    <a:lnTo>
                      <a:pt x="52" y="646"/>
                    </a:lnTo>
                    <a:lnTo>
                      <a:pt x="52" y="646"/>
                    </a:lnTo>
                    <a:lnTo>
                      <a:pt x="42" y="644"/>
                    </a:lnTo>
                    <a:lnTo>
                      <a:pt x="32" y="642"/>
                    </a:lnTo>
                    <a:lnTo>
                      <a:pt x="24" y="636"/>
                    </a:lnTo>
                    <a:lnTo>
                      <a:pt x="16" y="630"/>
                    </a:lnTo>
                    <a:lnTo>
                      <a:pt x="10" y="622"/>
                    </a:lnTo>
                    <a:lnTo>
                      <a:pt x="4" y="614"/>
                    </a:lnTo>
                    <a:lnTo>
                      <a:pt x="2" y="604"/>
                    </a:lnTo>
                    <a:lnTo>
                      <a:pt x="0" y="594"/>
                    </a:lnTo>
                    <a:lnTo>
                      <a:pt x="0" y="594"/>
                    </a:lnTo>
                    <a:lnTo>
                      <a:pt x="2" y="582"/>
                    </a:lnTo>
                    <a:lnTo>
                      <a:pt x="4" y="572"/>
                    </a:lnTo>
                    <a:lnTo>
                      <a:pt x="10" y="564"/>
                    </a:lnTo>
                    <a:lnTo>
                      <a:pt x="16" y="556"/>
                    </a:lnTo>
                    <a:lnTo>
                      <a:pt x="24" y="550"/>
                    </a:lnTo>
                    <a:lnTo>
                      <a:pt x="32" y="544"/>
                    </a:lnTo>
                    <a:lnTo>
                      <a:pt x="42" y="542"/>
                    </a:lnTo>
                    <a:lnTo>
                      <a:pt x="52" y="540"/>
                    </a:lnTo>
                    <a:lnTo>
                      <a:pt x="206" y="540"/>
                    </a:lnTo>
                    <a:lnTo>
                      <a:pt x="206" y="292"/>
                    </a:lnTo>
                    <a:lnTo>
                      <a:pt x="206" y="292"/>
                    </a:lnTo>
                    <a:lnTo>
                      <a:pt x="208" y="278"/>
                    </a:lnTo>
                    <a:lnTo>
                      <a:pt x="212" y="264"/>
                    </a:lnTo>
                    <a:lnTo>
                      <a:pt x="218" y="250"/>
                    </a:lnTo>
                    <a:lnTo>
                      <a:pt x="228" y="240"/>
                    </a:lnTo>
                    <a:lnTo>
                      <a:pt x="238" y="230"/>
                    </a:lnTo>
                    <a:lnTo>
                      <a:pt x="252" y="224"/>
                    </a:lnTo>
                    <a:lnTo>
                      <a:pt x="266" y="218"/>
                    </a:lnTo>
                    <a:lnTo>
                      <a:pt x="280" y="218"/>
                    </a:lnTo>
                    <a:lnTo>
                      <a:pt x="398" y="218"/>
                    </a:lnTo>
                    <a:lnTo>
                      <a:pt x="398" y="218"/>
                    </a:lnTo>
                    <a:lnTo>
                      <a:pt x="412" y="218"/>
                    </a:lnTo>
                    <a:lnTo>
                      <a:pt x="426" y="224"/>
                    </a:lnTo>
                    <a:lnTo>
                      <a:pt x="440" y="230"/>
                    </a:lnTo>
                    <a:lnTo>
                      <a:pt x="450" y="240"/>
                    </a:lnTo>
                    <a:lnTo>
                      <a:pt x="460" y="250"/>
                    </a:lnTo>
                    <a:lnTo>
                      <a:pt x="466" y="264"/>
                    </a:lnTo>
                    <a:lnTo>
                      <a:pt x="472" y="278"/>
                    </a:lnTo>
                    <a:lnTo>
                      <a:pt x="472" y="292"/>
                    </a:lnTo>
                    <a:lnTo>
                      <a:pt x="472" y="540"/>
                    </a:lnTo>
                    <a:lnTo>
                      <a:pt x="608" y="540"/>
                    </a:lnTo>
                    <a:lnTo>
                      <a:pt x="608" y="152"/>
                    </a:lnTo>
                    <a:lnTo>
                      <a:pt x="608" y="152"/>
                    </a:lnTo>
                    <a:lnTo>
                      <a:pt x="610" y="136"/>
                    </a:lnTo>
                    <a:lnTo>
                      <a:pt x="614" y="122"/>
                    </a:lnTo>
                    <a:lnTo>
                      <a:pt x="622" y="110"/>
                    </a:lnTo>
                    <a:lnTo>
                      <a:pt x="632" y="98"/>
                    </a:lnTo>
                    <a:lnTo>
                      <a:pt x="642" y="90"/>
                    </a:lnTo>
                    <a:lnTo>
                      <a:pt x="654" y="82"/>
                    </a:lnTo>
                    <a:lnTo>
                      <a:pt x="668" y="78"/>
                    </a:lnTo>
                    <a:lnTo>
                      <a:pt x="684" y="76"/>
                    </a:lnTo>
                    <a:lnTo>
                      <a:pt x="800" y="76"/>
                    </a:lnTo>
                    <a:lnTo>
                      <a:pt x="800" y="76"/>
                    </a:lnTo>
                    <a:lnTo>
                      <a:pt x="816" y="78"/>
                    </a:lnTo>
                    <a:lnTo>
                      <a:pt x="830" y="82"/>
                    </a:lnTo>
                    <a:lnTo>
                      <a:pt x="842" y="90"/>
                    </a:lnTo>
                    <a:lnTo>
                      <a:pt x="854" y="98"/>
                    </a:lnTo>
                    <a:lnTo>
                      <a:pt x="864" y="110"/>
                    </a:lnTo>
                    <a:lnTo>
                      <a:pt x="870" y="122"/>
                    </a:lnTo>
                    <a:lnTo>
                      <a:pt x="874" y="136"/>
                    </a:lnTo>
                    <a:lnTo>
                      <a:pt x="876" y="152"/>
                    </a:lnTo>
                    <a:lnTo>
                      <a:pt x="876" y="540"/>
                    </a:lnTo>
                    <a:lnTo>
                      <a:pt x="1012" y="540"/>
                    </a:lnTo>
                    <a:lnTo>
                      <a:pt x="1012" y="76"/>
                    </a:lnTo>
                    <a:lnTo>
                      <a:pt x="1012" y="76"/>
                    </a:lnTo>
                    <a:lnTo>
                      <a:pt x="1014" y="60"/>
                    </a:lnTo>
                    <a:lnTo>
                      <a:pt x="1018" y="46"/>
                    </a:lnTo>
                    <a:lnTo>
                      <a:pt x="1026" y="34"/>
                    </a:lnTo>
                    <a:lnTo>
                      <a:pt x="1034" y="22"/>
                    </a:lnTo>
                    <a:lnTo>
                      <a:pt x="1046" y="12"/>
                    </a:lnTo>
                    <a:lnTo>
                      <a:pt x="1058" y="6"/>
                    </a:lnTo>
                    <a:lnTo>
                      <a:pt x="1072" y="2"/>
                    </a:lnTo>
                    <a:lnTo>
                      <a:pt x="1088" y="0"/>
                    </a:lnTo>
                    <a:lnTo>
                      <a:pt x="1204" y="0"/>
                    </a:lnTo>
                    <a:lnTo>
                      <a:pt x="1204" y="0"/>
                    </a:lnTo>
                    <a:lnTo>
                      <a:pt x="1220" y="2"/>
                    </a:lnTo>
                    <a:lnTo>
                      <a:pt x="1234" y="6"/>
                    </a:lnTo>
                    <a:lnTo>
                      <a:pt x="1246" y="12"/>
                    </a:lnTo>
                    <a:lnTo>
                      <a:pt x="1258" y="22"/>
                    </a:lnTo>
                    <a:lnTo>
                      <a:pt x="1266" y="34"/>
                    </a:lnTo>
                    <a:lnTo>
                      <a:pt x="1274" y="46"/>
                    </a:lnTo>
                    <a:lnTo>
                      <a:pt x="1278" y="60"/>
                    </a:lnTo>
                    <a:lnTo>
                      <a:pt x="1280" y="76"/>
                    </a:lnTo>
                    <a:lnTo>
                      <a:pt x="1280" y="540"/>
                    </a:lnTo>
                    <a:lnTo>
                      <a:pt x="1332" y="540"/>
                    </a:lnTo>
                    <a:lnTo>
                      <a:pt x="1332" y="540"/>
                    </a:lnTo>
                    <a:lnTo>
                      <a:pt x="1342" y="542"/>
                    </a:lnTo>
                    <a:lnTo>
                      <a:pt x="1352" y="544"/>
                    </a:lnTo>
                    <a:lnTo>
                      <a:pt x="1362" y="550"/>
                    </a:lnTo>
                    <a:lnTo>
                      <a:pt x="1370" y="556"/>
                    </a:lnTo>
                    <a:lnTo>
                      <a:pt x="1376" y="564"/>
                    </a:lnTo>
                    <a:lnTo>
                      <a:pt x="1380" y="572"/>
                    </a:lnTo>
                    <a:lnTo>
                      <a:pt x="1384" y="582"/>
                    </a:lnTo>
                    <a:lnTo>
                      <a:pt x="1384" y="594"/>
                    </a:lnTo>
                    <a:lnTo>
                      <a:pt x="1384" y="594"/>
                    </a:lnTo>
                    <a:lnTo>
                      <a:pt x="1384" y="604"/>
                    </a:lnTo>
                    <a:lnTo>
                      <a:pt x="1380" y="614"/>
                    </a:lnTo>
                    <a:lnTo>
                      <a:pt x="1376" y="622"/>
                    </a:lnTo>
                    <a:lnTo>
                      <a:pt x="1370" y="630"/>
                    </a:lnTo>
                    <a:lnTo>
                      <a:pt x="1362" y="636"/>
                    </a:lnTo>
                    <a:lnTo>
                      <a:pt x="1352" y="642"/>
                    </a:lnTo>
                    <a:lnTo>
                      <a:pt x="1342" y="644"/>
                    </a:lnTo>
                    <a:lnTo>
                      <a:pt x="1332" y="646"/>
                    </a:lnTo>
                    <a:lnTo>
                      <a:pt x="1332" y="646"/>
                    </a:lnTo>
                    <a:close/>
                  </a:path>
                </a:pathLst>
              </a:custGeom>
              <a:solidFill>
                <a:srgbClr val="1A86D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" name="Freeform 6"/>
              <p:cNvSpPr>
                <a:spLocks noEditPoints="1"/>
              </p:cNvSpPr>
              <p:nvPr/>
            </p:nvSpPr>
            <p:spPr bwMode="auto">
              <a:xfrm>
                <a:off x="5757683" y="2925113"/>
                <a:ext cx="184112" cy="184112"/>
              </a:xfrm>
              <a:custGeom>
                <a:avLst/>
                <a:gdLst>
                  <a:gd name="T0" fmla="*/ 152 w 304"/>
                  <a:gd name="T1" fmla="*/ 304 h 304"/>
                  <a:gd name="T2" fmla="*/ 122 w 304"/>
                  <a:gd name="T3" fmla="*/ 302 h 304"/>
                  <a:gd name="T4" fmla="*/ 92 w 304"/>
                  <a:gd name="T5" fmla="*/ 292 h 304"/>
                  <a:gd name="T6" fmla="*/ 66 w 304"/>
                  <a:gd name="T7" fmla="*/ 278 h 304"/>
                  <a:gd name="T8" fmla="*/ 44 w 304"/>
                  <a:gd name="T9" fmla="*/ 260 h 304"/>
                  <a:gd name="T10" fmla="*/ 26 w 304"/>
                  <a:gd name="T11" fmla="*/ 238 h 304"/>
                  <a:gd name="T12" fmla="*/ 12 w 304"/>
                  <a:gd name="T13" fmla="*/ 212 h 304"/>
                  <a:gd name="T14" fmla="*/ 2 w 304"/>
                  <a:gd name="T15" fmla="*/ 182 h 304"/>
                  <a:gd name="T16" fmla="*/ 0 w 304"/>
                  <a:gd name="T17" fmla="*/ 152 h 304"/>
                  <a:gd name="T18" fmla="*/ 0 w 304"/>
                  <a:gd name="T19" fmla="*/ 136 h 304"/>
                  <a:gd name="T20" fmla="*/ 6 w 304"/>
                  <a:gd name="T21" fmla="*/ 106 h 304"/>
                  <a:gd name="T22" fmla="*/ 18 w 304"/>
                  <a:gd name="T23" fmla="*/ 80 h 304"/>
                  <a:gd name="T24" fmla="*/ 34 w 304"/>
                  <a:gd name="T25" fmla="*/ 56 h 304"/>
                  <a:gd name="T26" fmla="*/ 56 w 304"/>
                  <a:gd name="T27" fmla="*/ 34 h 304"/>
                  <a:gd name="T28" fmla="*/ 80 w 304"/>
                  <a:gd name="T29" fmla="*/ 18 h 304"/>
                  <a:gd name="T30" fmla="*/ 106 w 304"/>
                  <a:gd name="T31" fmla="*/ 6 h 304"/>
                  <a:gd name="T32" fmla="*/ 136 w 304"/>
                  <a:gd name="T33" fmla="*/ 0 h 304"/>
                  <a:gd name="T34" fmla="*/ 152 w 304"/>
                  <a:gd name="T35" fmla="*/ 0 h 304"/>
                  <a:gd name="T36" fmla="*/ 182 w 304"/>
                  <a:gd name="T37" fmla="*/ 2 h 304"/>
                  <a:gd name="T38" fmla="*/ 212 w 304"/>
                  <a:gd name="T39" fmla="*/ 12 h 304"/>
                  <a:gd name="T40" fmla="*/ 238 w 304"/>
                  <a:gd name="T41" fmla="*/ 26 h 304"/>
                  <a:gd name="T42" fmla="*/ 260 w 304"/>
                  <a:gd name="T43" fmla="*/ 44 h 304"/>
                  <a:gd name="T44" fmla="*/ 278 w 304"/>
                  <a:gd name="T45" fmla="*/ 66 h 304"/>
                  <a:gd name="T46" fmla="*/ 292 w 304"/>
                  <a:gd name="T47" fmla="*/ 92 h 304"/>
                  <a:gd name="T48" fmla="*/ 302 w 304"/>
                  <a:gd name="T49" fmla="*/ 122 h 304"/>
                  <a:gd name="T50" fmla="*/ 304 w 304"/>
                  <a:gd name="T51" fmla="*/ 152 h 304"/>
                  <a:gd name="T52" fmla="*/ 304 w 304"/>
                  <a:gd name="T53" fmla="*/ 168 h 304"/>
                  <a:gd name="T54" fmla="*/ 298 w 304"/>
                  <a:gd name="T55" fmla="*/ 198 h 304"/>
                  <a:gd name="T56" fmla="*/ 286 w 304"/>
                  <a:gd name="T57" fmla="*/ 224 h 304"/>
                  <a:gd name="T58" fmla="*/ 270 w 304"/>
                  <a:gd name="T59" fmla="*/ 250 h 304"/>
                  <a:gd name="T60" fmla="*/ 250 w 304"/>
                  <a:gd name="T61" fmla="*/ 270 h 304"/>
                  <a:gd name="T62" fmla="*/ 224 w 304"/>
                  <a:gd name="T63" fmla="*/ 286 h 304"/>
                  <a:gd name="T64" fmla="*/ 198 w 304"/>
                  <a:gd name="T65" fmla="*/ 298 h 304"/>
                  <a:gd name="T66" fmla="*/ 168 w 304"/>
                  <a:gd name="T67" fmla="*/ 304 h 304"/>
                  <a:gd name="T68" fmla="*/ 152 w 304"/>
                  <a:gd name="T69" fmla="*/ 304 h 304"/>
                  <a:gd name="T70" fmla="*/ 152 w 304"/>
                  <a:gd name="T71" fmla="*/ 104 h 304"/>
                  <a:gd name="T72" fmla="*/ 134 w 304"/>
                  <a:gd name="T73" fmla="*/ 108 h 304"/>
                  <a:gd name="T74" fmla="*/ 118 w 304"/>
                  <a:gd name="T75" fmla="*/ 118 h 304"/>
                  <a:gd name="T76" fmla="*/ 108 w 304"/>
                  <a:gd name="T77" fmla="*/ 134 h 304"/>
                  <a:gd name="T78" fmla="*/ 104 w 304"/>
                  <a:gd name="T79" fmla="*/ 152 h 304"/>
                  <a:gd name="T80" fmla="*/ 106 w 304"/>
                  <a:gd name="T81" fmla="*/ 162 h 304"/>
                  <a:gd name="T82" fmla="*/ 112 w 304"/>
                  <a:gd name="T83" fmla="*/ 178 h 304"/>
                  <a:gd name="T84" fmla="*/ 126 w 304"/>
                  <a:gd name="T85" fmla="*/ 192 h 304"/>
                  <a:gd name="T86" fmla="*/ 142 w 304"/>
                  <a:gd name="T87" fmla="*/ 198 h 304"/>
                  <a:gd name="T88" fmla="*/ 152 w 304"/>
                  <a:gd name="T89" fmla="*/ 200 h 304"/>
                  <a:gd name="T90" fmla="*/ 170 w 304"/>
                  <a:gd name="T91" fmla="*/ 196 h 304"/>
                  <a:gd name="T92" fmla="*/ 186 w 304"/>
                  <a:gd name="T93" fmla="*/ 186 h 304"/>
                  <a:gd name="T94" fmla="*/ 196 w 304"/>
                  <a:gd name="T95" fmla="*/ 170 h 304"/>
                  <a:gd name="T96" fmla="*/ 200 w 304"/>
                  <a:gd name="T97" fmla="*/ 152 h 304"/>
                  <a:gd name="T98" fmla="*/ 198 w 304"/>
                  <a:gd name="T99" fmla="*/ 142 h 304"/>
                  <a:gd name="T100" fmla="*/ 192 w 304"/>
                  <a:gd name="T101" fmla="*/ 126 h 304"/>
                  <a:gd name="T102" fmla="*/ 178 w 304"/>
                  <a:gd name="T103" fmla="*/ 112 h 304"/>
                  <a:gd name="T104" fmla="*/ 162 w 304"/>
                  <a:gd name="T105" fmla="*/ 106 h 304"/>
                  <a:gd name="T106" fmla="*/ 152 w 304"/>
                  <a:gd name="T107" fmla="*/ 104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04" h="304">
                    <a:moveTo>
                      <a:pt x="152" y="304"/>
                    </a:moveTo>
                    <a:lnTo>
                      <a:pt x="152" y="304"/>
                    </a:lnTo>
                    <a:lnTo>
                      <a:pt x="136" y="304"/>
                    </a:lnTo>
                    <a:lnTo>
                      <a:pt x="122" y="302"/>
                    </a:lnTo>
                    <a:lnTo>
                      <a:pt x="106" y="298"/>
                    </a:lnTo>
                    <a:lnTo>
                      <a:pt x="92" y="292"/>
                    </a:lnTo>
                    <a:lnTo>
                      <a:pt x="80" y="286"/>
                    </a:lnTo>
                    <a:lnTo>
                      <a:pt x="66" y="278"/>
                    </a:lnTo>
                    <a:lnTo>
                      <a:pt x="56" y="270"/>
                    </a:lnTo>
                    <a:lnTo>
                      <a:pt x="44" y="260"/>
                    </a:lnTo>
                    <a:lnTo>
                      <a:pt x="34" y="250"/>
                    </a:lnTo>
                    <a:lnTo>
                      <a:pt x="26" y="238"/>
                    </a:lnTo>
                    <a:lnTo>
                      <a:pt x="18" y="224"/>
                    </a:lnTo>
                    <a:lnTo>
                      <a:pt x="12" y="212"/>
                    </a:lnTo>
                    <a:lnTo>
                      <a:pt x="6" y="198"/>
                    </a:lnTo>
                    <a:lnTo>
                      <a:pt x="2" y="182"/>
                    </a:lnTo>
                    <a:lnTo>
                      <a:pt x="0" y="168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36"/>
                    </a:lnTo>
                    <a:lnTo>
                      <a:pt x="2" y="122"/>
                    </a:lnTo>
                    <a:lnTo>
                      <a:pt x="6" y="106"/>
                    </a:lnTo>
                    <a:lnTo>
                      <a:pt x="12" y="92"/>
                    </a:lnTo>
                    <a:lnTo>
                      <a:pt x="18" y="80"/>
                    </a:lnTo>
                    <a:lnTo>
                      <a:pt x="26" y="66"/>
                    </a:lnTo>
                    <a:lnTo>
                      <a:pt x="34" y="56"/>
                    </a:lnTo>
                    <a:lnTo>
                      <a:pt x="44" y="44"/>
                    </a:lnTo>
                    <a:lnTo>
                      <a:pt x="56" y="34"/>
                    </a:lnTo>
                    <a:lnTo>
                      <a:pt x="66" y="26"/>
                    </a:lnTo>
                    <a:lnTo>
                      <a:pt x="80" y="18"/>
                    </a:lnTo>
                    <a:lnTo>
                      <a:pt x="92" y="12"/>
                    </a:lnTo>
                    <a:lnTo>
                      <a:pt x="106" y="6"/>
                    </a:lnTo>
                    <a:lnTo>
                      <a:pt x="122" y="2"/>
                    </a:lnTo>
                    <a:lnTo>
                      <a:pt x="136" y="0"/>
                    </a:lnTo>
                    <a:lnTo>
                      <a:pt x="152" y="0"/>
                    </a:lnTo>
                    <a:lnTo>
                      <a:pt x="152" y="0"/>
                    </a:lnTo>
                    <a:lnTo>
                      <a:pt x="168" y="0"/>
                    </a:lnTo>
                    <a:lnTo>
                      <a:pt x="182" y="2"/>
                    </a:lnTo>
                    <a:lnTo>
                      <a:pt x="198" y="6"/>
                    </a:lnTo>
                    <a:lnTo>
                      <a:pt x="212" y="12"/>
                    </a:lnTo>
                    <a:lnTo>
                      <a:pt x="224" y="18"/>
                    </a:lnTo>
                    <a:lnTo>
                      <a:pt x="238" y="26"/>
                    </a:lnTo>
                    <a:lnTo>
                      <a:pt x="250" y="34"/>
                    </a:lnTo>
                    <a:lnTo>
                      <a:pt x="260" y="44"/>
                    </a:lnTo>
                    <a:lnTo>
                      <a:pt x="270" y="56"/>
                    </a:lnTo>
                    <a:lnTo>
                      <a:pt x="278" y="66"/>
                    </a:lnTo>
                    <a:lnTo>
                      <a:pt x="286" y="80"/>
                    </a:lnTo>
                    <a:lnTo>
                      <a:pt x="292" y="92"/>
                    </a:lnTo>
                    <a:lnTo>
                      <a:pt x="298" y="106"/>
                    </a:lnTo>
                    <a:lnTo>
                      <a:pt x="302" y="122"/>
                    </a:lnTo>
                    <a:lnTo>
                      <a:pt x="304" y="136"/>
                    </a:lnTo>
                    <a:lnTo>
                      <a:pt x="304" y="152"/>
                    </a:lnTo>
                    <a:lnTo>
                      <a:pt x="304" y="152"/>
                    </a:lnTo>
                    <a:lnTo>
                      <a:pt x="304" y="168"/>
                    </a:lnTo>
                    <a:lnTo>
                      <a:pt x="302" y="182"/>
                    </a:lnTo>
                    <a:lnTo>
                      <a:pt x="298" y="198"/>
                    </a:lnTo>
                    <a:lnTo>
                      <a:pt x="292" y="212"/>
                    </a:lnTo>
                    <a:lnTo>
                      <a:pt x="286" y="224"/>
                    </a:lnTo>
                    <a:lnTo>
                      <a:pt x="278" y="238"/>
                    </a:lnTo>
                    <a:lnTo>
                      <a:pt x="270" y="250"/>
                    </a:lnTo>
                    <a:lnTo>
                      <a:pt x="260" y="260"/>
                    </a:lnTo>
                    <a:lnTo>
                      <a:pt x="250" y="270"/>
                    </a:lnTo>
                    <a:lnTo>
                      <a:pt x="238" y="278"/>
                    </a:lnTo>
                    <a:lnTo>
                      <a:pt x="224" y="286"/>
                    </a:lnTo>
                    <a:lnTo>
                      <a:pt x="212" y="292"/>
                    </a:lnTo>
                    <a:lnTo>
                      <a:pt x="198" y="298"/>
                    </a:lnTo>
                    <a:lnTo>
                      <a:pt x="182" y="302"/>
                    </a:lnTo>
                    <a:lnTo>
                      <a:pt x="168" y="304"/>
                    </a:lnTo>
                    <a:lnTo>
                      <a:pt x="152" y="304"/>
                    </a:lnTo>
                    <a:lnTo>
                      <a:pt x="152" y="304"/>
                    </a:lnTo>
                    <a:close/>
                    <a:moveTo>
                      <a:pt x="152" y="104"/>
                    </a:moveTo>
                    <a:lnTo>
                      <a:pt x="152" y="104"/>
                    </a:lnTo>
                    <a:lnTo>
                      <a:pt x="142" y="106"/>
                    </a:lnTo>
                    <a:lnTo>
                      <a:pt x="134" y="108"/>
                    </a:lnTo>
                    <a:lnTo>
                      <a:pt x="126" y="112"/>
                    </a:lnTo>
                    <a:lnTo>
                      <a:pt x="118" y="118"/>
                    </a:lnTo>
                    <a:lnTo>
                      <a:pt x="112" y="126"/>
                    </a:lnTo>
                    <a:lnTo>
                      <a:pt x="108" y="134"/>
                    </a:lnTo>
                    <a:lnTo>
                      <a:pt x="106" y="142"/>
                    </a:lnTo>
                    <a:lnTo>
                      <a:pt x="104" y="152"/>
                    </a:lnTo>
                    <a:lnTo>
                      <a:pt x="104" y="152"/>
                    </a:lnTo>
                    <a:lnTo>
                      <a:pt x="106" y="162"/>
                    </a:lnTo>
                    <a:lnTo>
                      <a:pt x="108" y="170"/>
                    </a:lnTo>
                    <a:lnTo>
                      <a:pt x="112" y="178"/>
                    </a:lnTo>
                    <a:lnTo>
                      <a:pt x="118" y="186"/>
                    </a:lnTo>
                    <a:lnTo>
                      <a:pt x="126" y="192"/>
                    </a:lnTo>
                    <a:lnTo>
                      <a:pt x="134" y="196"/>
                    </a:lnTo>
                    <a:lnTo>
                      <a:pt x="142" y="198"/>
                    </a:lnTo>
                    <a:lnTo>
                      <a:pt x="152" y="200"/>
                    </a:lnTo>
                    <a:lnTo>
                      <a:pt x="152" y="200"/>
                    </a:lnTo>
                    <a:lnTo>
                      <a:pt x="162" y="198"/>
                    </a:lnTo>
                    <a:lnTo>
                      <a:pt x="170" y="196"/>
                    </a:lnTo>
                    <a:lnTo>
                      <a:pt x="178" y="192"/>
                    </a:lnTo>
                    <a:lnTo>
                      <a:pt x="186" y="186"/>
                    </a:lnTo>
                    <a:lnTo>
                      <a:pt x="192" y="178"/>
                    </a:lnTo>
                    <a:lnTo>
                      <a:pt x="196" y="170"/>
                    </a:lnTo>
                    <a:lnTo>
                      <a:pt x="198" y="162"/>
                    </a:lnTo>
                    <a:lnTo>
                      <a:pt x="200" y="152"/>
                    </a:lnTo>
                    <a:lnTo>
                      <a:pt x="200" y="152"/>
                    </a:lnTo>
                    <a:lnTo>
                      <a:pt x="198" y="142"/>
                    </a:lnTo>
                    <a:lnTo>
                      <a:pt x="196" y="134"/>
                    </a:lnTo>
                    <a:lnTo>
                      <a:pt x="192" y="126"/>
                    </a:lnTo>
                    <a:lnTo>
                      <a:pt x="186" y="118"/>
                    </a:lnTo>
                    <a:lnTo>
                      <a:pt x="178" y="112"/>
                    </a:lnTo>
                    <a:lnTo>
                      <a:pt x="170" y="108"/>
                    </a:lnTo>
                    <a:lnTo>
                      <a:pt x="162" y="106"/>
                    </a:lnTo>
                    <a:lnTo>
                      <a:pt x="152" y="104"/>
                    </a:lnTo>
                    <a:lnTo>
                      <a:pt x="152" y="104"/>
                    </a:lnTo>
                    <a:close/>
                  </a:path>
                </a:pathLst>
              </a:custGeom>
              <a:solidFill>
                <a:srgbClr val="1A86D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" name="Freeform 7"/>
              <p:cNvSpPr>
                <a:spLocks noEditPoints="1"/>
              </p:cNvSpPr>
              <p:nvPr/>
            </p:nvSpPr>
            <p:spPr bwMode="auto">
              <a:xfrm>
                <a:off x="6002359" y="2994156"/>
                <a:ext cx="184112" cy="185323"/>
              </a:xfrm>
              <a:custGeom>
                <a:avLst/>
                <a:gdLst>
                  <a:gd name="T0" fmla="*/ 152 w 304"/>
                  <a:gd name="T1" fmla="*/ 306 h 306"/>
                  <a:gd name="T2" fmla="*/ 120 w 304"/>
                  <a:gd name="T3" fmla="*/ 302 h 306"/>
                  <a:gd name="T4" fmla="*/ 92 w 304"/>
                  <a:gd name="T5" fmla="*/ 294 h 306"/>
                  <a:gd name="T6" fmla="*/ 66 w 304"/>
                  <a:gd name="T7" fmla="*/ 280 h 306"/>
                  <a:gd name="T8" fmla="*/ 44 w 304"/>
                  <a:gd name="T9" fmla="*/ 262 h 306"/>
                  <a:gd name="T10" fmla="*/ 26 w 304"/>
                  <a:gd name="T11" fmla="*/ 238 h 306"/>
                  <a:gd name="T12" fmla="*/ 12 w 304"/>
                  <a:gd name="T13" fmla="*/ 212 h 306"/>
                  <a:gd name="T14" fmla="*/ 2 w 304"/>
                  <a:gd name="T15" fmla="*/ 184 h 306"/>
                  <a:gd name="T16" fmla="*/ 0 w 304"/>
                  <a:gd name="T17" fmla="*/ 154 h 306"/>
                  <a:gd name="T18" fmla="*/ 0 w 304"/>
                  <a:gd name="T19" fmla="*/ 138 h 306"/>
                  <a:gd name="T20" fmla="*/ 6 w 304"/>
                  <a:gd name="T21" fmla="*/ 108 h 306"/>
                  <a:gd name="T22" fmla="*/ 18 w 304"/>
                  <a:gd name="T23" fmla="*/ 80 h 306"/>
                  <a:gd name="T24" fmla="*/ 34 w 304"/>
                  <a:gd name="T25" fmla="*/ 56 h 306"/>
                  <a:gd name="T26" fmla="*/ 54 w 304"/>
                  <a:gd name="T27" fmla="*/ 36 h 306"/>
                  <a:gd name="T28" fmla="*/ 78 w 304"/>
                  <a:gd name="T29" fmla="*/ 20 h 306"/>
                  <a:gd name="T30" fmla="*/ 106 w 304"/>
                  <a:gd name="T31" fmla="*/ 8 h 306"/>
                  <a:gd name="T32" fmla="*/ 136 w 304"/>
                  <a:gd name="T33" fmla="*/ 2 h 306"/>
                  <a:gd name="T34" fmla="*/ 152 w 304"/>
                  <a:gd name="T35" fmla="*/ 0 h 306"/>
                  <a:gd name="T36" fmla="*/ 182 w 304"/>
                  <a:gd name="T37" fmla="*/ 4 h 306"/>
                  <a:gd name="T38" fmla="*/ 212 w 304"/>
                  <a:gd name="T39" fmla="*/ 12 h 306"/>
                  <a:gd name="T40" fmla="*/ 236 w 304"/>
                  <a:gd name="T41" fmla="*/ 26 h 306"/>
                  <a:gd name="T42" fmla="*/ 260 w 304"/>
                  <a:gd name="T43" fmla="*/ 46 h 306"/>
                  <a:gd name="T44" fmla="*/ 278 w 304"/>
                  <a:gd name="T45" fmla="*/ 68 h 306"/>
                  <a:gd name="T46" fmla="*/ 292 w 304"/>
                  <a:gd name="T47" fmla="*/ 94 h 306"/>
                  <a:gd name="T48" fmla="*/ 302 w 304"/>
                  <a:gd name="T49" fmla="*/ 122 h 306"/>
                  <a:gd name="T50" fmla="*/ 304 w 304"/>
                  <a:gd name="T51" fmla="*/ 154 h 306"/>
                  <a:gd name="T52" fmla="*/ 304 w 304"/>
                  <a:gd name="T53" fmla="*/ 168 h 306"/>
                  <a:gd name="T54" fmla="*/ 298 w 304"/>
                  <a:gd name="T55" fmla="*/ 198 h 306"/>
                  <a:gd name="T56" fmla="*/ 286 w 304"/>
                  <a:gd name="T57" fmla="*/ 226 h 306"/>
                  <a:gd name="T58" fmla="*/ 270 w 304"/>
                  <a:gd name="T59" fmla="*/ 250 h 306"/>
                  <a:gd name="T60" fmla="*/ 248 w 304"/>
                  <a:gd name="T61" fmla="*/ 272 h 306"/>
                  <a:gd name="T62" fmla="*/ 224 w 304"/>
                  <a:gd name="T63" fmla="*/ 288 h 306"/>
                  <a:gd name="T64" fmla="*/ 198 w 304"/>
                  <a:gd name="T65" fmla="*/ 300 h 306"/>
                  <a:gd name="T66" fmla="*/ 168 w 304"/>
                  <a:gd name="T67" fmla="*/ 306 h 306"/>
                  <a:gd name="T68" fmla="*/ 152 w 304"/>
                  <a:gd name="T69" fmla="*/ 306 h 306"/>
                  <a:gd name="T70" fmla="*/ 152 w 304"/>
                  <a:gd name="T71" fmla="*/ 106 h 306"/>
                  <a:gd name="T72" fmla="*/ 134 w 304"/>
                  <a:gd name="T73" fmla="*/ 110 h 306"/>
                  <a:gd name="T74" fmla="*/ 118 w 304"/>
                  <a:gd name="T75" fmla="*/ 120 h 306"/>
                  <a:gd name="T76" fmla="*/ 108 w 304"/>
                  <a:gd name="T77" fmla="*/ 134 h 306"/>
                  <a:gd name="T78" fmla="*/ 104 w 304"/>
                  <a:gd name="T79" fmla="*/ 154 h 306"/>
                  <a:gd name="T80" fmla="*/ 106 w 304"/>
                  <a:gd name="T81" fmla="*/ 164 h 306"/>
                  <a:gd name="T82" fmla="*/ 112 w 304"/>
                  <a:gd name="T83" fmla="*/ 180 h 306"/>
                  <a:gd name="T84" fmla="*/ 126 w 304"/>
                  <a:gd name="T85" fmla="*/ 192 h 306"/>
                  <a:gd name="T86" fmla="*/ 142 w 304"/>
                  <a:gd name="T87" fmla="*/ 200 h 306"/>
                  <a:gd name="T88" fmla="*/ 152 w 304"/>
                  <a:gd name="T89" fmla="*/ 202 h 306"/>
                  <a:gd name="T90" fmla="*/ 170 w 304"/>
                  <a:gd name="T91" fmla="*/ 198 h 306"/>
                  <a:gd name="T92" fmla="*/ 186 w 304"/>
                  <a:gd name="T93" fmla="*/ 188 h 306"/>
                  <a:gd name="T94" fmla="*/ 196 w 304"/>
                  <a:gd name="T95" fmla="*/ 172 h 306"/>
                  <a:gd name="T96" fmla="*/ 200 w 304"/>
                  <a:gd name="T97" fmla="*/ 154 h 306"/>
                  <a:gd name="T98" fmla="*/ 198 w 304"/>
                  <a:gd name="T99" fmla="*/ 144 h 306"/>
                  <a:gd name="T100" fmla="*/ 192 w 304"/>
                  <a:gd name="T101" fmla="*/ 126 h 306"/>
                  <a:gd name="T102" fmla="*/ 178 w 304"/>
                  <a:gd name="T103" fmla="*/ 114 h 306"/>
                  <a:gd name="T104" fmla="*/ 162 w 304"/>
                  <a:gd name="T105" fmla="*/ 106 h 306"/>
                  <a:gd name="T106" fmla="*/ 152 w 304"/>
                  <a:gd name="T107" fmla="*/ 106 h 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04" h="306">
                    <a:moveTo>
                      <a:pt x="152" y="306"/>
                    </a:moveTo>
                    <a:lnTo>
                      <a:pt x="152" y="306"/>
                    </a:lnTo>
                    <a:lnTo>
                      <a:pt x="136" y="306"/>
                    </a:lnTo>
                    <a:lnTo>
                      <a:pt x="120" y="302"/>
                    </a:lnTo>
                    <a:lnTo>
                      <a:pt x="106" y="300"/>
                    </a:lnTo>
                    <a:lnTo>
                      <a:pt x="92" y="294"/>
                    </a:lnTo>
                    <a:lnTo>
                      <a:pt x="78" y="288"/>
                    </a:lnTo>
                    <a:lnTo>
                      <a:pt x="66" y="280"/>
                    </a:lnTo>
                    <a:lnTo>
                      <a:pt x="54" y="272"/>
                    </a:lnTo>
                    <a:lnTo>
                      <a:pt x="44" y="262"/>
                    </a:lnTo>
                    <a:lnTo>
                      <a:pt x="34" y="250"/>
                    </a:lnTo>
                    <a:lnTo>
                      <a:pt x="26" y="238"/>
                    </a:lnTo>
                    <a:lnTo>
                      <a:pt x="18" y="226"/>
                    </a:lnTo>
                    <a:lnTo>
                      <a:pt x="12" y="212"/>
                    </a:lnTo>
                    <a:lnTo>
                      <a:pt x="6" y="198"/>
                    </a:lnTo>
                    <a:lnTo>
                      <a:pt x="2" y="184"/>
                    </a:lnTo>
                    <a:lnTo>
                      <a:pt x="0" y="168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38"/>
                    </a:lnTo>
                    <a:lnTo>
                      <a:pt x="2" y="122"/>
                    </a:lnTo>
                    <a:lnTo>
                      <a:pt x="6" y="108"/>
                    </a:lnTo>
                    <a:lnTo>
                      <a:pt x="12" y="94"/>
                    </a:lnTo>
                    <a:lnTo>
                      <a:pt x="18" y="80"/>
                    </a:lnTo>
                    <a:lnTo>
                      <a:pt x="26" y="68"/>
                    </a:lnTo>
                    <a:lnTo>
                      <a:pt x="34" y="56"/>
                    </a:lnTo>
                    <a:lnTo>
                      <a:pt x="44" y="46"/>
                    </a:lnTo>
                    <a:lnTo>
                      <a:pt x="54" y="36"/>
                    </a:lnTo>
                    <a:lnTo>
                      <a:pt x="66" y="26"/>
                    </a:lnTo>
                    <a:lnTo>
                      <a:pt x="78" y="20"/>
                    </a:lnTo>
                    <a:lnTo>
                      <a:pt x="92" y="12"/>
                    </a:lnTo>
                    <a:lnTo>
                      <a:pt x="106" y="8"/>
                    </a:lnTo>
                    <a:lnTo>
                      <a:pt x="120" y="4"/>
                    </a:lnTo>
                    <a:lnTo>
                      <a:pt x="136" y="2"/>
                    </a:lnTo>
                    <a:lnTo>
                      <a:pt x="152" y="0"/>
                    </a:lnTo>
                    <a:lnTo>
                      <a:pt x="152" y="0"/>
                    </a:lnTo>
                    <a:lnTo>
                      <a:pt x="168" y="2"/>
                    </a:lnTo>
                    <a:lnTo>
                      <a:pt x="182" y="4"/>
                    </a:lnTo>
                    <a:lnTo>
                      <a:pt x="198" y="8"/>
                    </a:lnTo>
                    <a:lnTo>
                      <a:pt x="212" y="12"/>
                    </a:lnTo>
                    <a:lnTo>
                      <a:pt x="224" y="20"/>
                    </a:lnTo>
                    <a:lnTo>
                      <a:pt x="236" y="26"/>
                    </a:lnTo>
                    <a:lnTo>
                      <a:pt x="248" y="36"/>
                    </a:lnTo>
                    <a:lnTo>
                      <a:pt x="260" y="46"/>
                    </a:lnTo>
                    <a:lnTo>
                      <a:pt x="270" y="56"/>
                    </a:lnTo>
                    <a:lnTo>
                      <a:pt x="278" y="68"/>
                    </a:lnTo>
                    <a:lnTo>
                      <a:pt x="286" y="80"/>
                    </a:lnTo>
                    <a:lnTo>
                      <a:pt x="292" y="94"/>
                    </a:lnTo>
                    <a:lnTo>
                      <a:pt x="298" y="108"/>
                    </a:lnTo>
                    <a:lnTo>
                      <a:pt x="302" y="122"/>
                    </a:lnTo>
                    <a:lnTo>
                      <a:pt x="304" y="138"/>
                    </a:lnTo>
                    <a:lnTo>
                      <a:pt x="304" y="154"/>
                    </a:lnTo>
                    <a:lnTo>
                      <a:pt x="304" y="154"/>
                    </a:lnTo>
                    <a:lnTo>
                      <a:pt x="304" y="168"/>
                    </a:lnTo>
                    <a:lnTo>
                      <a:pt x="302" y="184"/>
                    </a:lnTo>
                    <a:lnTo>
                      <a:pt x="298" y="198"/>
                    </a:lnTo>
                    <a:lnTo>
                      <a:pt x="292" y="212"/>
                    </a:lnTo>
                    <a:lnTo>
                      <a:pt x="286" y="226"/>
                    </a:lnTo>
                    <a:lnTo>
                      <a:pt x="278" y="238"/>
                    </a:lnTo>
                    <a:lnTo>
                      <a:pt x="270" y="250"/>
                    </a:lnTo>
                    <a:lnTo>
                      <a:pt x="260" y="262"/>
                    </a:lnTo>
                    <a:lnTo>
                      <a:pt x="248" y="272"/>
                    </a:lnTo>
                    <a:lnTo>
                      <a:pt x="236" y="280"/>
                    </a:lnTo>
                    <a:lnTo>
                      <a:pt x="224" y="288"/>
                    </a:lnTo>
                    <a:lnTo>
                      <a:pt x="212" y="294"/>
                    </a:lnTo>
                    <a:lnTo>
                      <a:pt x="198" y="300"/>
                    </a:lnTo>
                    <a:lnTo>
                      <a:pt x="182" y="302"/>
                    </a:lnTo>
                    <a:lnTo>
                      <a:pt x="168" y="306"/>
                    </a:lnTo>
                    <a:lnTo>
                      <a:pt x="152" y="306"/>
                    </a:lnTo>
                    <a:lnTo>
                      <a:pt x="152" y="306"/>
                    </a:lnTo>
                    <a:close/>
                    <a:moveTo>
                      <a:pt x="152" y="106"/>
                    </a:moveTo>
                    <a:lnTo>
                      <a:pt x="152" y="106"/>
                    </a:lnTo>
                    <a:lnTo>
                      <a:pt x="142" y="106"/>
                    </a:lnTo>
                    <a:lnTo>
                      <a:pt x="134" y="110"/>
                    </a:lnTo>
                    <a:lnTo>
                      <a:pt x="126" y="114"/>
                    </a:lnTo>
                    <a:lnTo>
                      <a:pt x="118" y="120"/>
                    </a:lnTo>
                    <a:lnTo>
                      <a:pt x="112" y="126"/>
                    </a:lnTo>
                    <a:lnTo>
                      <a:pt x="108" y="134"/>
                    </a:lnTo>
                    <a:lnTo>
                      <a:pt x="106" y="144"/>
                    </a:lnTo>
                    <a:lnTo>
                      <a:pt x="104" y="154"/>
                    </a:lnTo>
                    <a:lnTo>
                      <a:pt x="104" y="154"/>
                    </a:lnTo>
                    <a:lnTo>
                      <a:pt x="106" y="164"/>
                    </a:lnTo>
                    <a:lnTo>
                      <a:pt x="108" y="172"/>
                    </a:lnTo>
                    <a:lnTo>
                      <a:pt x="112" y="180"/>
                    </a:lnTo>
                    <a:lnTo>
                      <a:pt x="118" y="188"/>
                    </a:lnTo>
                    <a:lnTo>
                      <a:pt x="126" y="192"/>
                    </a:lnTo>
                    <a:lnTo>
                      <a:pt x="134" y="198"/>
                    </a:lnTo>
                    <a:lnTo>
                      <a:pt x="142" y="200"/>
                    </a:lnTo>
                    <a:lnTo>
                      <a:pt x="152" y="202"/>
                    </a:lnTo>
                    <a:lnTo>
                      <a:pt x="152" y="202"/>
                    </a:lnTo>
                    <a:lnTo>
                      <a:pt x="162" y="200"/>
                    </a:lnTo>
                    <a:lnTo>
                      <a:pt x="170" y="198"/>
                    </a:lnTo>
                    <a:lnTo>
                      <a:pt x="178" y="192"/>
                    </a:lnTo>
                    <a:lnTo>
                      <a:pt x="186" y="188"/>
                    </a:lnTo>
                    <a:lnTo>
                      <a:pt x="192" y="180"/>
                    </a:lnTo>
                    <a:lnTo>
                      <a:pt x="196" y="172"/>
                    </a:lnTo>
                    <a:lnTo>
                      <a:pt x="198" y="164"/>
                    </a:lnTo>
                    <a:lnTo>
                      <a:pt x="200" y="154"/>
                    </a:lnTo>
                    <a:lnTo>
                      <a:pt x="200" y="154"/>
                    </a:lnTo>
                    <a:lnTo>
                      <a:pt x="198" y="144"/>
                    </a:lnTo>
                    <a:lnTo>
                      <a:pt x="196" y="134"/>
                    </a:lnTo>
                    <a:lnTo>
                      <a:pt x="192" y="126"/>
                    </a:lnTo>
                    <a:lnTo>
                      <a:pt x="186" y="120"/>
                    </a:lnTo>
                    <a:lnTo>
                      <a:pt x="178" y="114"/>
                    </a:lnTo>
                    <a:lnTo>
                      <a:pt x="170" y="110"/>
                    </a:lnTo>
                    <a:lnTo>
                      <a:pt x="162" y="106"/>
                    </a:lnTo>
                    <a:lnTo>
                      <a:pt x="152" y="106"/>
                    </a:lnTo>
                    <a:lnTo>
                      <a:pt x="152" y="106"/>
                    </a:lnTo>
                    <a:close/>
                  </a:path>
                </a:pathLst>
              </a:custGeom>
              <a:solidFill>
                <a:srgbClr val="1A86D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" name="Freeform 8"/>
              <p:cNvSpPr>
                <a:spLocks noEditPoints="1"/>
              </p:cNvSpPr>
              <p:nvPr/>
            </p:nvSpPr>
            <p:spPr bwMode="auto">
              <a:xfrm>
                <a:off x="6245822" y="2850015"/>
                <a:ext cx="185323" cy="185323"/>
              </a:xfrm>
              <a:custGeom>
                <a:avLst/>
                <a:gdLst>
                  <a:gd name="T0" fmla="*/ 154 w 306"/>
                  <a:gd name="T1" fmla="*/ 306 h 306"/>
                  <a:gd name="T2" fmla="*/ 122 w 306"/>
                  <a:gd name="T3" fmla="*/ 302 h 306"/>
                  <a:gd name="T4" fmla="*/ 94 w 306"/>
                  <a:gd name="T5" fmla="*/ 294 h 306"/>
                  <a:gd name="T6" fmla="*/ 68 w 306"/>
                  <a:gd name="T7" fmla="*/ 280 h 306"/>
                  <a:gd name="T8" fmla="*/ 46 w 306"/>
                  <a:gd name="T9" fmla="*/ 262 h 306"/>
                  <a:gd name="T10" fmla="*/ 26 w 306"/>
                  <a:gd name="T11" fmla="*/ 238 h 306"/>
                  <a:gd name="T12" fmla="*/ 12 w 306"/>
                  <a:gd name="T13" fmla="*/ 212 h 306"/>
                  <a:gd name="T14" fmla="*/ 4 w 306"/>
                  <a:gd name="T15" fmla="*/ 184 h 306"/>
                  <a:gd name="T16" fmla="*/ 0 w 306"/>
                  <a:gd name="T17" fmla="*/ 154 h 306"/>
                  <a:gd name="T18" fmla="*/ 2 w 306"/>
                  <a:gd name="T19" fmla="*/ 138 h 306"/>
                  <a:gd name="T20" fmla="*/ 8 w 306"/>
                  <a:gd name="T21" fmla="*/ 108 h 306"/>
                  <a:gd name="T22" fmla="*/ 18 w 306"/>
                  <a:gd name="T23" fmla="*/ 80 h 306"/>
                  <a:gd name="T24" fmla="*/ 36 w 306"/>
                  <a:gd name="T25" fmla="*/ 56 h 306"/>
                  <a:gd name="T26" fmla="*/ 56 w 306"/>
                  <a:gd name="T27" fmla="*/ 36 h 306"/>
                  <a:gd name="T28" fmla="*/ 80 w 306"/>
                  <a:gd name="T29" fmla="*/ 18 h 306"/>
                  <a:gd name="T30" fmla="*/ 108 w 306"/>
                  <a:gd name="T31" fmla="*/ 8 h 306"/>
                  <a:gd name="T32" fmla="*/ 138 w 306"/>
                  <a:gd name="T33" fmla="*/ 2 h 306"/>
                  <a:gd name="T34" fmla="*/ 154 w 306"/>
                  <a:gd name="T35" fmla="*/ 0 h 306"/>
                  <a:gd name="T36" fmla="*/ 184 w 306"/>
                  <a:gd name="T37" fmla="*/ 4 h 306"/>
                  <a:gd name="T38" fmla="*/ 212 w 306"/>
                  <a:gd name="T39" fmla="*/ 12 h 306"/>
                  <a:gd name="T40" fmla="*/ 238 w 306"/>
                  <a:gd name="T41" fmla="*/ 26 h 306"/>
                  <a:gd name="T42" fmla="*/ 260 w 306"/>
                  <a:gd name="T43" fmla="*/ 46 h 306"/>
                  <a:gd name="T44" fmla="*/ 280 w 306"/>
                  <a:gd name="T45" fmla="*/ 68 h 306"/>
                  <a:gd name="T46" fmla="*/ 294 w 306"/>
                  <a:gd name="T47" fmla="*/ 94 h 306"/>
                  <a:gd name="T48" fmla="*/ 302 w 306"/>
                  <a:gd name="T49" fmla="*/ 122 h 306"/>
                  <a:gd name="T50" fmla="*/ 306 w 306"/>
                  <a:gd name="T51" fmla="*/ 154 h 306"/>
                  <a:gd name="T52" fmla="*/ 304 w 306"/>
                  <a:gd name="T53" fmla="*/ 168 h 306"/>
                  <a:gd name="T54" fmla="*/ 298 w 306"/>
                  <a:gd name="T55" fmla="*/ 198 h 306"/>
                  <a:gd name="T56" fmla="*/ 288 w 306"/>
                  <a:gd name="T57" fmla="*/ 226 h 306"/>
                  <a:gd name="T58" fmla="*/ 270 w 306"/>
                  <a:gd name="T59" fmla="*/ 250 h 306"/>
                  <a:gd name="T60" fmla="*/ 250 w 306"/>
                  <a:gd name="T61" fmla="*/ 270 h 306"/>
                  <a:gd name="T62" fmla="*/ 226 w 306"/>
                  <a:gd name="T63" fmla="*/ 288 h 306"/>
                  <a:gd name="T64" fmla="*/ 198 w 306"/>
                  <a:gd name="T65" fmla="*/ 298 h 306"/>
                  <a:gd name="T66" fmla="*/ 168 w 306"/>
                  <a:gd name="T67" fmla="*/ 306 h 306"/>
                  <a:gd name="T68" fmla="*/ 154 w 306"/>
                  <a:gd name="T69" fmla="*/ 306 h 306"/>
                  <a:gd name="T70" fmla="*/ 154 w 306"/>
                  <a:gd name="T71" fmla="*/ 106 h 306"/>
                  <a:gd name="T72" fmla="*/ 134 w 306"/>
                  <a:gd name="T73" fmla="*/ 110 h 306"/>
                  <a:gd name="T74" fmla="*/ 120 w 306"/>
                  <a:gd name="T75" fmla="*/ 120 h 306"/>
                  <a:gd name="T76" fmla="*/ 110 w 306"/>
                  <a:gd name="T77" fmla="*/ 134 h 306"/>
                  <a:gd name="T78" fmla="*/ 106 w 306"/>
                  <a:gd name="T79" fmla="*/ 154 h 306"/>
                  <a:gd name="T80" fmla="*/ 106 w 306"/>
                  <a:gd name="T81" fmla="*/ 162 h 306"/>
                  <a:gd name="T82" fmla="*/ 114 w 306"/>
                  <a:gd name="T83" fmla="*/ 180 h 306"/>
                  <a:gd name="T84" fmla="*/ 126 w 306"/>
                  <a:gd name="T85" fmla="*/ 192 h 306"/>
                  <a:gd name="T86" fmla="*/ 144 w 306"/>
                  <a:gd name="T87" fmla="*/ 200 h 306"/>
                  <a:gd name="T88" fmla="*/ 154 w 306"/>
                  <a:gd name="T89" fmla="*/ 200 h 306"/>
                  <a:gd name="T90" fmla="*/ 172 w 306"/>
                  <a:gd name="T91" fmla="*/ 198 h 306"/>
                  <a:gd name="T92" fmla="*/ 186 w 306"/>
                  <a:gd name="T93" fmla="*/ 186 h 306"/>
                  <a:gd name="T94" fmla="*/ 196 w 306"/>
                  <a:gd name="T95" fmla="*/ 172 h 306"/>
                  <a:gd name="T96" fmla="*/ 200 w 306"/>
                  <a:gd name="T97" fmla="*/ 154 h 306"/>
                  <a:gd name="T98" fmla="*/ 200 w 306"/>
                  <a:gd name="T99" fmla="*/ 144 h 306"/>
                  <a:gd name="T100" fmla="*/ 192 w 306"/>
                  <a:gd name="T101" fmla="*/ 126 h 306"/>
                  <a:gd name="T102" fmla="*/ 180 w 306"/>
                  <a:gd name="T103" fmla="*/ 114 h 306"/>
                  <a:gd name="T104" fmla="*/ 162 w 306"/>
                  <a:gd name="T105" fmla="*/ 106 h 306"/>
                  <a:gd name="T106" fmla="*/ 154 w 306"/>
                  <a:gd name="T107" fmla="*/ 106 h 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06" h="306">
                    <a:moveTo>
                      <a:pt x="154" y="306"/>
                    </a:moveTo>
                    <a:lnTo>
                      <a:pt x="154" y="306"/>
                    </a:lnTo>
                    <a:lnTo>
                      <a:pt x="138" y="306"/>
                    </a:lnTo>
                    <a:lnTo>
                      <a:pt x="122" y="302"/>
                    </a:lnTo>
                    <a:lnTo>
                      <a:pt x="108" y="298"/>
                    </a:lnTo>
                    <a:lnTo>
                      <a:pt x="94" y="294"/>
                    </a:lnTo>
                    <a:lnTo>
                      <a:pt x="80" y="288"/>
                    </a:lnTo>
                    <a:lnTo>
                      <a:pt x="68" y="280"/>
                    </a:lnTo>
                    <a:lnTo>
                      <a:pt x="56" y="270"/>
                    </a:lnTo>
                    <a:lnTo>
                      <a:pt x="46" y="262"/>
                    </a:lnTo>
                    <a:lnTo>
                      <a:pt x="36" y="250"/>
                    </a:lnTo>
                    <a:lnTo>
                      <a:pt x="26" y="238"/>
                    </a:lnTo>
                    <a:lnTo>
                      <a:pt x="18" y="226"/>
                    </a:lnTo>
                    <a:lnTo>
                      <a:pt x="12" y="212"/>
                    </a:lnTo>
                    <a:lnTo>
                      <a:pt x="8" y="198"/>
                    </a:lnTo>
                    <a:lnTo>
                      <a:pt x="4" y="184"/>
                    </a:lnTo>
                    <a:lnTo>
                      <a:pt x="2" y="168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2" y="138"/>
                    </a:lnTo>
                    <a:lnTo>
                      <a:pt x="4" y="122"/>
                    </a:lnTo>
                    <a:lnTo>
                      <a:pt x="8" y="108"/>
                    </a:lnTo>
                    <a:lnTo>
                      <a:pt x="12" y="94"/>
                    </a:lnTo>
                    <a:lnTo>
                      <a:pt x="18" y="80"/>
                    </a:lnTo>
                    <a:lnTo>
                      <a:pt x="26" y="68"/>
                    </a:lnTo>
                    <a:lnTo>
                      <a:pt x="36" y="56"/>
                    </a:lnTo>
                    <a:lnTo>
                      <a:pt x="46" y="46"/>
                    </a:lnTo>
                    <a:lnTo>
                      <a:pt x="56" y="36"/>
                    </a:lnTo>
                    <a:lnTo>
                      <a:pt x="68" y="26"/>
                    </a:lnTo>
                    <a:lnTo>
                      <a:pt x="80" y="18"/>
                    </a:lnTo>
                    <a:lnTo>
                      <a:pt x="94" y="12"/>
                    </a:lnTo>
                    <a:lnTo>
                      <a:pt x="108" y="8"/>
                    </a:lnTo>
                    <a:lnTo>
                      <a:pt x="122" y="4"/>
                    </a:lnTo>
                    <a:lnTo>
                      <a:pt x="138" y="2"/>
                    </a:lnTo>
                    <a:lnTo>
                      <a:pt x="154" y="0"/>
                    </a:lnTo>
                    <a:lnTo>
                      <a:pt x="154" y="0"/>
                    </a:lnTo>
                    <a:lnTo>
                      <a:pt x="168" y="2"/>
                    </a:lnTo>
                    <a:lnTo>
                      <a:pt x="184" y="4"/>
                    </a:lnTo>
                    <a:lnTo>
                      <a:pt x="198" y="8"/>
                    </a:lnTo>
                    <a:lnTo>
                      <a:pt x="212" y="12"/>
                    </a:lnTo>
                    <a:lnTo>
                      <a:pt x="226" y="18"/>
                    </a:lnTo>
                    <a:lnTo>
                      <a:pt x="238" y="26"/>
                    </a:lnTo>
                    <a:lnTo>
                      <a:pt x="250" y="36"/>
                    </a:lnTo>
                    <a:lnTo>
                      <a:pt x="260" y="46"/>
                    </a:lnTo>
                    <a:lnTo>
                      <a:pt x="270" y="56"/>
                    </a:lnTo>
                    <a:lnTo>
                      <a:pt x="280" y="68"/>
                    </a:lnTo>
                    <a:lnTo>
                      <a:pt x="288" y="80"/>
                    </a:lnTo>
                    <a:lnTo>
                      <a:pt x="294" y="94"/>
                    </a:lnTo>
                    <a:lnTo>
                      <a:pt x="298" y="108"/>
                    </a:lnTo>
                    <a:lnTo>
                      <a:pt x="302" y="122"/>
                    </a:lnTo>
                    <a:lnTo>
                      <a:pt x="304" y="138"/>
                    </a:lnTo>
                    <a:lnTo>
                      <a:pt x="306" y="154"/>
                    </a:lnTo>
                    <a:lnTo>
                      <a:pt x="306" y="154"/>
                    </a:lnTo>
                    <a:lnTo>
                      <a:pt x="304" y="168"/>
                    </a:lnTo>
                    <a:lnTo>
                      <a:pt x="302" y="184"/>
                    </a:lnTo>
                    <a:lnTo>
                      <a:pt x="298" y="198"/>
                    </a:lnTo>
                    <a:lnTo>
                      <a:pt x="294" y="212"/>
                    </a:lnTo>
                    <a:lnTo>
                      <a:pt x="288" y="226"/>
                    </a:lnTo>
                    <a:lnTo>
                      <a:pt x="280" y="238"/>
                    </a:lnTo>
                    <a:lnTo>
                      <a:pt x="270" y="250"/>
                    </a:lnTo>
                    <a:lnTo>
                      <a:pt x="260" y="262"/>
                    </a:lnTo>
                    <a:lnTo>
                      <a:pt x="250" y="270"/>
                    </a:lnTo>
                    <a:lnTo>
                      <a:pt x="238" y="280"/>
                    </a:lnTo>
                    <a:lnTo>
                      <a:pt x="226" y="288"/>
                    </a:lnTo>
                    <a:lnTo>
                      <a:pt x="212" y="294"/>
                    </a:lnTo>
                    <a:lnTo>
                      <a:pt x="198" y="298"/>
                    </a:lnTo>
                    <a:lnTo>
                      <a:pt x="184" y="302"/>
                    </a:lnTo>
                    <a:lnTo>
                      <a:pt x="168" y="306"/>
                    </a:lnTo>
                    <a:lnTo>
                      <a:pt x="154" y="306"/>
                    </a:lnTo>
                    <a:lnTo>
                      <a:pt x="154" y="306"/>
                    </a:lnTo>
                    <a:close/>
                    <a:moveTo>
                      <a:pt x="154" y="106"/>
                    </a:moveTo>
                    <a:lnTo>
                      <a:pt x="154" y="106"/>
                    </a:lnTo>
                    <a:lnTo>
                      <a:pt x="144" y="106"/>
                    </a:lnTo>
                    <a:lnTo>
                      <a:pt x="134" y="110"/>
                    </a:lnTo>
                    <a:lnTo>
                      <a:pt x="126" y="114"/>
                    </a:lnTo>
                    <a:lnTo>
                      <a:pt x="120" y="120"/>
                    </a:lnTo>
                    <a:lnTo>
                      <a:pt x="114" y="126"/>
                    </a:lnTo>
                    <a:lnTo>
                      <a:pt x="110" y="134"/>
                    </a:lnTo>
                    <a:lnTo>
                      <a:pt x="106" y="144"/>
                    </a:lnTo>
                    <a:lnTo>
                      <a:pt x="106" y="154"/>
                    </a:lnTo>
                    <a:lnTo>
                      <a:pt x="106" y="154"/>
                    </a:lnTo>
                    <a:lnTo>
                      <a:pt x="106" y="162"/>
                    </a:lnTo>
                    <a:lnTo>
                      <a:pt x="110" y="172"/>
                    </a:lnTo>
                    <a:lnTo>
                      <a:pt x="114" y="180"/>
                    </a:lnTo>
                    <a:lnTo>
                      <a:pt x="120" y="186"/>
                    </a:lnTo>
                    <a:lnTo>
                      <a:pt x="126" y="192"/>
                    </a:lnTo>
                    <a:lnTo>
                      <a:pt x="134" y="198"/>
                    </a:lnTo>
                    <a:lnTo>
                      <a:pt x="144" y="200"/>
                    </a:lnTo>
                    <a:lnTo>
                      <a:pt x="154" y="200"/>
                    </a:lnTo>
                    <a:lnTo>
                      <a:pt x="154" y="200"/>
                    </a:lnTo>
                    <a:lnTo>
                      <a:pt x="162" y="200"/>
                    </a:lnTo>
                    <a:lnTo>
                      <a:pt x="172" y="198"/>
                    </a:lnTo>
                    <a:lnTo>
                      <a:pt x="180" y="192"/>
                    </a:lnTo>
                    <a:lnTo>
                      <a:pt x="186" y="186"/>
                    </a:lnTo>
                    <a:lnTo>
                      <a:pt x="192" y="180"/>
                    </a:lnTo>
                    <a:lnTo>
                      <a:pt x="196" y="172"/>
                    </a:lnTo>
                    <a:lnTo>
                      <a:pt x="200" y="162"/>
                    </a:lnTo>
                    <a:lnTo>
                      <a:pt x="200" y="154"/>
                    </a:lnTo>
                    <a:lnTo>
                      <a:pt x="200" y="154"/>
                    </a:lnTo>
                    <a:lnTo>
                      <a:pt x="200" y="144"/>
                    </a:lnTo>
                    <a:lnTo>
                      <a:pt x="196" y="134"/>
                    </a:lnTo>
                    <a:lnTo>
                      <a:pt x="192" y="126"/>
                    </a:lnTo>
                    <a:lnTo>
                      <a:pt x="186" y="120"/>
                    </a:lnTo>
                    <a:lnTo>
                      <a:pt x="180" y="114"/>
                    </a:lnTo>
                    <a:lnTo>
                      <a:pt x="172" y="110"/>
                    </a:lnTo>
                    <a:lnTo>
                      <a:pt x="162" y="106"/>
                    </a:lnTo>
                    <a:lnTo>
                      <a:pt x="154" y="106"/>
                    </a:lnTo>
                    <a:lnTo>
                      <a:pt x="154" y="106"/>
                    </a:lnTo>
                    <a:close/>
                  </a:path>
                </a:pathLst>
              </a:custGeom>
              <a:solidFill>
                <a:srgbClr val="1A86D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" name="Freeform 9"/>
              <p:cNvSpPr>
                <a:spLocks/>
              </p:cNvSpPr>
              <p:nvPr/>
            </p:nvSpPr>
            <p:spPr bwMode="auto">
              <a:xfrm>
                <a:off x="5875176" y="3006268"/>
                <a:ext cx="190168" cy="102957"/>
              </a:xfrm>
              <a:custGeom>
                <a:avLst/>
                <a:gdLst>
                  <a:gd name="T0" fmla="*/ 262 w 314"/>
                  <a:gd name="T1" fmla="*/ 170 h 170"/>
                  <a:gd name="T2" fmla="*/ 262 w 314"/>
                  <a:gd name="T3" fmla="*/ 170 h 170"/>
                  <a:gd name="T4" fmla="*/ 254 w 314"/>
                  <a:gd name="T5" fmla="*/ 170 h 170"/>
                  <a:gd name="T6" fmla="*/ 246 w 314"/>
                  <a:gd name="T7" fmla="*/ 168 h 170"/>
                  <a:gd name="T8" fmla="*/ 36 w 314"/>
                  <a:gd name="T9" fmla="*/ 104 h 170"/>
                  <a:gd name="T10" fmla="*/ 36 w 314"/>
                  <a:gd name="T11" fmla="*/ 104 h 170"/>
                  <a:gd name="T12" fmla="*/ 26 w 314"/>
                  <a:gd name="T13" fmla="*/ 100 h 170"/>
                  <a:gd name="T14" fmla="*/ 18 w 314"/>
                  <a:gd name="T15" fmla="*/ 94 h 170"/>
                  <a:gd name="T16" fmla="*/ 10 w 314"/>
                  <a:gd name="T17" fmla="*/ 86 h 170"/>
                  <a:gd name="T18" fmla="*/ 6 w 314"/>
                  <a:gd name="T19" fmla="*/ 78 h 170"/>
                  <a:gd name="T20" fmla="*/ 2 w 314"/>
                  <a:gd name="T21" fmla="*/ 68 h 170"/>
                  <a:gd name="T22" fmla="*/ 0 w 314"/>
                  <a:gd name="T23" fmla="*/ 58 h 170"/>
                  <a:gd name="T24" fmla="*/ 0 w 314"/>
                  <a:gd name="T25" fmla="*/ 48 h 170"/>
                  <a:gd name="T26" fmla="*/ 2 w 314"/>
                  <a:gd name="T27" fmla="*/ 38 h 170"/>
                  <a:gd name="T28" fmla="*/ 2 w 314"/>
                  <a:gd name="T29" fmla="*/ 38 h 170"/>
                  <a:gd name="T30" fmla="*/ 6 w 314"/>
                  <a:gd name="T31" fmla="*/ 28 h 170"/>
                  <a:gd name="T32" fmla="*/ 12 w 314"/>
                  <a:gd name="T33" fmla="*/ 20 h 170"/>
                  <a:gd name="T34" fmla="*/ 18 w 314"/>
                  <a:gd name="T35" fmla="*/ 12 h 170"/>
                  <a:gd name="T36" fmla="*/ 28 w 314"/>
                  <a:gd name="T37" fmla="*/ 6 h 170"/>
                  <a:gd name="T38" fmla="*/ 36 w 314"/>
                  <a:gd name="T39" fmla="*/ 2 h 170"/>
                  <a:gd name="T40" fmla="*/ 46 w 314"/>
                  <a:gd name="T41" fmla="*/ 0 h 170"/>
                  <a:gd name="T42" fmla="*/ 56 w 314"/>
                  <a:gd name="T43" fmla="*/ 0 h 170"/>
                  <a:gd name="T44" fmla="*/ 68 w 314"/>
                  <a:gd name="T45" fmla="*/ 4 h 170"/>
                  <a:gd name="T46" fmla="*/ 278 w 314"/>
                  <a:gd name="T47" fmla="*/ 68 h 170"/>
                  <a:gd name="T48" fmla="*/ 278 w 314"/>
                  <a:gd name="T49" fmla="*/ 68 h 170"/>
                  <a:gd name="T50" fmla="*/ 286 w 314"/>
                  <a:gd name="T51" fmla="*/ 72 h 170"/>
                  <a:gd name="T52" fmla="*/ 296 w 314"/>
                  <a:gd name="T53" fmla="*/ 78 h 170"/>
                  <a:gd name="T54" fmla="*/ 302 w 314"/>
                  <a:gd name="T55" fmla="*/ 86 h 170"/>
                  <a:gd name="T56" fmla="*/ 308 w 314"/>
                  <a:gd name="T57" fmla="*/ 94 h 170"/>
                  <a:gd name="T58" fmla="*/ 312 w 314"/>
                  <a:gd name="T59" fmla="*/ 104 h 170"/>
                  <a:gd name="T60" fmla="*/ 314 w 314"/>
                  <a:gd name="T61" fmla="*/ 114 h 170"/>
                  <a:gd name="T62" fmla="*/ 314 w 314"/>
                  <a:gd name="T63" fmla="*/ 124 h 170"/>
                  <a:gd name="T64" fmla="*/ 312 w 314"/>
                  <a:gd name="T65" fmla="*/ 134 h 170"/>
                  <a:gd name="T66" fmla="*/ 312 w 314"/>
                  <a:gd name="T67" fmla="*/ 134 h 170"/>
                  <a:gd name="T68" fmla="*/ 308 w 314"/>
                  <a:gd name="T69" fmla="*/ 142 h 170"/>
                  <a:gd name="T70" fmla="*/ 304 w 314"/>
                  <a:gd name="T71" fmla="*/ 150 h 170"/>
                  <a:gd name="T72" fmla="*/ 298 w 314"/>
                  <a:gd name="T73" fmla="*/ 156 h 170"/>
                  <a:gd name="T74" fmla="*/ 292 w 314"/>
                  <a:gd name="T75" fmla="*/ 160 h 170"/>
                  <a:gd name="T76" fmla="*/ 286 w 314"/>
                  <a:gd name="T77" fmla="*/ 166 h 170"/>
                  <a:gd name="T78" fmla="*/ 278 w 314"/>
                  <a:gd name="T79" fmla="*/ 168 h 170"/>
                  <a:gd name="T80" fmla="*/ 270 w 314"/>
                  <a:gd name="T81" fmla="*/ 170 h 170"/>
                  <a:gd name="T82" fmla="*/ 262 w 314"/>
                  <a:gd name="T83" fmla="*/ 170 h 170"/>
                  <a:gd name="T84" fmla="*/ 262 w 314"/>
                  <a:gd name="T85" fmla="*/ 17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14" h="170">
                    <a:moveTo>
                      <a:pt x="262" y="170"/>
                    </a:moveTo>
                    <a:lnTo>
                      <a:pt x="262" y="170"/>
                    </a:lnTo>
                    <a:lnTo>
                      <a:pt x="254" y="170"/>
                    </a:lnTo>
                    <a:lnTo>
                      <a:pt x="246" y="168"/>
                    </a:lnTo>
                    <a:lnTo>
                      <a:pt x="36" y="104"/>
                    </a:lnTo>
                    <a:lnTo>
                      <a:pt x="36" y="104"/>
                    </a:lnTo>
                    <a:lnTo>
                      <a:pt x="26" y="100"/>
                    </a:lnTo>
                    <a:lnTo>
                      <a:pt x="18" y="94"/>
                    </a:lnTo>
                    <a:lnTo>
                      <a:pt x="10" y="86"/>
                    </a:lnTo>
                    <a:lnTo>
                      <a:pt x="6" y="78"/>
                    </a:lnTo>
                    <a:lnTo>
                      <a:pt x="2" y="68"/>
                    </a:lnTo>
                    <a:lnTo>
                      <a:pt x="0" y="58"/>
                    </a:lnTo>
                    <a:lnTo>
                      <a:pt x="0" y="4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6" y="28"/>
                    </a:lnTo>
                    <a:lnTo>
                      <a:pt x="12" y="20"/>
                    </a:lnTo>
                    <a:lnTo>
                      <a:pt x="18" y="12"/>
                    </a:lnTo>
                    <a:lnTo>
                      <a:pt x="28" y="6"/>
                    </a:lnTo>
                    <a:lnTo>
                      <a:pt x="36" y="2"/>
                    </a:lnTo>
                    <a:lnTo>
                      <a:pt x="46" y="0"/>
                    </a:lnTo>
                    <a:lnTo>
                      <a:pt x="56" y="0"/>
                    </a:lnTo>
                    <a:lnTo>
                      <a:pt x="68" y="4"/>
                    </a:lnTo>
                    <a:lnTo>
                      <a:pt x="278" y="68"/>
                    </a:lnTo>
                    <a:lnTo>
                      <a:pt x="278" y="68"/>
                    </a:lnTo>
                    <a:lnTo>
                      <a:pt x="286" y="72"/>
                    </a:lnTo>
                    <a:lnTo>
                      <a:pt x="296" y="78"/>
                    </a:lnTo>
                    <a:lnTo>
                      <a:pt x="302" y="86"/>
                    </a:lnTo>
                    <a:lnTo>
                      <a:pt x="308" y="94"/>
                    </a:lnTo>
                    <a:lnTo>
                      <a:pt x="312" y="104"/>
                    </a:lnTo>
                    <a:lnTo>
                      <a:pt x="314" y="114"/>
                    </a:lnTo>
                    <a:lnTo>
                      <a:pt x="314" y="124"/>
                    </a:lnTo>
                    <a:lnTo>
                      <a:pt x="312" y="134"/>
                    </a:lnTo>
                    <a:lnTo>
                      <a:pt x="312" y="134"/>
                    </a:lnTo>
                    <a:lnTo>
                      <a:pt x="308" y="142"/>
                    </a:lnTo>
                    <a:lnTo>
                      <a:pt x="304" y="150"/>
                    </a:lnTo>
                    <a:lnTo>
                      <a:pt x="298" y="156"/>
                    </a:lnTo>
                    <a:lnTo>
                      <a:pt x="292" y="160"/>
                    </a:lnTo>
                    <a:lnTo>
                      <a:pt x="286" y="166"/>
                    </a:lnTo>
                    <a:lnTo>
                      <a:pt x="278" y="168"/>
                    </a:lnTo>
                    <a:lnTo>
                      <a:pt x="270" y="170"/>
                    </a:lnTo>
                    <a:lnTo>
                      <a:pt x="262" y="170"/>
                    </a:lnTo>
                    <a:lnTo>
                      <a:pt x="262" y="170"/>
                    </a:lnTo>
                    <a:close/>
                  </a:path>
                </a:pathLst>
              </a:custGeom>
              <a:solidFill>
                <a:srgbClr val="1A86D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" name="Freeform 10"/>
              <p:cNvSpPr>
                <a:spLocks/>
              </p:cNvSpPr>
              <p:nvPr/>
            </p:nvSpPr>
            <p:spPr bwMode="auto">
              <a:xfrm>
                <a:off x="6123485" y="2952972"/>
                <a:ext cx="202281" cy="156253"/>
              </a:xfrm>
              <a:custGeom>
                <a:avLst/>
                <a:gdLst>
                  <a:gd name="T0" fmla="*/ 52 w 334"/>
                  <a:gd name="T1" fmla="*/ 258 h 258"/>
                  <a:gd name="T2" fmla="*/ 52 w 334"/>
                  <a:gd name="T3" fmla="*/ 258 h 258"/>
                  <a:gd name="T4" fmla="*/ 40 w 334"/>
                  <a:gd name="T5" fmla="*/ 258 h 258"/>
                  <a:gd name="T6" fmla="*/ 28 w 334"/>
                  <a:gd name="T7" fmla="*/ 252 h 258"/>
                  <a:gd name="T8" fmla="*/ 16 w 334"/>
                  <a:gd name="T9" fmla="*/ 246 h 258"/>
                  <a:gd name="T10" fmla="*/ 8 w 334"/>
                  <a:gd name="T11" fmla="*/ 236 h 258"/>
                  <a:gd name="T12" fmla="*/ 8 w 334"/>
                  <a:gd name="T13" fmla="*/ 236 h 258"/>
                  <a:gd name="T14" fmla="*/ 4 w 334"/>
                  <a:gd name="T15" fmla="*/ 226 h 258"/>
                  <a:gd name="T16" fmla="*/ 0 w 334"/>
                  <a:gd name="T17" fmla="*/ 216 h 258"/>
                  <a:gd name="T18" fmla="*/ 0 w 334"/>
                  <a:gd name="T19" fmla="*/ 206 h 258"/>
                  <a:gd name="T20" fmla="*/ 0 w 334"/>
                  <a:gd name="T21" fmla="*/ 196 h 258"/>
                  <a:gd name="T22" fmla="*/ 4 w 334"/>
                  <a:gd name="T23" fmla="*/ 186 h 258"/>
                  <a:gd name="T24" fmla="*/ 8 w 334"/>
                  <a:gd name="T25" fmla="*/ 178 h 258"/>
                  <a:gd name="T26" fmla="*/ 14 w 334"/>
                  <a:gd name="T27" fmla="*/ 170 h 258"/>
                  <a:gd name="T28" fmla="*/ 22 w 334"/>
                  <a:gd name="T29" fmla="*/ 162 h 258"/>
                  <a:gd name="T30" fmla="*/ 252 w 334"/>
                  <a:gd name="T31" fmla="*/ 8 h 258"/>
                  <a:gd name="T32" fmla="*/ 252 w 334"/>
                  <a:gd name="T33" fmla="*/ 8 h 258"/>
                  <a:gd name="T34" fmla="*/ 262 w 334"/>
                  <a:gd name="T35" fmla="*/ 4 h 258"/>
                  <a:gd name="T36" fmla="*/ 272 w 334"/>
                  <a:gd name="T37" fmla="*/ 0 h 258"/>
                  <a:gd name="T38" fmla="*/ 282 w 334"/>
                  <a:gd name="T39" fmla="*/ 0 h 258"/>
                  <a:gd name="T40" fmla="*/ 292 w 334"/>
                  <a:gd name="T41" fmla="*/ 0 h 258"/>
                  <a:gd name="T42" fmla="*/ 302 w 334"/>
                  <a:gd name="T43" fmla="*/ 4 h 258"/>
                  <a:gd name="T44" fmla="*/ 310 w 334"/>
                  <a:gd name="T45" fmla="*/ 8 h 258"/>
                  <a:gd name="T46" fmla="*/ 318 w 334"/>
                  <a:gd name="T47" fmla="*/ 14 h 258"/>
                  <a:gd name="T48" fmla="*/ 326 w 334"/>
                  <a:gd name="T49" fmla="*/ 22 h 258"/>
                  <a:gd name="T50" fmla="*/ 326 w 334"/>
                  <a:gd name="T51" fmla="*/ 22 h 258"/>
                  <a:gd name="T52" fmla="*/ 330 w 334"/>
                  <a:gd name="T53" fmla="*/ 32 h 258"/>
                  <a:gd name="T54" fmla="*/ 334 w 334"/>
                  <a:gd name="T55" fmla="*/ 42 h 258"/>
                  <a:gd name="T56" fmla="*/ 334 w 334"/>
                  <a:gd name="T57" fmla="*/ 52 h 258"/>
                  <a:gd name="T58" fmla="*/ 334 w 334"/>
                  <a:gd name="T59" fmla="*/ 62 h 258"/>
                  <a:gd name="T60" fmla="*/ 330 w 334"/>
                  <a:gd name="T61" fmla="*/ 72 h 258"/>
                  <a:gd name="T62" fmla="*/ 326 w 334"/>
                  <a:gd name="T63" fmla="*/ 80 h 258"/>
                  <a:gd name="T64" fmla="*/ 320 w 334"/>
                  <a:gd name="T65" fmla="*/ 88 h 258"/>
                  <a:gd name="T66" fmla="*/ 312 w 334"/>
                  <a:gd name="T67" fmla="*/ 96 h 258"/>
                  <a:gd name="T68" fmla="*/ 82 w 334"/>
                  <a:gd name="T69" fmla="*/ 250 h 258"/>
                  <a:gd name="T70" fmla="*/ 82 w 334"/>
                  <a:gd name="T71" fmla="*/ 250 h 258"/>
                  <a:gd name="T72" fmla="*/ 74 w 334"/>
                  <a:gd name="T73" fmla="*/ 254 h 258"/>
                  <a:gd name="T74" fmla="*/ 66 w 334"/>
                  <a:gd name="T75" fmla="*/ 256 h 258"/>
                  <a:gd name="T76" fmla="*/ 52 w 334"/>
                  <a:gd name="T77" fmla="*/ 258 h 258"/>
                  <a:gd name="T78" fmla="*/ 52 w 334"/>
                  <a:gd name="T79" fmla="*/ 258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34" h="258">
                    <a:moveTo>
                      <a:pt x="52" y="258"/>
                    </a:moveTo>
                    <a:lnTo>
                      <a:pt x="52" y="258"/>
                    </a:lnTo>
                    <a:lnTo>
                      <a:pt x="40" y="258"/>
                    </a:lnTo>
                    <a:lnTo>
                      <a:pt x="28" y="252"/>
                    </a:lnTo>
                    <a:lnTo>
                      <a:pt x="16" y="246"/>
                    </a:lnTo>
                    <a:lnTo>
                      <a:pt x="8" y="236"/>
                    </a:lnTo>
                    <a:lnTo>
                      <a:pt x="8" y="236"/>
                    </a:lnTo>
                    <a:lnTo>
                      <a:pt x="4" y="226"/>
                    </a:lnTo>
                    <a:lnTo>
                      <a:pt x="0" y="216"/>
                    </a:lnTo>
                    <a:lnTo>
                      <a:pt x="0" y="206"/>
                    </a:lnTo>
                    <a:lnTo>
                      <a:pt x="0" y="196"/>
                    </a:lnTo>
                    <a:lnTo>
                      <a:pt x="4" y="186"/>
                    </a:lnTo>
                    <a:lnTo>
                      <a:pt x="8" y="178"/>
                    </a:lnTo>
                    <a:lnTo>
                      <a:pt x="14" y="170"/>
                    </a:lnTo>
                    <a:lnTo>
                      <a:pt x="22" y="162"/>
                    </a:lnTo>
                    <a:lnTo>
                      <a:pt x="252" y="8"/>
                    </a:lnTo>
                    <a:lnTo>
                      <a:pt x="252" y="8"/>
                    </a:lnTo>
                    <a:lnTo>
                      <a:pt x="262" y="4"/>
                    </a:lnTo>
                    <a:lnTo>
                      <a:pt x="272" y="0"/>
                    </a:lnTo>
                    <a:lnTo>
                      <a:pt x="282" y="0"/>
                    </a:lnTo>
                    <a:lnTo>
                      <a:pt x="292" y="0"/>
                    </a:lnTo>
                    <a:lnTo>
                      <a:pt x="302" y="4"/>
                    </a:lnTo>
                    <a:lnTo>
                      <a:pt x="310" y="8"/>
                    </a:lnTo>
                    <a:lnTo>
                      <a:pt x="318" y="14"/>
                    </a:lnTo>
                    <a:lnTo>
                      <a:pt x="326" y="22"/>
                    </a:lnTo>
                    <a:lnTo>
                      <a:pt x="326" y="22"/>
                    </a:lnTo>
                    <a:lnTo>
                      <a:pt x="330" y="32"/>
                    </a:lnTo>
                    <a:lnTo>
                      <a:pt x="334" y="42"/>
                    </a:lnTo>
                    <a:lnTo>
                      <a:pt x="334" y="52"/>
                    </a:lnTo>
                    <a:lnTo>
                      <a:pt x="334" y="62"/>
                    </a:lnTo>
                    <a:lnTo>
                      <a:pt x="330" y="72"/>
                    </a:lnTo>
                    <a:lnTo>
                      <a:pt x="326" y="80"/>
                    </a:lnTo>
                    <a:lnTo>
                      <a:pt x="320" y="88"/>
                    </a:lnTo>
                    <a:lnTo>
                      <a:pt x="312" y="96"/>
                    </a:lnTo>
                    <a:lnTo>
                      <a:pt x="82" y="250"/>
                    </a:lnTo>
                    <a:lnTo>
                      <a:pt x="82" y="250"/>
                    </a:lnTo>
                    <a:lnTo>
                      <a:pt x="74" y="254"/>
                    </a:lnTo>
                    <a:lnTo>
                      <a:pt x="66" y="256"/>
                    </a:lnTo>
                    <a:lnTo>
                      <a:pt x="52" y="258"/>
                    </a:lnTo>
                    <a:lnTo>
                      <a:pt x="52" y="258"/>
                    </a:lnTo>
                    <a:close/>
                  </a:path>
                </a:pathLst>
              </a:custGeom>
              <a:solidFill>
                <a:srgbClr val="1A86D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" name="Freeform 11"/>
              <p:cNvSpPr>
                <a:spLocks/>
              </p:cNvSpPr>
              <p:nvPr/>
            </p:nvSpPr>
            <p:spPr bwMode="auto">
              <a:xfrm>
                <a:off x="5628079" y="3026859"/>
                <a:ext cx="208337" cy="180478"/>
              </a:xfrm>
              <a:custGeom>
                <a:avLst/>
                <a:gdLst>
                  <a:gd name="T0" fmla="*/ 52 w 344"/>
                  <a:gd name="T1" fmla="*/ 298 h 298"/>
                  <a:gd name="T2" fmla="*/ 52 w 344"/>
                  <a:gd name="T3" fmla="*/ 298 h 298"/>
                  <a:gd name="T4" fmla="*/ 42 w 344"/>
                  <a:gd name="T5" fmla="*/ 298 h 298"/>
                  <a:gd name="T6" fmla="*/ 30 w 344"/>
                  <a:gd name="T7" fmla="*/ 294 h 298"/>
                  <a:gd name="T8" fmla="*/ 20 w 344"/>
                  <a:gd name="T9" fmla="*/ 288 h 298"/>
                  <a:gd name="T10" fmla="*/ 12 w 344"/>
                  <a:gd name="T11" fmla="*/ 278 h 298"/>
                  <a:gd name="T12" fmla="*/ 12 w 344"/>
                  <a:gd name="T13" fmla="*/ 278 h 298"/>
                  <a:gd name="T14" fmla="*/ 6 w 344"/>
                  <a:gd name="T15" fmla="*/ 270 h 298"/>
                  <a:gd name="T16" fmla="*/ 2 w 344"/>
                  <a:gd name="T17" fmla="*/ 260 h 298"/>
                  <a:gd name="T18" fmla="*/ 0 w 344"/>
                  <a:gd name="T19" fmla="*/ 250 h 298"/>
                  <a:gd name="T20" fmla="*/ 0 w 344"/>
                  <a:gd name="T21" fmla="*/ 240 h 298"/>
                  <a:gd name="T22" fmla="*/ 2 w 344"/>
                  <a:gd name="T23" fmla="*/ 230 h 298"/>
                  <a:gd name="T24" fmla="*/ 6 w 344"/>
                  <a:gd name="T25" fmla="*/ 220 h 298"/>
                  <a:gd name="T26" fmla="*/ 12 w 344"/>
                  <a:gd name="T27" fmla="*/ 212 h 298"/>
                  <a:gd name="T28" fmla="*/ 20 w 344"/>
                  <a:gd name="T29" fmla="*/ 204 h 298"/>
                  <a:gd name="T30" fmla="*/ 260 w 344"/>
                  <a:gd name="T31" fmla="*/ 10 h 298"/>
                  <a:gd name="T32" fmla="*/ 260 w 344"/>
                  <a:gd name="T33" fmla="*/ 10 h 298"/>
                  <a:gd name="T34" fmla="*/ 268 w 344"/>
                  <a:gd name="T35" fmla="*/ 6 h 298"/>
                  <a:gd name="T36" fmla="*/ 278 w 344"/>
                  <a:gd name="T37" fmla="*/ 2 h 298"/>
                  <a:gd name="T38" fmla="*/ 288 w 344"/>
                  <a:gd name="T39" fmla="*/ 0 h 298"/>
                  <a:gd name="T40" fmla="*/ 298 w 344"/>
                  <a:gd name="T41" fmla="*/ 0 h 298"/>
                  <a:gd name="T42" fmla="*/ 308 w 344"/>
                  <a:gd name="T43" fmla="*/ 2 h 298"/>
                  <a:gd name="T44" fmla="*/ 318 w 344"/>
                  <a:gd name="T45" fmla="*/ 6 h 298"/>
                  <a:gd name="T46" fmla="*/ 326 w 344"/>
                  <a:gd name="T47" fmla="*/ 12 h 298"/>
                  <a:gd name="T48" fmla="*/ 334 w 344"/>
                  <a:gd name="T49" fmla="*/ 18 h 298"/>
                  <a:gd name="T50" fmla="*/ 334 w 344"/>
                  <a:gd name="T51" fmla="*/ 18 h 298"/>
                  <a:gd name="T52" fmla="*/ 340 w 344"/>
                  <a:gd name="T53" fmla="*/ 28 h 298"/>
                  <a:gd name="T54" fmla="*/ 344 w 344"/>
                  <a:gd name="T55" fmla="*/ 38 h 298"/>
                  <a:gd name="T56" fmla="*/ 344 w 344"/>
                  <a:gd name="T57" fmla="*/ 48 h 298"/>
                  <a:gd name="T58" fmla="*/ 344 w 344"/>
                  <a:gd name="T59" fmla="*/ 58 h 298"/>
                  <a:gd name="T60" fmla="*/ 342 w 344"/>
                  <a:gd name="T61" fmla="*/ 68 h 298"/>
                  <a:gd name="T62" fmla="*/ 338 w 344"/>
                  <a:gd name="T63" fmla="*/ 76 h 298"/>
                  <a:gd name="T64" fmla="*/ 334 w 344"/>
                  <a:gd name="T65" fmla="*/ 86 h 298"/>
                  <a:gd name="T66" fmla="*/ 326 w 344"/>
                  <a:gd name="T67" fmla="*/ 92 h 298"/>
                  <a:gd name="T68" fmla="*/ 86 w 344"/>
                  <a:gd name="T69" fmla="*/ 286 h 298"/>
                  <a:gd name="T70" fmla="*/ 86 w 344"/>
                  <a:gd name="T71" fmla="*/ 286 h 298"/>
                  <a:gd name="T72" fmla="*/ 78 w 344"/>
                  <a:gd name="T73" fmla="*/ 292 h 298"/>
                  <a:gd name="T74" fmla="*/ 70 w 344"/>
                  <a:gd name="T75" fmla="*/ 296 h 298"/>
                  <a:gd name="T76" fmla="*/ 62 w 344"/>
                  <a:gd name="T77" fmla="*/ 298 h 298"/>
                  <a:gd name="T78" fmla="*/ 52 w 344"/>
                  <a:gd name="T79" fmla="*/ 298 h 298"/>
                  <a:gd name="T80" fmla="*/ 52 w 344"/>
                  <a:gd name="T81" fmla="*/ 298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44" h="298">
                    <a:moveTo>
                      <a:pt x="52" y="298"/>
                    </a:moveTo>
                    <a:lnTo>
                      <a:pt x="52" y="298"/>
                    </a:lnTo>
                    <a:lnTo>
                      <a:pt x="42" y="298"/>
                    </a:lnTo>
                    <a:lnTo>
                      <a:pt x="30" y="294"/>
                    </a:lnTo>
                    <a:lnTo>
                      <a:pt x="20" y="288"/>
                    </a:lnTo>
                    <a:lnTo>
                      <a:pt x="12" y="278"/>
                    </a:lnTo>
                    <a:lnTo>
                      <a:pt x="12" y="278"/>
                    </a:lnTo>
                    <a:lnTo>
                      <a:pt x="6" y="270"/>
                    </a:lnTo>
                    <a:lnTo>
                      <a:pt x="2" y="260"/>
                    </a:lnTo>
                    <a:lnTo>
                      <a:pt x="0" y="250"/>
                    </a:lnTo>
                    <a:lnTo>
                      <a:pt x="0" y="240"/>
                    </a:lnTo>
                    <a:lnTo>
                      <a:pt x="2" y="230"/>
                    </a:lnTo>
                    <a:lnTo>
                      <a:pt x="6" y="220"/>
                    </a:lnTo>
                    <a:lnTo>
                      <a:pt x="12" y="212"/>
                    </a:lnTo>
                    <a:lnTo>
                      <a:pt x="20" y="204"/>
                    </a:lnTo>
                    <a:lnTo>
                      <a:pt x="260" y="10"/>
                    </a:lnTo>
                    <a:lnTo>
                      <a:pt x="260" y="10"/>
                    </a:lnTo>
                    <a:lnTo>
                      <a:pt x="268" y="6"/>
                    </a:lnTo>
                    <a:lnTo>
                      <a:pt x="278" y="2"/>
                    </a:lnTo>
                    <a:lnTo>
                      <a:pt x="288" y="0"/>
                    </a:lnTo>
                    <a:lnTo>
                      <a:pt x="298" y="0"/>
                    </a:lnTo>
                    <a:lnTo>
                      <a:pt x="308" y="2"/>
                    </a:lnTo>
                    <a:lnTo>
                      <a:pt x="318" y="6"/>
                    </a:lnTo>
                    <a:lnTo>
                      <a:pt x="326" y="12"/>
                    </a:lnTo>
                    <a:lnTo>
                      <a:pt x="334" y="18"/>
                    </a:lnTo>
                    <a:lnTo>
                      <a:pt x="334" y="18"/>
                    </a:lnTo>
                    <a:lnTo>
                      <a:pt x="340" y="28"/>
                    </a:lnTo>
                    <a:lnTo>
                      <a:pt x="344" y="38"/>
                    </a:lnTo>
                    <a:lnTo>
                      <a:pt x="344" y="48"/>
                    </a:lnTo>
                    <a:lnTo>
                      <a:pt x="344" y="58"/>
                    </a:lnTo>
                    <a:lnTo>
                      <a:pt x="342" y="68"/>
                    </a:lnTo>
                    <a:lnTo>
                      <a:pt x="338" y="76"/>
                    </a:lnTo>
                    <a:lnTo>
                      <a:pt x="334" y="86"/>
                    </a:lnTo>
                    <a:lnTo>
                      <a:pt x="326" y="92"/>
                    </a:lnTo>
                    <a:lnTo>
                      <a:pt x="86" y="286"/>
                    </a:lnTo>
                    <a:lnTo>
                      <a:pt x="86" y="286"/>
                    </a:lnTo>
                    <a:lnTo>
                      <a:pt x="78" y="292"/>
                    </a:lnTo>
                    <a:lnTo>
                      <a:pt x="70" y="296"/>
                    </a:lnTo>
                    <a:lnTo>
                      <a:pt x="62" y="298"/>
                    </a:lnTo>
                    <a:lnTo>
                      <a:pt x="52" y="298"/>
                    </a:lnTo>
                    <a:lnTo>
                      <a:pt x="52" y="298"/>
                    </a:lnTo>
                    <a:close/>
                  </a:path>
                </a:pathLst>
              </a:custGeom>
              <a:solidFill>
                <a:srgbClr val="1A86D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" name="Oval 24"/>
              <p:cNvSpPr/>
              <p:nvPr/>
            </p:nvSpPr>
            <p:spPr bwMode="auto">
              <a:xfrm>
                <a:off x="5413104" y="2598477"/>
                <a:ext cx="1326042" cy="1326043"/>
              </a:xfrm>
              <a:prstGeom prst="ellipse">
                <a:avLst/>
              </a:prstGeom>
              <a:noFill/>
              <a:ln w="57150" cap="flat" cmpd="sng" algn="ctr">
                <a:solidFill>
                  <a:srgbClr val="1A86DB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26" name="Group 25"/>
          <p:cNvGrpSpPr/>
          <p:nvPr userDrawn="1"/>
        </p:nvGrpSpPr>
        <p:grpSpPr>
          <a:xfrm rot="16200000">
            <a:off x="2686558" y="3784724"/>
            <a:ext cx="182438" cy="5555552"/>
            <a:chOff x="9312007" y="34787"/>
            <a:chExt cx="1212906" cy="3143923"/>
          </a:xfrm>
        </p:grpSpPr>
        <p:sp>
          <p:nvSpPr>
            <p:cNvPr id="27" name="Bent Arrow 26"/>
            <p:cNvSpPr/>
            <p:nvPr/>
          </p:nvSpPr>
          <p:spPr bwMode="auto">
            <a:xfrm flipH="1">
              <a:off x="9832459" y="1745357"/>
              <a:ext cx="692454" cy="1433353"/>
            </a:xfrm>
            <a:prstGeom prst="bentArrow">
              <a:avLst>
                <a:gd name="adj1" fmla="val 25000"/>
                <a:gd name="adj2" fmla="val 0"/>
                <a:gd name="adj3" fmla="val 25000"/>
                <a:gd name="adj4" fmla="val 75000"/>
              </a:avLst>
            </a:prstGeom>
            <a:solidFill>
              <a:schemeClr val="accent1"/>
            </a:solidFill>
            <a:ln w="38100">
              <a:solidFill>
                <a:srgbClr val="1A86DB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8" name="Bent Arrow 27"/>
            <p:cNvSpPr/>
            <p:nvPr/>
          </p:nvSpPr>
          <p:spPr bwMode="auto">
            <a:xfrm rot="10800000" flipH="1">
              <a:off x="9312007" y="34787"/>
              <a:ext cx="805099" cy="1711160"/>
            </a:xfrm>
            <a:prstGeom prst="bentArrow">
              <a:avLst>
                <a:gd name="adj1" fmla="val 25000"/>
                <a:gd name="adj2" fmla="val 0"/>
                <a:gd name="adj3" fmla="val 25000"/>
                <a:gd name="adj4" fmla="val 52871"/>
              </a:avLst>
            </a:prstGeom>
            <a:solidFill>
              <a:schemeClr val="accent1"/>
            </a:solidFill>
            <a:ln w="38100">
              <a:solidFill>
                <a:srgbClr val="1A86DB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9" name="Bent Arrow 28"/>
          <p:cNvSpPr/>
          <p:nvPr userDrawn="1"/>
        </p:nvSpPr>
        <p:spPr bwMode="auto">
          <a:xfrm>
            <a:off x="5686283" y="6687741"/>
            <a:ext cx="3820134" cy="163512"/>
          </a:xfrm>
          <a:prstGeom prst="bentArrow">
            <a:avLst>
              <a:gd name="adj1" fmla="val 25000"/>
              <a:gd name="adj2" fmla="val 0"/>
              <a:gd name="adj3" fmla="val 25000"/>
              <a:gd name="adj4" fmla="val 100000"/>
            </a:avLst>
          </a:prstGeom>
          <a:solidFill>
            <a:schemeClr val="accent1"/>
          </a:solidFill>
          <a:ln w="38100">
            <a:solidFill>
              <a:srgbClr val="1A86DB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0" name="Bent Arrow 39"/>
          <p:cNvSpPr/>
          <p:nvPr userDrawn="1"/>
        </p:nvSpPr>
        <p:spPr bwMode="auto">
          <a:xfrm rot="10800000" flipH="1">
            <a:off x="2049681" y="5710543"/>
            <a:ext cx="7843864" cy="757825"/>
          </a:xfrm>
          <a:prstGeom prst="bentArrow">
            <a:avLst>
              <a:gd name="adj1" fmla="val 25000"/>
              <a:gd name="adj2" fmla="val 0"/>
              <a:gd name="adj3" fmla="val 25000"/>
              <a:gd name="adj4" fmla="val 20518"/>
            </a:avLst>
          </a:prstGeom>
          <a:solidFill>
            <a:schemeClr val="accent1"/>
          </a:solidFill>
          <a:ln w="38100">
            <a:solidFill>
              <a:srgbClr val="1A86DB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4" name="Bent Arrow 43"/>
          <p:cNvSpPr/>
          <p:nvPr userDrawn="1"/>
        </p:nvSpPr>
        <p:spPr bwMode="auto">
          <a:xfrm rot="10800000">
            <a:off x="11224377" y="6302644"/>
            <a:ext cx="709317" cy="266055"/>
          </a:xfrm>
          <a:prstGeom prst="bentArrow">
            <a:avLst>
              <a:gd name="adj1" fmla="val 25000"/>
              <a:gd name="adj2" fmla="val 0"/>
              <a:gd name="adj3" fmla="val 25000"/>
              <a:gd name="adj4" fmla="val 100000"/>
            </a:avLst>
          </a:prstGeom>
          <a:solidFill>
            <a:schemeClr val="accent1"/>
          </a:solidFill>
          <a:ln w="38100">
            <a:solidFill>
              <a:srgbClr val="1A86DB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3" name="Rectangle 42"/>
          <p:cNvSpPr/>
          <p:nvPr userDrawn="1"/>
        </p:nvSpPr>
        <p:spPr bwMode="auto">
          <a:xfrm>
            <a:off x="0" y="5375935"/>
            <a:ext cx="12192000" cy="957359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chemeClr val="tx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" name="Bent Arrow 44"/>
          <p:cNvSpPr/>
          <p:nvPr userDrawn="1"/>
        </p:nvSpPr>
        <p:spPr bwMode="auto">
          <a:xfrm rot="16200000">
            <a:off x="11536785" y="6610170"/>
            <a:ext cx="325590" cy="266055"/>
          </a:xfrm>
          <a:prstGeom prst="bentArrow">
            <a:avLst>
              <a:gd name="adj1" fmla="val 25000"/>
              <a:gd name="adj2" fmla="val 0"/>
              <a:gd name="adj3" fmla="val 25000"/>
              <a:gd name="adj4" fmla="val 15819"/>
            </a:avLst>
          </a:prstGeom>
          <a:solidFill>
            <a:schemeClr val="accent1"/>
          </a:solidFill>
          <a:ln w="38100">
            <a:solidFill>
              <a:srgbClr val="1A86DB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" name="Freeform 15"/>
          <p:cNvSpPr>
            <a:spLocks noEditPoints="1"/>
          </p:cNvSpPr>
          <p:nvPr userDrawn="1"/>
        </p:nvSpPr>
        <p:spPr bwMode="auto">
          <a:xfrm>
            <a:off x="4389231" y="6600370"/>
            <a:ext cx="121561" cy="121561"/>
          </a:xfrm>
          <a:custGeom>
            <a:avLst/>
            <a:gdLst>
              <a:gd name="T0" fmla="*/ 172 w 344"/>
              <a:gd name="T1" fmla="*/ 344 h 344"/>
              <a:gd name="T2" fmla="*/ 172 w 344"/>
              <a:gd name="T3" fmla="*/ 344 h 344"/>
              <a:gd name="T4" fmla="*/ 142 w 344"/>
              <a:gd name="T5" fmla="*/ 334 h 344"/>
              <a:gd name="T6" fmla="*/ 124 w 344"/>
              <a:gd name="T7" fmla="*/ 312 h 344"/>
              <a:gd name="T8" fmla="*/ 118 w 344"/>
              <a:gd name="T9" fmla="*/ 300 h 344"/>
              <a:gd name="T10" fmla="*/ 102 w 344"/>
              <a:gd name="T11" fmla="*/ 278 h 344"/>
              <a:gd name="T12" fmla="*/ 72 w 344"/>
              <a:gd name="T13" fmla="*/ 248 h 344"/>
              <a:gd name="T14" fmla="*/ 28 w 344"/>
              <a:gd name="T15" fmla="*/ 218 h 344"/>
              <a:gd name="T16" fmla="*/ 16 w 344"/>
              <a:gd name="T17" fmla="*/ 210 h 344"/>
              <a:gd name="T18" fmla="*/ 2 w 344"/>
              <a:gd name="T19" fmla="*/ 186 h 344"/>
              <a:gd name="T20" fmla="*/ 0 w 344"/>
              <a:gd name="T21" fmla="*/ 172 h 344"/>
              <a:gd name="T22" fmla="*/ 8 w 344"/>
              <a:gd name="T23" fmla="*/ 144 h 344"/>
              <a:gd name="T24" fmla="*/ 30 w 344"/>
              <a:gd name="T25" fmla="*/ 124 h 344"/>
              <a:gd name="T26" fmla="*/ 54 w 344"/>
              <a:gd name="T27" fmla="*/ 112 h 344"/>
              <a:gd name="T28" fmla="*/ 90 w 344"/>
              <a:gd name="T29" fmla="*/ 82 h 344"/>
              <a:gd name="T30" fmla="*/ 112 w 344"/>
              <a:gd name="T31" fmla="*/ 54 h 344"/>
              <a:gd name="T32" fmla="*/ 124 w 344"/>
              <a:gd name="T33" fmla="*/ 34 h 344"/>
              <a:gd name="T34" fmla="*/ 126 w 344"/>
              <a:gd name="T35" fmla="*/ 26 h 344"/>
              <a:gd name="T36" fmla="*/ 142 w 344"/>
              <a:gd name="T37" fmla="*/ 10 h 344"/>
              <a:gd name="T38" fmla="*/ 164 w 344"/>
              <a:gd name="T39" fmla="*/ 2 h 344"/>
              <a:gd name="T40" fmla="*/ 172 w 344"/>
              <a:gd name="T41" fmla="*/ 0 h 344"/>
              <a:gd name="T42" fmla="*/ 172 w 344"/>
              <a:gd name="T43" fmla="*/ 0 h 344"/>
              <a:gd name="T44" fmla="*/ 188 w 344"/>
              <a:gd name="T45" fmla="*/ 2 h 344"/>
              <a:gd name="T46" fmla="*/ 214 w 344"/>
              <a:gd name="T47" fmla="*/ 20 h 344"/>
              <a:gd name="T48" fmla="*/ 222 w 344"/>
              <a:gd name="T49" fmla="*/ 34 h 344"/>
              <a:gd name="T50" fmla="*/ 226 w 344"/>
              <a:gd name="T51" fmla="*/ 44 h 344"/>
              <a:gd name="T52" fmla="*/ 242 w 344"/>
              <a:gd name="T53" fmla="*/ 68 h 344"/>
              <a:gd name="T54" fmla="*/ 270 w 344"/>
              <a:gd name="T55" fmla="*/ 96 h 344"/>
              <a:gd name="T56" fmla="*/ 314 w 344"/>
              <a:gd name="T57" fmla="*/ 124 h 344"/>
              <a:gd name="T58" fmla="*/ 328 w 344"/>
              <a:gd name="T59" fmla="*/ 134 h 344"/>
              <a:gd name="T60" fmla="*/ 342 w 344"/>
              <a:gd name="T61" fmla="*/ 160 h 344"/>
              <a:gd name="T62" fmla="*/ 344 w 344"/>
              <a:gd name="T63" fmla="*/ 176 h 344"/>
              <a:gd name="T64" fmla="*/ 340 w 344"/>
              <a:gd name="T65" fmla="*/ 190 h 344"/>
              <a:gd name="T66" fmla="*/ 322 w 344"/>
              <a:gd name="T67" fmla="*/ 214 h 344"/>
              <a:gd name="T68" fmla="*/ 308 w 344"/>
              <a:gd name="T69" fmla="*/ 222 h 344"/>
              <a:gd name="T70" fmla="*/ 276 w 344"/>
              <a:gd name="T71" fmla="*/ 240 h 344"/>
              <a:gd name="T72" fmla="*/ 250 w 344"/>
              <a:gd name="T73" fmla="*/ 266 h 344"/>
              <a:gd name="T74" fmla="*/ 232 w 344"/>
              <a:gd name="T75" fmla="*/ 292 h 344"/>
              <a:gd name="T76" fmla="*/ 220 w 344"/>
              <a:gd name="T77" fmla="*/ 312 h 344"/>
              <a:gd name="T78" fmla="*/ 200 w 344"/>
              <a:gd name="T79" fmla="*/ 336 h 344"/>
              <a:gd name="T80" fmla="*/ 172 w 344"/>
              <a:gd name="T81" fmla="*/ 344 h 344"/>
              <a:gd name="T82" fmla="*/ 146 w 344"/>
              <a:gd name="T83" fmla="*/ 172 h 344"/>
              <a:gd name="T84" fmla="*/ 170 w 344"/>
              <a:gd name="T85" fmla="*/ 196 h 344"/>
              <a:gd name="T86" fmla="*/ 196 w 344"/>
              <a:gd name="T87" fmla="*/ 170 h 344"/>
              <a:gd name="T88" fmla="*/ 172 w 344"/>
              <a:gd name="T89" fmla="*/ 148 h 344"/>
              <a:gd name="T90" fmla="*/ 146 w 344"/>
              <a:gd name="T91" fmla="*/ 172 h 3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44" h="344">
                <a:moveTo>
                  <a:pt x="172" y="344"/>
                </a:moveTo>
                <a:lnTo>
                  <a:pt x="172" y="344"/>
                </a:lnTo>
                <a:lnTo>
                  <a:pt x="172" y="344"/>
                </a:lnTo>
                <a:lnTo>
                  <a:pt x="172" y="344"/>
                </a:lnTo>
                <a:lnTo>
                  <a:pt x="156" y="342"/>
                </a:lnTo>
                <a:lnTo>
                  <a:pt x="142" y="334"/>
                </a:lnTo>
                <a:lnTo>
                  <a:pt x="132" y="324"/>
                </a:lnTo>
                <a:lnTo>
                  <a:pt x="124" y="312"/>
                </a:lnTo>
                <a:lnTo>
                  <a:pt x="124" y="312"/>
                </a:lnTo>
                <a:lnTo>
                  <a:pt x="118" y="300"/>
                </a:lnTo>
                <a:lnTo>
                  <a:pt x="112" y="290"/>
                </a:lnTo>
                <a:lnTo>
                  <a:pt x="102" y="278"/>
                </a:lnTo>
                <a:lnTo>
                  <a:pt x="90" y="264"/>
                </a:lnTo>
                <a:lnTo>
                  <a:pt x="72" y="248"/>
                </a:lnTo>
                <a:lnTo>
                  <a:pt x="52" y="232"/>
                </a:lnTo>
                <a:lnTo>
                  <a:pt x="28" y="218"/>
                </a:lnTo>
                <a:lnTo>
                  <a:pt x="28" y="218"/>
                </a:lnTo>
                <a:lnTo>
                  <a:pt x="16" y="210"/>
                </a:lnTo>
                <a:lnTo>
                  <a:pt x="8" y="198"/>
                </a:lnTo>
                <a:lnTo>
                  <a:pt x="2" y="186"/>
                </a:lnTo>
                <a:lnTo>
                  <a:pt x="0" y="172"/>
                </a:lnTo>
                <a:lnTo>
                  <a:pt x="0" y="172"/>
                </a:lnTo>
                <a:lnTo>
                  <a:pt x="2" y="156"/>
                </a:lnTo>
                <a:lnTo>
                  <a:pt x="8" y="144"/>
                </a:lnTo>
                <a:lnTo>
                  <a:pt x="18" y="132"/>
                </a:lnTo>
                <a:lnTo>
                  <a:pt x="30" y="124"/>
                </a:lnTo>
                <a:lnTo>
                  <a:pt x="30" y="124"/>
                </a:lnTo>
                <a:lnTo>
                  <a:pt x="54" y="112"/>
                </a:lnTo>
                <a:lnTo>
                  <a:pt x="74" y="96"/>
                </a:lnTo>
                <a:lnTo>
                  <a:pt x="90" y="82"/>
                </a:lnTo>
                <a:lnTo>
                  <a:pt x="102" y="68"/>
                </a:lnTo>
                <a:lnTo>
                  <a:pt x="112" y="54"/>
                </a:lnTo>
                <a:lnTo>
                  <a:pt x="118" y="44"/>
                </a:lnTo>
                <a:lnTo>
                  <a:pt x="124" y="34"/>
                </a:lnTo>
                <a:lnTo>
                  <a:pt x="124" y="34"/>
                </a:lnTo>
                <a:lnTo>
                  <a:pt x="126" y="26"/>
                </a:lnTo>
                <a:lnTo>
                  <a:pt x="130" y="20"/>
                </a:lnTo>
                <a:lnTo>
                  <a:pt x="142" y="10"/>
                </a:lnTo>
                <a:lnTo>
                  <a:pt x="156" y="2"/>
                </a:lnTo>
                <a:lnTo>
                  <a:pt x="164" y="2"/>
                </a:lnTo>
                <a:lnTo>
                  <a:pt x="172" y="0"/>
                </a:lnTo>
                <a:lnTo>
                  <a:pt x="172" y="0"/>
                </a:lnTo>
                <a:lnTo>
                  <a:pt x="172" y="0"/>
                </a:lnTo>
                <a:lnTo>
                  <a:pt x="172" y="0"/>
                </a:lnTo>
                <a:lnTo>
                  <a:pt x="180" y="2"/>
                </a:lnTo>
                <a:lnTo>
                  <a:pt x="188" y="2"/>
                </a:lnTo>
                <a:lnTo>
                  <a:pt x="202" y="10"/>
                </a:lnTo>
                <a:lnTo>
                  <a:pt x="214" y="20"/>
                </a:lnTo>
                <a:lnTo>
                  <a:pt x="218" y="28"/>
                </a:lnTo>
                <a:lnTo>
                  <a:pt x="222" y="34"/>
                </a:lnTo>
                <a:lnTo>
                  <a:pt x="222" y="34"/>
                </a:lnTo>
                <a:lnTo>
                  <a:pt x="226" y="44"/>
                </a:lnTo>
                <a:lnTo>
                  <a:pt x="232" y="56"/>
                </a:lnTo>
                <a:lnTo>
                  <a:pt x="242" y="68"/>
                </a:lnTo>
                <a:lnTo>
                  <a:pt x="254" y="82"/>
                </a:lnTo>
                <a:lnTo>
                  <a:pt x="270" y="96"/>
                </a:lnTo>
                <a:lnTo>
                  <a:pt x="290" y="112"/>
                </a:lnTo>
                <a:lnTo>
                  <a:pt x="314" y="124"/>
                </a:lnTo>
                <a:lnTo>
                  <a:pt x="314" y="124"/>
                </a:lnTo>
                <a:lnTo>
                  <a:pt x="328" y="134"/>
                </a:lnTo>
                <a:lnTo>
                  <a:pt x="336" y="146"/>
                </a:lnTo>
                <a:lnTo>
                  <a:pt x="342" y="160"/>
                </a:lnTo>
                <a:lnTo>
                  <a:pt x="344" y="176"/>
                </a:lnTo>
                <a:lnTo>
                  <a:pt x="344" y="176"/>
                </a:lnTo>
                <a:lnTo>
                  <a:pt x="342" y="184"/>
                </a:lnTo>
                <a:lnTo>
                  <a:pt x="340" y="190"/>
                </a:lnTo>
                <a:lnTo>
                  <a:pt x="334" y="204"/>
                </a:lnTo>
                <a:lnTo>
                  <a:pt x="322" y="214"/>
                </a:lnTo>
                <a:lnTo>
                  <a:pt x="308" y="222"/>
                </a:lnTo>
                <a:lnTo>
                  <a:pt x="308" y="222"/>
                </a:lnTo>
                <a:lnTo>
                  <a:pt x="292" y="230"/>
                </a:lnTo>
                <a:lnTo>
                  <a:pt x="276" y="240"/>
                </a:lnTo>
                <a:lnTo>
                  <a:pt x="262" y="252"/>
                </a:lnTo>
                <a:lnTo>
                  <a:pt x="250" y="266"/>
                </a:lnTo>
                <a:lnTo>
                  <a:pt x="240" y="278"/>
                </a:lnTo>
                <a:lnTo>
                  <a:pt x="232" y="292"/>
                </a:lnTo>
                <a:lnTo>
                  <a:pt x="220" y="312"/>
                </a:lnTo>
                <a:lnTo>
                  <a:pt x="220" y="312"/>
                </a:lnTo>
                <a:lnTo>
                  <a:pt x="212" y="326"/>
                </a:lnTo>
                <a:lnTo>
                  <a:pt x="200" y="336"/>
                </a:lnTo>
                <a:lnTo>
                  <a:pt x="188" y="342"/>
                </a:lnTo>
                <a:lnTo>
                  <a:pt x="172" y="344"/>
                </a:lnTo>
                <a:lnTo>
                  <a:pt x="172" y="344"/>
                </a:lnTo>
                <a:close/>
                <a:moveTo>
                  <a:pt x="146" y="172"/>
                </a:moveTo>
                <a:lnTo>
                  <a:pt x="146" y="172"/>
                </a:lnTo>
                <a:lnTo>
                  <a:pt x="170" y="196"/>
                </a:lnTo>
                <a:lnTo>
                  <a:pt x="170" y="196"/>
                </a:lnTo>
                <a:lnTo>
                  <a:pt x="196" y="170"/>
                </a:lnTo>
                <a:lnTo>
                  <a:pt x="196" y="170"/>
                </a:lnTo>
                <a:lnTo>
                  <a:pt x="172" y="148"/>
                </a:lnTo>
                <a:lnTo>
                  <a:pt x="172" y="148"/>
                </a:lnTo>
                <a:lnTo>
                  <a:pt x="146" y="172"/>
                </a:lnTo>
                <a:lnTo>
                  <a:pt x="146" y="172"/>
                </a:lnTo>
                <a:close/>
              </a:path>
            </a:pathLst>
          </a:custGeom>
          <a:solidFill>
            <a:srgbClr val="1A86D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7" name="Freeform 18"/>
          <p:cNvSpPr>
            <a:spLocks/>
          </p:cNvSpPr>
          <p:nvPr userDrawn="1"/>
        </p:nvSpPr>
        <p:spPr bwMode="auto">
          <a:xfrm>
            <a:off x="4431636" y="6462555"/>
            <a:ext cx="37458" cy="124388"/>
          </a:xfrm>
          <a:custGeom>
            <a:avLst/>
            <a:gdLst>
              <a:gd name="T0" fmla="*/ 52 w 106"/>
              <a:gd name="T1" fmla="*/ 352 h 352"/>
              <a:gd name="T2" fmla="*/ 52 w 106"/>
              <a:gd name="T3" fmla="*/ 352 h 352"/>
              <a:gd name="T4" fmla="*/ 52 w 106"/>
              <a:gd name="T5" fmla="*/ 352 h 352"/>
              <a:gd name="T6" fmla="*/ 52 w 106"/>
              <a:gd name="T7" fmla="*/ 352 h 352"/>
              <a:gd name="T8" fmla="*/ 40 w 106"/>
              <a:gd name="T9" fmla="*/ 352 h 352"/>
              <a:gd name="T10" fmla="*/ 32 w 106"/>
              <a:gd name="T11" fmla="*/ 348 h 352"/>
              <a:gd name="T12" fmla="*/ 22 w 106"/>
              <a:gd name="T13" fmla="*/ 342 h 352"/>
              <a:gd name="T14" fmla="*/ 14 w 106"/>
              <a:gd name="T15" fmla="*/ 336 h 352"/>
              <a:gd name="T16" fmla="*/ 8 w 106"/>
              <a:gd name="T17" fmla="*/ 328 h 352"/>
              <a:gd name="T18" fmla="*/ 4 w 106"/>
              <a:gd name="T19" fmla="*/ 320 h 352"/>
              <a:gd name="T20" fmla="*/ 0 w 106"/>
              <a:gd name="T21" fmla="*/ 310 h 352"/>
              <a:gd name="T22" fmla="*/ 0 w 106"/>
              <a:gd name="T23" fmla="*/ 300 h 352"/>
              <a:gd name="T24" fmla="*/ 0 w 106"/>
              <a:gd name="T25" fmla="*/ 300 h 352"/>
              <a:gd name="T26" fmla="*/ 0 w 106"/>
              <a:gd name="T27" fmla="*/ 134 h 352"/>
              <a:gd name="T28" fmla="*/ 0 w 106"/>
              <a:gd name="T29" fmla="*/ 44 h 352"/>
              <a:gd name="T30" fmla="*/ 52 w 106"/>
              <a:gd name="T31" fmla="*/ 36 h 352"/>
              <a:gd name="T32" fmla="*/ 90 w 106"/>
              <a:gd name="T33" fmla="*/ 0 h 352"/>
              <a:gd name="T34" fmla="*/ 90 w 106"/>
              <a:gd name="T35" fmla="*/ 0 h 352"/>
              <a:gd name="T36" fmla="*/ 96 w 106"/>
              <a:gd name="T37" fmla="*/ 6 h 352"/>
              <a:gd name="T38" fmla="*/ 100 w 106"/>
              <a:gd name="T39" fmla="*/ 16 h 352"/>
              <a:gd name="T40" fmla="*/ 104 w 106"/>
              <a:gd name="T41" fmla="*/ 28 h 352"/>
              <a:gd name="T42" fmla="*/ 106 w 106"/>
              <a:gd name="T43" fmla="*/ 52 h 352"/>
              <a:gd name="T44" fmla="*/ 106 w 106"/>
              <a:gd name="T45" fmla="*/ 138 h 352"/>
              <a:gd name="T46" fmla="*/ 104 w 106"/>
              <a:gd name="T47" fmla="*/ 300 h 352"/>
              <a:gd name="T48" fmla="*/ 104 w 106"/>
              <a:gd name="T49" fmla="*/ 300 h 352"/>
              <a:gd name="T50" fmla="*/ 104 w 106"/>
              <a:gd name="T51" fmla="*/ 310 h 352"/>
              <a:gd name="T52" fmla="*/ 100 w 106"/>
              <a:gd name="T53" fmla="*/ 320 h 352"/>
              <a:gd name="T54" fmla="*/ 96 w 106"/>
              <a:gd name="T55" fmla="*/ 330 h 352"/>
              <a:gd name="T56" fmla="*/ 88 w 106"/>
              <a:gd name="T57" fmla="*/ 338 h 352"/>
              <a:gd name="T58" fmla="*/ 82 w 106"/>
              <a:gd name="T59" fmla="*/ 344 h 352"/>
              <a:gd name="T60" fmla="*/ 72 w 106"/>
              <a:gd name="T61" fmla="*/ 348 h 352"/>
              <a:gd name="T62" fmla="*/ 62 w 106"/>
              <a:gd name="T63" fmla="*/ 352 h 352"/>
              <a:gd name="T64" fmla="*/ 52 w 106"/>
              <a:gd name="T65" fmla="*/ 352 h 352"/>
              <a:gd name="T66" fmla="*/ 52 w 106"/>
              <a:gd name="T67" fmla="*/ 352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06" h="352">
                <a:moveTo>
                  <a:pt x="52" y="352"/>
                </a:moveTo>
                <a:lnTo>
                  <a:pt x="52" y="352"/>
                </a:lnTo>
                <a:lnTo>
                  <a:pt x="52" y="352"/>
                </a:lnTo>
                <a:lnTo>
                  <a:pt x="52" y="352"/>
                </a:lnTo>
                <a:lnTo>
                  <a:pt x="40" y="352"/>
                </a:lnTo>
                <a:lnTo>
                  <a:pt x="32" y="348"/>
                </a:lnTo>
                <a:lnTo>
                  <a:pt x="22" y="342"/>
                </a:lnTo>
                <a:lnTo>
                  <a:pt x="14" y="336"/>
                </a:lnTo>
                <a:lnTo>
                  <a:pt x="8" y="328"/>
                </a:lnTo>
                <a:lnTo>
                  <a:pt x="4" y="320"/>
                </a:lnTo>
                <a:lnTo>
                  <a:pt x="0" y="310"/>
                </a:lnTo>
                <a:lnTo>
                  <a:pt x="0" y="300"/>
                </a:lnTo>
                <a:lnTo>
                  <a:pt x="0" y="300"/>
                </a:lnTo>
                <a:lnTo>
                  <a:pt x="0" y="134"/>
                </a:lnTo>
                <a:lnTo>
                  <a:pt x="0" y="44"/>
                </a:lnTo>
                <a:lnTo>
                  <a:pt x="52" y="36"/>
                </a:lnTo>
                <a:lnTo>
                  <a:pt x="90" y="0"/>
                </a:lnTo>
                <a:lnTo>
                  <a:pt x="90" y="0"/>
                </a:lnTo>
                <a:lnTo>
                  <a:pt x="96" y="6"/>
                </a:lnTo>
                <a:lnTo>
                  <a:pt x="100" y="16"/>
                </a:lnTo>
                <a:lnTo>
                  <a:pt x="104" y="28"/>
                </a:lnTo>
                <a:lnTo>
                  <a:pt x="106" y="52"/>
                </a:lnTo>
                <a:lnTo>
                  <a:pt x="106" y="138"/>
                </a:lnTo>
                <a:lnTo>
                  <a:pt x="104" y="300"/>
                </a:lnTo>
                <a:lnTo>
                  <a:pt x="104" y="300"/>
                </a:lnTo>
                <a:lnTo>
                  <a:pt x="104" y="310"/>
                </a:lnTo>
                <a:lnTo>
                  <a:pt x="100" y="320"/>
                </a:lnTo>
                <a:lnTo>
                  <a:pt x="96" y="330"/>
                </a:lnTo>
                <a:lnTo>
                  <a:pt x="88" y="338"/>
                </a:lnTo>
                <a:lnTo>
                  <a:pt x="82" y="344"/>
                </a:lnTo>
                <a:lnTo>
                  <a:pt x="72" y="348"/>
                </a:lnTo>
                <a:lnTo>
                  <a:pt x="62" y="352"/>
                </a:lnTo>
                <a:lnTo>
                  <a:pt x="52" y="352"/>
                </a:lnTo>
                <a:lnTo>
                  <a:pt x="52" y="352"/>
                </a:lnTo>
                <a:close/>
              </a:path>
            </a:pathLst>
          </a:custGeom>
          <a:solidFill>
            <a:srgbClr val="1A86D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9" name="Rectangle 48"/>
          <p:cNvSpPr/>
          <p:nvPr userDrawn="1"/>
        </p:nvSpPr>
        <p:spPr bwMode="auto">
          <a:xfrm>
            <a:off x="-217599" y="6858000"/>
            <a:ext cx="12533086" cy="783771"/>
          </a:xfrm>
          <a:prstGeom prst="rect">
            <a:avLst/>
          </a:prstGeom>
          <a:solidFill>
            <a:srgbClr val="E6E6E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chemeClr val="tx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2" name="Rectangle 51"/>
          <p:cNvSpPr/>
          <p:nvPr userDrawn="1"/>
        </p:nvSpPr>
        <p:spPr bwMode="auto">
          <a:xfrm>
            <a:off x="-391886" y="6074229"/>
            <a:ext cx="391886" cy="783771"/>
          </a:xfrm>
          <a:prstGeom prst="rect">
            <a:avLst/>
          </a:prstGeom>
          <a:solidFill>
            <a:srgbClr val="E6E6E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chemeClr val="tx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3" name="Rectangle 52"/>
          <p:cNvSpPr/>
          <p:nvPr userDrawn="1"/>
        </p:nvSpPr>
        <p:spPr bwMode="auto">
          <a:xfrm>
            <a:off x="0" y="6344997"/>
            <a:ext cx="12192000" cy="513003"/>
          </a:xfrm>
          <a:prstGeom prst="rect">
            <a:avLst/>
          </a:prstGeom>
          <a:solidFill>
            <a:schemeClr val="accent1">
              <a:alpha val="3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chemeClr val="tx1"/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2">
            <a:biLevel thresh="25000"/>
          </a:blip>
          <a:stretch>
            <a:fillRect/>
          </a:stretch>
        </p:blipFill>
        <p:spPr>
          <a:xfrm>
            <a:off x="171510" y="6491045"/>
            <a:ext cx="936609" cy="206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34647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Content spli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0459" y="511827"/>
            <a:ext cx="5556611" cy="2200893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6" name="Rectangle 35"/>
          <p:cNvSpPr/>
          <p:nvPr userDrawn="1"/>
        </p:nvSpPr>
        <p:spPr bwMode="auto">
          <a:xfrm>
            <a:off x="0" y="6325187"/>
            <a:ext cx="12192000" cy="532814"/>
          </a:xfrm>
          <a:prstGeom prst="rect">
            <a:avLst/>
          </a:prstGeom>
          <a:solidFill>
            <a:srgbClr val="409AE1"/>
          </a:solidFill>
          <a:ln w="28575"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marR="0" lvl="0" indent="0" defTabSz="93256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050" b="0" i="0" u="none" strike="noStrike" kern="0" cap="none" spc="0" normalizeH="0" baseline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</p:txBody>
      </p:sp>
      <p:sp>
        <p:nvSpPr>
          <p:cNvPr id="6" name="Freeform 539"/>
          <p:cNvSpPr>
            <a:spLocks noChangeAspect="1"/>
          </p:cNvSpPr>
          <p:nvPr userDrawn="1"/>
        </p:nvSpPr>
        <p:spPr bwMode="auto">
          <a:xfrm>
            <a:off x="9303795" y="5959092"/>
            <a:ext cx="1968055" cy="1082010"/>
          </a:xfrm>
          <a:custGeom>
            <a:avLst/>
            <a:gdLst>
              <a:gd name="T0" fmla="*/ 312 w 400"/>
              <a:gd name="T1" fmla="*/ 220 h 220"/>
              <a:gd name="T2" fmla="*/ 45 w 400"/>
              <a:gd name="T3" fmla="*/ 220 h 220"/>
              <a:gd name="T4" fmla="*/ 0 w 400"/>
              <a:gd name="T5" fmla="*/ 175 h 220"/>
              <a:gd name="T6" fmla="*/ 34 w 400"/>
              <a:gd name="T7" fmla="*/ 131 h 220"/>
              <a:gd name="T8" fmla="*/ 87 w 400"/>
              <a:gd name="T9" fmla="*/ 91 h 220"/>
              <a:gd name="T10" fmla="*/ 183 w 400"/>
              <a:gd name="T11" fmla="*/ 0 h 220"/>
              <a:gd name="T12" fmla="*/ 270 w 400"/>
              <a:gd name="T13" fmla="*/ 55 h 220"/>
              <a:gd name="T14" fmla="*/ 312 w 400"/>
              <a:gd name="T15" fmla="*/ 44 h 220"/>
              <a:gd name="T16" fmla="*/ 400 w 400"/>
              <a:gd name="T17" fmla="*/ 132 h 220"/>
              <a:gd name="T18" fmla="*/ 312 w 400"/>
              <a:gd name="T19" fmla="*/ 220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00" h="220">
                <a:moveTo>
                  <a:pt x="312" y="220"/>
                </a:moveTo>
                <a:cubicBezTo>
                  <a:pt x="45" y="220"/>
                  <a:pt x="45" y="220"/>
                  <a:pt x="45" y="220"/>
                </a:cubicBezTo>
                <a:cubicBezTo>
                  <a:pt x="20" y="220"/>
                  <a:pt x="0" y="200"/>
                  <a:pt x="0" y="175"/>
                </a:cubicBezTo>
                <a:cubicBezTo>
                  <a:pt x="0" y="154"/>
                  <a:pt x="15" y="136"/>
                  <a:pt x="34" y="131"/>
                </a:cubicBezTo>
                <a:cubicBezTo>
                  <a:pt x="43" y="110"/>
                  <a:pt x="63" y="94"/>
                  <a:pt x="87" y="91"/>
                </a:cubicBezTo>
                <a:cubicBezTo>
                  <a:pt x="89" y="40"/>
                  <a:pt x="131" y="0"/>
                  <a:pt x="183" y="0"/>
                </a:cubicBezTo>
                <a:cubicBezTo>
                  <a:pt x="220" y="0"/>
                  <a:pt x="254" y="22"/>
                  <a:pt x="270" y="55"/>
                </a:cubicBezTo>
                <a:cubicBezTo>
                  <a:pt x="282" y="48"/>
                  <a:pt x="297" y="44"/>
                  <a:pt x="312" y="44"/>
                </a:cubicBezTo>
                <a:cubicBezTo>
                  <a:pt x="360" y="44"/>
                  <a:pt x="400" y="84"/>
                  <a:pt x="400" y="132"/>
                </a:cubicBezTo>
                <a:cubicBezTo>
                  <a:pt x="400" y="181"/>
                  <a:pt x="360" y="220"/>
                  <a:pt x="312" y="220"/>
                </a:cubicBezTo>
                <a:close/>
              </a:path>
            </a:pathLst>
          </a:custGeom>
          <a:solidFill>
            <a:srgbClr val="409AE1"/>
          </a:solidFill>
          <a:ln w="28575">
            <a:noFill/>
          </a:ln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325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</p:txBody>
      </p:sp>
      <p:grpSp>
        <p:nvGrpSpPr>
          <p:cNvPr id="9" name="Group 8"/>
          <p:cNvGrpSpPr/>
          <p:nvPr userDrawn="1"/>
        </p:nvGrpSpPr>
        <p:grpSpPr>
          <a:xfrm>
            <a:off x="9338575" y="6216162"/>
            <a:ext cx="1824626" cy="773723"/>
            <a:chOff x="4494770" y="2621197"/>
            <a:chExt cx="3127126" cy="1326043"/>
          </a:xfrm>
        </p:grpSpPr>
        <p:sp>
          <p:nvSpPr>
            <p:cNvPr id="10" name="Freeform 12"/>
            <p:cNvSpPr>
              <a:spLocks/>
            </p:cNvSpPr>
            <p:nvPr/>
          </p:nvSpPr>
          <p:spPr bwMode="auto">
            <a:xfrm>
              <a:off x="4494770" y="3400845"/>
              <a:ext cx="457856" cy="62986"/>
            </a:xfrm>
            <a:custGeom>
              <a:avLst/>
              <a:gdLst>
                <a:gd name="T0" fmla="*/ 704 w 756"/>
                <a:gd name="T1" fmla="*/ 104 h 104"/>
                <a:gd name="T2" fmla="*/ 52 w 756"/>
                <a:gd name="T3" fmla="*/ 104 h 104"/>
                <a:gd name="T4" fmla="*/ 52 w 756"/>
                <a:gd name="T5" fmla="*/ 104 h 104"/>
                <a:gd name="T6" fmla="*/ 42 w 756"/>
                <a:gd name="T7" fmla="*/ 104 h 104"/>
                <a:gd name="T8" fmla="*/ 32 w 756"/>
                <a:gd name="T9" fmla="*/ 100 h 104"/>
                <a:gd name="T10" fmla="*/ 22 w 756"/>
                <a:gd name="T11" fmla="*/ 96 h 104"/>
                <a:gd name="T12" fmla="*/ 14 w 756"/>
                <a:gd name="T13" fmla="*/ 90 h 104"/>
                <a:gd name="T14" fmla="*/ 8 w 756"/>
                <a:gd name="T15" fmla="*/ 82 h 104"/>
                <a:gd name="T16" fmla="*/ 4 w 756"/>
                <a:gd name="T17" fmla="*/ 72 h 104"/>
                <a:gd name="T18" fmla="*/ 0 w 756"/>
                <a:gd name="T19" fmla="*/ 62 h 104"/>
                <a:gd name="T20" fmla="*/ 0 w 756"/>
                <a:gd name="T21" fmla="*/ 52 h 104"/>
                <a:gd name="T22" fmla="*/ 0 w 756"/>
                <a:gd name="T23" fmla="*/ 52 h 104"/>
                <a:gd name="T24" fmla="*/ 0 w 756"/>
                <a:gd name="T25" fmla="*/ 42 h 104"/>
                <a:gd name="T26" fmla="*/ 4 w 756"/>
                <a:gd name="T27" fmla="*/ 32 h 104"/>
                <a:gd name="T28" fmla="*/ 8 w 756"/>
                <a:gd name="T29" fmla="*/ 22 h 104"/>
                <a:gd name="T30" fmla="*/ 14 w 756"/>
                <a:gd name="T31" fmla="*/ 16 h 104"/>
                <a:gd name="T32" fmla="*/ 22 w 756"/>
                <a:gd name="T33" fmla="*/ 8 h 104"/>
                <a:gd name="T34" fmla="*/ 32 w 756"/>
                <a:gd name="T35" fmla="*/ 4 h 104"/>
                <a:gd name="T36" fmla="*/ 42 w 756"/>
                <a:gd name="T37" fmla="*/ 0 h 104"/>
                <a:gd name="T38" fmla="*/ 52 w 756"/>
                <a:gd name="T39" fmla="*/ 0 h 104"/>
                <a:gd name="T40" fmla="*/ 704 w 756"/>
                <a:gd name="T41" fmla="*/ 0 h 104"/>
                <a:gd name="T42" fmla="*/ 704 w 756"/>
                <a:gd name="T43" fmla="*/ 0 h 104"/>
                <a:gd name="T44" fmla="*/ 714 w 756"/>
                <a:gd name="T45" fmla="*/ 0 h 104"/>
                <a:gd name="T46" fmla="*/ 724 w 756"/>
                <a:gd name="T47" fmla="*/ 4 h 104"/>
                <a:gd name="T48" fmla="*/ 732 w 756"/>
                <a:gd name="T49" fmla="*/ 8 h 104"/>
                <a:gd name="T50" fmla="*/ 740 w 756"/>
                <a:gd name="T51" fmla="*/ 16 h 104"/>
                <a:gd name="T52" fmla="*/ 748 w 756"/>
                <a:gd name="T53" fmla="*/ 22 h 104"/>
                <a:gd name="T54" fmla="*/ 752 w 756"/>
                <a:gd name="T55" fmla="*/ 32 h 104"/>
                <a:gd name="T56" fmla="*/ 756 w 756"/>
                <a:gd name="T57" fmla="*/ 42 h 104"/>
                <a:gd name="T58" fmla="*/ 756 w 756"/>
                <a:gd name="T59" fmla="*/ 52 h 104"/>
                <a:gd name="T60" fmla="*/ 756 w 756"/>
                <a:gd name="T61" fmla="*/ 52 h 104"/>
                <a:gd name="T62" fmla="*/ 756 w 756"/>
                <a:gd name="T63" fmla="*/ 62 h 104"/>
                <a:gd name="T64" fmla="*/ 752 w 756"/>
                <a:gd name="T65" fmla="*/ 72 h 104"/>
                <a:gd name="T66" fmla="*/ 748 w 756"/>
                <a:gd name="T67" fmla="*/ 82 h 104"/>
                <a:gd name="T68" fmla="*/ 740 w 756"/>
                <a:gd name="T69" fmla="*/ 90 h 104"/>
                <a:gd name="T70" fmla="*/ 732 w 756"/>
                <a:gd name="T71" fmla="*/ 96 h 104"/>
                <a:gd name="T72" fmla="*/ 724 w 756"/>
                <a:gd name="T73" fmla="*/ 100 h 104"/>
                <a:gd name="T74" fmla="*/ 714 w 756"/>
                <a:gd name="T75" fmla="*/ 104 h 104"/>
                <a:gd name="T76" fmla="*/ 704 w 756"/>
                <a:gd name="T77" fmla="*/ 104 h 104"/>
                <a:gd name="T78" fmla="*/ 704 w 756"/>
                <a:gd name="T79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56" h="104">
                  <a:moveTo>
                    <a:pt x="704" y="104"/>
                  </a:moveTo>
                  <a:lnTo>
                    <a:pt x="52" y="104"/>
                  </a:lnTo>
                  <a:lnTo>
                    <a:pt x="52" y="104"/>
                  </a:lnTo>
                  <a:lnTo>
                    <a:pt x="42" y="104"/>
                  </a:lnTo>
                  <a:lnTo>
                    <a:pt x="32" y="100"/>
                  </a:lnTo>
                  <a:lnTo>
                    <a:pt x="22" y="96"/>
                  </a:lnTo>
                  <a:lnTo>
                    <a:pt x="14" y="90"/>
                  </a:lnTo>
                  <a:lnTo>
                    <a:pt x="8" y="82"/>
                  </a:lnTo>
                  <a:lnTo>
                    <a:pt x="4" y="72"/>
                  </a:lnTo>
                  <a:lnTo>
                    <a:pt x="0" y="6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42"/>
                  </a:lnTo>
                  <a:lnTo>
                    <a:pt x="4" y="32"/>
                  </a:lnTo>
                  <a:lnTo>
                    <a:pt x="8" y="22"/>
                  </a:lnTo>
                  <a:lnTo>
                    <a:pt x="14" y="16"/>
                  </a:lnTo>
                  <a:lnTo>
                    <a:pt x="22" y="8"/>
                  </a:lnTo>
                  <a:lnTo>
                    <a:pt x="32" y="4"/>
                  </a:lnTo>
                  <a:lnTo>
                    <a:pt x="42" y="0"/>
                  </a:lnTo>
                  <a:lnTo>
                    <a:pt x="52" y="0"/>
                  </a:lnTo>
                  <a:lnTo>
                    <a:pt x="704" y="0"/>
                  </a:lnTo>
                  <a:lnTo>
                    <a:pt x="704" y="0"/>
                  </a:lnTo>
                  <a:lnTo>
                    <a:pt x="714" y="0"/>
                  </a:lnTo>
                  <a:lnTo>
                    <a:pt x="724" y="4"/>
                  </a:lnTo>
                  <a:lnTo>
                    <a:pt x="732" y="8"/>
                  </a:lnTo>
                  <a:lnTo>
                    <a:pt x="740" y="16"/>
                  </a:lnTo>
                  <a:lnTo>
                    <a:pt x="748" y="22"/>
                  </a:lnTo>
                  <a:lnTo>
                    <a:pt x="752" y="32"/>
                  </a:lnTo>
                  <a:lnTo>
                    <a:pt x="756" y="42"/>
                  </a:lnTo>
                  <a:lnTo>
                    <a:pt x="756" y="52"/>
                  </a:lnTo>
                  <a:lnTo>
                    <a:pt x="756" y="52"/>
                  </a:lnTo>
                  <a:lnTo>
                    <a:pt x="756" y="62"/>
                  </a:lnTo>
                  <a:lnTo>
                    <a:pt x="752" y="72"/>
                  </a:lnTo>
                  <a:lnTo>
                    <a:pt x="748" y="82"/>
                  </a:lnTo>
                  <a:lnTo>
                    <a:pt x="740" y="90"/>
                  </a:lnTo>
                  <a:lnTo>
                    <a:pt x="732" y="96"/>
                  </a:lnTo>
                  <a:lnTo>
                    <a:pt x="724" y="100"/>
                  </a:lnTo>
                  <a:lnTo>
                    <a:pt x="714" y="104"/>
                  </a:lnTo>
                  <a:lnTo>
                    <a:pt x="704" y="104"/>
                  </a:lnTo>
                  <a:lnTo>
                    <a:pt x="704" y="104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Freeform 13"/>
            <p:cNvSpPr>
              <a:spLocks/>
            </p:cNvSpPr>
            <p:nvPr/>
          </p:nvSpPr>
          <p:spPr bwMode="auto">
            <a:xfrm>
              <a:off x="4889641" y="3331803"/>
              <a:ext cx="540222" cy="245886"/>
            </a:xfrm>
            <a:custGeom>
              <a:avLst/>
              <a:gdLst>
                <a:gd name="T0" fmla="*/ 456 w 892"/>
                <a:gd name="T1" fmla="*/ 406 h 406"/>
                <a:gd name="T2" fmla="*/ 436 w 892"/>
                <a:gd name="T3" fmla="*/ 402 h 406"/>
                <a:gd name="T4" fmla="*/ 418 w 892"/>
                <a:gd name="T5" fmla="*/ 390 h 406"/>
                <a:gd name="T6" fmla="*/ 408 w 892"/>
                <a:gd name="T7" fmla="*/ 374 h 406"/>
                <a:gd name="T8" fmla="*/ 404 w 892"/>
                <a:gd name="T9" fmla="*/ 354 h 406"/>
                <a:gd name="T10" fmla="*/ 402 w 892"/>
                <a:gd name="T11" fmla="*/ 346 h 406"/>
                <a:gd name="T12" fmla="*/ 396 w 892"/>
                <a:gd name="T13" fmla="*/ 344 h 406"/>
                <a:gd name="T14" fmla="*/ 164 w 892"/>
                <a:gd name="T15" fmla="*/ 344 h 406"/>
                <a:gd name="T16" fmla="*/ 138 w 892"/>
                <a:gd name="T17" fmla="*/ 344 h 406"/>
                <a:gd name="T18" fmla="*/ 104 w 892"/>
                <a:gd name="T19" fmla="*/ 336 h 406"/>
                <a:gd name="T20" fmla="*/ 66 w 892"/>
                <a:gd name="T21" fmla="*/ 318 h 406"/>
                <a:gd name="T22" fmla="*/ 46 w 892"/>
                <a:gd name="T23" fmla="*/ 302 h 406"/>
                <a:gd name="T24" fmla="*/ 30 w 892"/>
                <a:gd name="T25" fmla="*/ 284 h 406"/>
                <a:gd name="T26" fmla="*/ 14 w 892"/>
                <a:gd name="T27" fmla="*/ 258 h 406"/>
                <a:gd name="T28" fmla="*/ 4 w 892"/>
                <a:gd name="T29" fmla="*/ 224 h 406"/>
                <a:gd name="T30" fmla="*/ 0 w 892"/>
                <a:gd name="T31" fmla="*/ 180 h 406"/>
                <a:gd name="T32" fmla="*/ 0 w 892"/>
                <a:gd name="T33" fmla="*/ 156 h 406"/>
                <a:gd name="T34" fmla="*/ 10 w 892"/>
                <a:gd name="T35" fmla="*/ 114 h 406"/>
                <a:gd name="T36" fmla="*/ 28 w 892"/>
                <a:gd name="T37" fmla="*/ 80 h 406"/>
                <a:gd name="T38" fmla="*/ 52 w 892"/>
                <a:gd name="T39" fmla="*/ 54 h 406"/>
                <a:gd name="T40" fmla="*/ 78 w 892"/>
                <a:gd name="T41" fmla="*/ 32 h 406"/>
                <a:gd name="T42" fmla="*/ 108 w 892"/>
                <a:gd name="T43" fmla="*/ 18 h 406"/>
                <a:gd name="T44" fmla="*/ 150 w 892"/>
                <a:gd name="T45" fmla="*/ 4 h 406"/>
                <a:gd name="T46" fmla="*/ 840 w 892"/>
                <a:gd name="T47" fmla="*/ 0 h 406"/>
                <a:gd name="T48" fmla="*/ 852 w 892"/>
                <a:gd name="T49" fmla="*/ 2 h 406"/>
                <a:gd name="T50" fmla="*/ 870 w 892"/>
                <a:gd name="T51" fmla="*/ 10 h 406"/>
                <a:gd name="T52" fmla="*/ 884 w 892"/>
                <a:gd name="T53" fmla="*/ 24 h 406"/>
                <a:gd name="T54" fmla="*/ 892 w 892"/>
                <a:gd name="T55" fmla="*/ 42 h 406"/>
                <a:gd name="T56" fmla="*/ 892 w 892"/>
                <a:gd name="T57" fmla="*/ 52 h 406"/>
                <a:gd name="T58" fmla="*/ 888 w 892"/>
                <a:gd name="T59" fmla="*/ 74 h 406"/>
                <a:gd name="T60" fmla="*/ 878 w 892"/>
                <a:gd name="T61" fmla="*/ 90 h 406"/>
                <a:gd name="T62" fmla="*/ 860 w 892"/>
                <a:gd name="T63" fmla="*/ 102 h 406"/>
                <a:gd name="T64" fmla="*/ 840 w 892"/>
                <a:gd name="T65" fmla="*/ 106 h 406"/>
                <a:gd name="T66" fmla="*/ 180 w 892"/>
                <a:gd name="T67" fmla="*/ 106 h 406"/>
                <a:gd name="T68" fmla="*/ 148 w 892"/>
                <a:gd name="T69" fmla="*/ 114 h 406"/>
                <a:gd name="T70" fmla="*/ 124 w 892"/>
                <a:gd name="T71" fmla="*/ 130 h 406"/>
                <a:gd name="T72" fmla="*/ 110 w 892"/>
                <a:gd name="T73" fmla="*/ 150 h 406"/>
                <a:gd name="T74" fmla="*/ 104 w 892"/>
                <a:gd name="T75" fmla="*/ 170 h 406"/>
                <a:gd name="T76" fmla="*/ 104 w 892"/>
                <a:gd name="T77" fmla="*/ 180 h 406"/>
                <a:gd name="T78" fmla="*/ 108 w 892"/>
                <a:gd name="T79" fmla="*/ 208 h 406"/>
                <a:gd name="T80" fmla="*/ 118 w 892"/>
                <a:gd name="T81" fmla="*/ 226 h 406"/>
                <a:gd name="T82" fmla="*/ 130 w 892"/>
                <a:gd name="T83" fmla="*/ 234 h 406"/>
                <a:gd name="T84" fmla="*/ 152 w 892"/>
                <a:gd name="T85" fmla="*/ 240 h 406"/>
                <a:gd name="T86" fmla="*/ 394 w 892"/>
                <a:gd name="T87" fmla="*/ 240 h 406"/>
                <a:gd name="T88" fmla="*/ 406 w 892"/>
                <a:gd name="T89" fmla="*/ 240 h 406"/>
                <a:gd name="T90" fmla="*/ 438 w 892"/>
                <a:gd name="T91" fmla="*/ 248 h 406"/>
                <a:gd name="T92" fmla="*/ 464 w 892"/>
                <a:gd name="T93" fmla="*/ 260 h 406"/>
                <a:gd name="T94" fmla="*/ 476 w 892"/>
                <a:gd name="T95" fmla="*/ 270 h 406"/>
                <a:gd name="T96" fmla="*/ 498 w 892"/>
                <a:gd name="T97" fmla="*/ 302 h 406"/>
                <a:gd name="T98" fmla="*/ 506 w 892"/>
                <a:gd name="T99" fmla="*/ 324 h 406"/>
                <a:gd name="T100" fmla="*/ 508 w 892"/>
                <a:gd name="T101" fmla="*/ 354 h 406"/>
                <a:gd name="T102" fmla="*/ 508 w 892"/>
                <a:gd name="T103" fmla="*/ 364 h 406"/>
                <a:gd name="T104" fmla="*/ 500 w 892"/>
                <a:gd name="T105" fmla="*/ 384 h 406"/>
                <a:gd name="T106" fmla="*/ 486 w 892"/>
                <a:gd name="T107" fmla="*/ 398 h 406"/>
                <a:gd name="T108" fmla="*/ 466 w 892"/>
                <a:gd name="T109" fmla="*/ 406 h 406"/>
                <a:gd name="T110" fmla="*/ 456 w 892"/>
                <a:gd name="T111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92" h="406">
                  <a:moveTo>
                    <a:pt x="456" y="406"/>
                  </a:moveTo>
                  <a:lnTo>
                    <a:pt x="456" y="406"/>
                  </a:lnTo>
                  <a:lnTo>
                    <a:pt x="446" y="406"/>
                  </a:lnTo>
                  <a:lnTo>
                    <a:pt x="436" y="402"/>
                  </a:lnTo>
                  <a:lnTo>
                    <a:pt x="426" y="398"/>
                  </a:lnTo>
                  <a:lnTo>
                    <a:pt x="418" y="390"/>
                  </a:lnTo>
                  <a:lnTo>
                    <a:pt x="412" y="384"/>
                  </a:lnTo>
                  <a:lnTo>
                    <a:pt x="408" y="374"/>
                  </a:lnTo>
                  <a:lnTo>
                    <a:pt x="404" y="364"/>
                  </a:lnTo>
                  <a:lnTo>
                    <a:pt x="404" y="354"/>
                  </a:lnTo>
                  <a:lnTo>
                    <a:pt x="404" y="354"/>
                  </a:lnTo>
                  <a:lnTo>
                    <a:pt x="402" y="346"/>
                  </a:lnTo>
                  <a:lnTo>
                    <a:pt x="402" y="346"/>
                  </a:lnTo>
                  <a:lnTo>
                    <a:pt x="396" y="344"/>
                  </a:lnTo>
                  <a:lnTo>
                    <a:pt x="164" y="344"/>
                  </a:lnTo>
                  <a:lnTo>
                    <a:pt x="164" y="344"/>
                  </a:lnTo>
                  <a:lnTo>
                    <a:pt x="150" y="344"/>
                  </a:lnTo>
                  <a:lnTo>
                    <a:pt x="138" y="344"/>
                  </a:lnTo>
                  <a:lnTo>
                    <a:pt x="122" y="340"/>
                  </a:lnTo>
                  <a:lnTo>
                    <a:pt x="104" y="336"/>
                  </a:lnTo>
                  <a:lnTo>
                    <a:pt x="84" y="328"/>
                  </a:lnTo>
                  <a:lnTo>
                    <a:pt x="66" y="318"/>
                  </a:lnTo>
                  <a:lnTo>
                    <a:pt x="46" y="302"/>
                  </a:lnTo>
                  <a:lnTo>
                    <a:pt x="46" y="302"/>
                  </a:lnTo>
                  <a:lnTo>
                    <a:pt x="38" y="294"/>
                  </a:lnTo>
                  <a:lnTo>
                    <a:pt x="30" y="284"/>
                  </a:lnTo>
                  <a:lnTo>
                    <a:pt x="22" y="272"/>
                  </a:lnTo>
                  <a:lnTo>
                    <a:pt x="14" y="258"/>
                  </a:lnTo>
                  <a:lnTo>
                    <a:pt x="8" y="242"/>
                  </a:lnTo>
                  <a:lnTo>
                    <a:pt x="4" y="224"/>
                  </a:lnTo>
                  <a:lnTo>
                    <a:pt x="0" y="204"/>
                  </a:lnTo>
                  <a:lnTo>
                    <a:pt x="0" y="180"/>
                  </a:lnTo>
                  <a:lnTo>
                    <a:pt x="0" y="180"/>
                  </a:lnTo>
                  <a:lnTo>
                    <a:pt x="0" y="156"/>
                  </a:lnTo>
                  <a:lnTo>
                    <a:pt x="4" y="134"/>
                  </a:lnTo>
                  <a:lnTo>
                    <a:pt x="10" y="114"/>
                  </a:lnTo>
                  <a:lnTo>
                    <a:pt x="18" y="96"/>
                  </a:lnTo>
                  <a:lnTo>
                    <a:pt x="28" y="80"/>
                  </a:lnTo>
                  <a:lnTo>
                    <a:pt x="38" y="66"/>
                  </a:lnTo>
                  <a:lnTo>
                    <a:pt x="52" y="54"/>
                  </a:lnTo>
                  <a:lnTo>
                    <a:pt x="64" y="42"/>
                  </a:lnTo>
                  <a:lnTo>
                    <a:pt x="78" y="32"/>
                  </a:lnTo>
                  <a:lnTo>
                    <a:pt x="92" y="24"/>
                  </a:lnTo>
                  <a:lnTo>
                    <a:pt x="108" y="18"/>
                  </a:lnTo>
                  <a:lnTo>
                    <a:pt x="122" y="12"/>
                  </a:lnTo>
                  <a:lnTo>
                    <a:pt x="150" y="4"/>
                  </a:lnTo>
                  <a:lnTo>
                    <a:pt x="176" y="0"/>
                  </a:lnTo>
                  <a:lnTo>
                    <a:pt x="840" y="0"/>
                  </a:lnTo>
                  <a:lnTo>
                    <a:pt x="840" y="0"/>
                  </a:lnTo>
                  <a:lnTo>
                    <a:pt x="852" y="2"/>
                  </a:lnTo>
                  <a:lnTo>
                    <a:pt x="860" y="4"/>
                  </a:lnTo>
                  <a:lnTo>
                    <a:pt x="870" y="10"/>
                  </a:lnTo>
                  <a:lnTo>
                    <a:pt x="878" y="16"/>
                  </a:lnTo>
                  <a:lnTo>
                    <a:pt x="884" y="24"/>
                  </a:lnTo>
                  <a:lnTo>
                    <a:pt x="888" y="32"/>
                  </a:lnTo>
                  <a:lnTo>
                    <a:pt x="892" y="42"/>
                  </a:lnTo>
                  <a:lnTo>
                    <a:pt x="892" y="52"/>
                  </a:lnTo>
                  <a:lnTo>
                    <a:pt x="892" y="52"/>
                  </a:lnTo>
                  <a:lnTo>
                    <a:pt x="892" y="64"/>
                  </a:lnTo>
                  <a:lnTo>
                    <a:pt x="888" y="74"/>
                  </a:lnTo>
                  <a:lnTo>
                    <a:pt x="884" y="82"/>
                  </a:lnTo>
                  <a:lnTo>
                    <a:pt x="878" y="90"/>
                  </a:lnTo>
                  <a:lnTo>
                    <a:pt x="870" y="96"/>
                  </a:lnTo>
                  <a:lnTo>
                    <a:pt x="860" y="102"/>
                  </a:lnTo>
                  <a:lnTo>
                    <a:pt x="852" y="104"/>
                  </a:lnTo>
                  <a:lnTo>
                    <a:pt x="840" y="106"/>
                  </a:lnTo>
                  <a:lnTo>
                    <a:pt x="180" y="106"/>
                  </a:lnTo>
                  <a:lnTo>
                    <a:pt x="180" y="106"/>
                  </a:lnTo>
                  <a:lnTo>
                    <a:pt x="162" y="108"/>
                  </a:lnTo>
                  <a:lnTo>
                    <a:pt x="148" y="114"/>
                  </a:lnTo>
                  <a:lnTo>
                    <a:pt x="136" y="120"/>
                  </a:lnTo>
                  <a:lnTo>
                    <a:pt x="124" y="130"/>
                  </a:lnTo>
                  <a:lnTo>
                    <a:pt x="114" y="142"/>
                  </a:lnTo>
                  <a:lnTo>
                    <a:pt x="110" y="150"/>
                  </a:lnTo>
                  <a:lnTo>
                    <a:pt x="106" y="158"/>
                  </a:lnTo>
                  <a:lnTo>
                    <a:pt x="104" y="170"/>
                  </a:lnTo>
                  <a:lnTo>
                    <a:pt x="104" y="180"/>
                  </a:lnTo>
                  <a:lnTo>
                    <a:pt x="104" y="180"/>
                  </a:lnTo>
                  <a:lnTo>
                    <a:pt x="106" y="196"/>
                  </a:lnTo>
                  <a:lnTo>
                    <a:pt x="108" y="208"/>
                  </a:lnTo>
                  <a:lnTo>
                    <a:pt x="112" y="218"/>
                  </a:lnTo>
                  <a:lnTo>
                    <a:pt x="118" y="226"/>
                  </a:lnTo>
                  <a:lnTo>
                    <a:pt x="118" y="226"/>
                  </a:lnTo>
                  <a:lnTo>
                    <a:pt x="130" y="234"/>
                  </a:lnTo>
                  <a:lnTo>
                    <a:pt x="142" y="238"/>
                  </a:lnTo>
                  <a:lnTo>
                    <a:pt x="152" y="240"/>
                  </a:lnTo>
                  <a:lnTo>
                    <a:pt x="160" y="240"/>
                  </a:lnTo>
                  <a:lnTo>
                    <a:pt x="394" y="240"/>
                  </a:lnTo>
                  <a:lnTo>
                    <a:pt x="394" y="240"/>
                  </a:lnTo>
                  <a:lnTo>
                    <a:pt x="406" y="240"/>
                  </a:lnTo>
                  <a:lnTo>
                    <a:pt x="426" y="244"/>
                  </a:lnTo>
                  <a:lnTo>
                    <a:pt x="438" y="248"/>
                  </a:lnTo>
                  <a:lnTo>
                    <a:pt x="450" y="252"/>
                  </a:lnTo>
                  <a:lnTo>
                    <a:pt x="464" y="260"/>
                  </a:lnTo>
                  <a:lnTo>
                    <a:pt x="476" y="270"/>
                  </a:lnTo>
                  <a:lnTo>
                    <a:pt x="476" y="270"/>
                  </a:lnTo>
                  <a:lnTo>
                    <a:pt x="488" y="284"/>
                  </a:lnTo>
                  <a:lnTo>
                    <a:pt x="498" y="302"/>
                  </a:lnTo>
                  <a:lnTo>
                    <a:pt x="502" y="312"/>
                  </a:lnTo>
                  <a:lnTo>
                    <a:pt x="506" y="324"/>
                  </a:lnTo>
                  <a:lnTo>
                    <a:pt x="508" y="338"/>
                  </a:lnTo>
                  <a:lnTo>
                    <a:pt x="508" y="354"/>
                  </a:lnTo>
                  <a:lnTo>
                    <a:pt x="508" y="354"/>
                  </a:lnTo>
                  <a:lnTo>
                    <a:pt x="508" y="364"/>
                  </a:lnTo>
                  <a:lnTo>
                    <a:pt x="504" y="374"/>
                  </a:lnTo>
                  <a:lnTo>
                    <a:pt x="500" y="384"/>
                  </a:lnTo>
                  <a:lnTo>
                    <a:pt x="494" y="390"/>
                  </a:lnTo>
                  <a:lnTo>
                    <a:pt x="486" y="398"/>
                  </a:lnTo>
                  <a:lnTo>
                    <a:pt x="476" y="402"/>
                  </a:lnTo>
                  <a:lnTo>
                    <a:pt x="466" y="406"/>
                  </a:lnTo>
                  <a:lnTo>
                    <a:pt x="456" y="406"/>
                  </a:lnTo>
                  <a:lnTo>
                    <a:pt x="456" y="406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eform 14"/>
            <p:cNvSpPr>
              <a:spLocks/>
            </p:cNvSpPr>
            <p:nvPr/>
          </p:nvSpPr>
          <p:spPr bwMode="auto">
            <a:xfrm>
              <a:off x="6726775" y="3077438"/>
              <a:ext cx="895121" cy="245886"/>
            </a:xfrm>
            <a:custGeom>
              <a:avLst/>
              <a:gdLst>
                <a:gd name="T0" fmla="*/ 52 w 1478"/>
                <a:gd name="T1" fmla="*/ 406 h 406"/>
                <a:gd name="T2" fmla="*/ 32 w 1478"/>
                <a:gd name="T3" fmla="*/ 402 h 406"/>
                <a:gd name="T4" fmla="*/ 14 w 1478"/>
                <a:gd name="T5" fmla="*/ 390 h 406"/>
                <a:gd name="T6" fmla="*/ 4 w 1478"/>
                <a:gd name="T7" fmla="*/ 374 h 406"/>
                <a:gd name="T8" fmla="*/ 0 w 1478"/>
                <a:gd name="T9" fmla="*/ 352 h 406"/>
                <a:gd name="T10" fmla="*/ 0 w 1478"/>
                <a:gd name="T11" fmla="*/ 342 h 406"/>
                <a:gd name="T12" fmla="*/ 8 w 1478"/>
                <a:gd name="T13" fmla="*/ 324 h 406"/>
                <a:gd name="T14" fmla="*/ 22 w 1478"/>
                <a:gd name="T15" fmla="*/ 310 h 406"/>
                <a:gd name="T16" fmla="*/ 42 w 1478"/>
                <a:gd name="T17" fmla="*/ 302 h 406"/>
                <a:gd name="T18" fmla="*/ 1300 w 1478"/>
                <a:gd name="T19" fmla="*/ 300 h 406"/>
                <a:gd name="T20" fmla="*/ 1316 w 1478"/>
                <a:gd name="T21" fmla="*/ 296 h 406"/>
                <a:gd name="T22" fmla="*/ 1342 w 1478"/>
                <a:gd name="T23" fmla="*/ 286 h 406"/>
                <a:gd name="T24" fmla="*/ 1364 w 1478"/>
                <a:gd name="T25" fmla="*/ 264 h 406"/>
                <a:gd name="T26" fmla="*/ 1372 w 1478"/>
                <a:gd name="T27" fmla="*/ 246 h 406"/>
                <a:gd name="T28" fmla="*/ 1374 w 1478"/>
                <a:gd name="T29" fmla="*/ 226 h 406"/>
                <a:gd name="T30" fmla="*/ 1374 w 1478"/>
                <a:gd name="T31" fmla="*/ 210 h 406"/>
                <a:gd name="T32" fmla="*/ 1366 w 1478"/>
                <a:gd name="T33" fmla="*/ 188 h 406"/>
                <a:gd name="T34" fmla="*/ 1360 w 1478"/>
                <a:gd name="T35" fmla="*/ 180 h 406"/>
                <a:gd name="T36" fmla="*/ 1336 w 1478"/>
                <a:gd name="T37" fmla="*/ 168 h 406"/>
                <a:gd name="T38" fmla="*/ 1318 w 1478"/>
                <a:gd name="T39" fmla="*/ 166 h 406"/>
                <a:gd name="T40" fmla="*/ 1084 w 1478"/>
                <a:gd name="T41" fmla="*/ 166 h 406"/>
                <a:gd name="T42" fmla="*/ 1052 w 1478"/>
                <a:gd name="T43" fmla="*/ 162 h 406"/>
                <a:gd name="T44" fmla="*/ 1028 w 1478"/>
                <a:gd name="T45" fmla="*/ 152 h 406"/>
                <a:gd name="T46" fmla="*/ 1002 w 1478"/>
                <a:gd name="T47" fmla="*/ 134 h 406"/>
                <a:gd name="T48" fmla="*/ 990 w 1478"/>
                <a:gd name="T49" fmla="*/ 122 h 406"/>
                <a:gd name="T50" fmla="*/ 976 w 1478"/>
                <a:gd name="T51" fmla="*/ 94 h 406"/>
                <a:gd name="T52" fmla="*/ 970 w 1478"/>
                <a:gd name="T53" fmla="*/ 68 h 406"/>
                <a:gd name="T54" fmla="*/ 970 w 1478"/>
                <a:gd name="T55" fmla="*/ 52 h 406"/>
                <a:gd name="T56" fmla="*/ 974 w 1478"/>
                <a:gd name="T57" fmla="*/ 32 h 406"/>
                <a:gd name="T58" fmla="*/ 984 w 1478"/>
                <a:gd name="T59" fmla="*/ 14 h 406"/>
                <a:gd name="T60" fmla="*/ 1002 w 1478"/>
                <a:gd name="T61" fmla="*/ 4 h 406"/>
                <a:gd name="T62" fmla="*/ 1022 w 1478"/>
                <a:gd name="T63" fmla="*/ 0 h 406"/>
                <a:gd name="T64" fmla="*/ 1032 w 1478"/>
                <a:gd name="T65" fmla="*/ 0 h 406"/>
                <a:gd name="T66" fmla="*/ 1052 w 1478"/>
                <a:gd name="T67" fmla="*/ 8 h 406"/>
                <a:gd name="T68" fmla="*/ 1066 w 1478"/>
                <a:gd name="T69" fmla="*/ 22 h 406"/>
                <a:gd name="T70" fmla="*/ 1074 w 1478"/>
                <a:gd name="T71" fmla="*/ 42 h 406"/>
                <a:gd name="T72" fmla="*/ 1074 w 1478"/>
                <a:gd name="T73" fmla="*/ 52 h 406"/>
                <a:gd name="T74" fmla="*/ 1076 w 1478"/>
                <a:gd name="T75" fmla="*/ 60 h 406"/>
                <a:gd name="T76" fmla="*/ 1314 w 1478"/>
                <a:gd name="T77" fmla="*/ 60 h 406"/>
                <a:gd name="T78" fmla="*/ 1328 w 1478"/>
                <a:gd name="T79" fmla="*/ 60 h 406"/>
                <a:gd name="T80" fmla="*/ 1356 w 1478"/>
                <a:gd name="T81" fmla="*/ 64 h 406"/>
                <a:gd name="T82" fmla="*/ 1394 w 1478"/>
                <a:gd name="T83" fmla="*/ 78 h 406"/>
                <a:gd name="T84" fmla="*/ 1432 w 1478"/>
                <a:gd name="T85" fmla="*/ 104 h 406"/>
                <a:gd name="T86" fmla="*/ 1440 w 1478"/>
                <a:gd name="T87" fmla="*/ 112 h 406"/>
                <a:gd name="T88" fmla="*/ 1456 w 1478"/>
                <a:gd name="T89" fmla="*/ 134 h 406"/>
                <a:gd name="T90" fmla="*/ 1470 w 1478"/>
                <a:gd name="T91" fmla="*/ 164 h 406"/>
                <a:gd name="T92" fmla="*/ 1478 w 1478"/>
                <a:gd name="T93" fmla="*/ 202 h 406"/>
                <a:gd name="T94" fmla="*/ 1478 w 1478"/>
                <a:gd name="T95" fmla="*/ 226 h 406"/>
                <a:gd name="T96" fmla="*/ 1474 w 1478"/>
                <a:gd name="T97" fmla="*/ 272 h 406"/>
                <a:gd name="T98" fmla="*/ 1460 w 1478"/>
                <a:gd name="T99" fmla="*/ 310 h 406"/>
                <a:gd name="T100" fmla="*/ 1440 w 1478"/>
                <a:gd name="T101" fmla="*/ 340 h 406"/>
                <a:gd name="T102" fmla="*/ 1414 w 1478"/>
                <a:gd name="T103" fmla="*/ 364 h 406"/>
                <a:gd name="T104" fmla="*/ 1386 w 1478"/>
                <a:gd name="T105" fmla="*/ 382 h 406"/>
                <a:gd name="T106" fmla="*/ 1356 w 1478"/>
                <a:gd name="T107" fmla="*/ 394 h 406"/>
                <a:gd name="T108" fmla="*/ 1302 w 1478"/>
                <a:gd name="T109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78" h="406">
                  <a:moveTo>
                    <a:pt x="52" y="406"/>
                  </a:moveTo>
                  <a:lnTo>
                    <a:pt x="52" y="406"/>
                  </a:lnTo>
                  <a:lnTo>
                    <a:pt x="42" y="404"/>
                  </a:lnTo>
                  <a:lnTo>
                    <a:pt x="32" y="402"/>
                  </a:lnTo>
                  <a:lnTo>
                    <a:pt x="22" y="396"/>
                  </a:lnTo>
                  <a:lnTo>
                    <a:pt x="14" y="390"/>
                  </a:lnTo>
                  <a:lnTo>
                    <a:pt x="8" y="382"/>
                  </a:lnTo>
                  <a:lnTo>
                    <a:pt x="4" y="374"/>
                  </a:lnTo>
                  <a:lnTo>
                    <a:pt x="0" y="364"/>
                  </a:lnTo>
                  <a:lnTo>
                    <a:pt x="0" y="352"/>
                  </a:lnTo>
                  <a:lnTo>
                    <a:pt x="0" y="352"/>
                  </a:lnTo>
                  <a:lnTo>
                    <a:pt x="0" y="342"/>
                  </a:lnTo>
                  <a:lnTo>
                    <a:pt x="4" y="332"/>
                  </a:lnTo>
                  <a:lnTo>
                    <a:pt x="8" y="324"/>
                  </a:lnTo>
                  <a:lnTo>
                    <a:pt x="14" y="316"/>
                  </a:lnTo>
                  <a:lnTo>
                    <a:pt x="22" y="310"/>
                  </a:lnTo>
                  <a:lnTo>
                    <a:pt x="32" y="304"/>
                  </a:lnTo>
                  <a:lnTo>
                    <a:pt x="42" y="302"/>
                  </a:lnTo>
                  <a:lnTo>
                    <a:pt x="52" y="300"/>
                  </a:lnTo>
                  <a:lnTo>
                    <a:pt x="1300" y="300"/>
                  </a:lnTo>
                  <a:lnTo>
                    <a:pt x="1300" y="300"/>
                  </a:lnTo>
                  <a:lnTo>
                    <a:pt x="1316" y="296"/>
                  </a:lnTo>
                  <a:lnTo>
                    <a:pt x="1330" y="292"/>
                  </a:lnTo>
                  <a:lnTo>
                    <a:pt x="1342" y="286"/>
                  </a:lnTo>
                  <a:lnTo>
                    <a:pt x="1354" y="276"/>
                  </a:lnTo>
                  <a:lnTo>
                    <a:pt x="1364" y="264"/>
                  </a:lnTo>
                  <a:lnTo>
                    <a:pt x="1368" y="256"/>
                  </a:lnTo>
                  <a:lnTo>
                    <a:pt x="1372" y="246"/>
                  </a:lnTo>
                  <a:lnTo>
                    <a:pt x="1374" y="236"/>
                  </a:lnTo>
                  <a:lnTo>
                    <a:pt x="1374" y="226"/>
                  </a:lnTo>
                  <a:lnTo>
                    <a:pt x="1374" y="226"/>
                  </a:lnTo>
                  <a:lnTo>
                    <a:pt x="1374" y="210"/>
                  </a:lnTo>
                  <a:lnTo>
                    <a:pt x="1370" y="198"/>
                  </a:lnTo>
                  <a:lnTo>
                    <a:pt x="1366" y="188"/>
                  </a:lnTo>
                  <a:lnTo>
                    <a:pt x="1360" y="180"/>
                  </a:lnTo>
                  <a:lnTo>
                    <a:pt x="1360" y="180"/>
                  </a:lnTo>
                  <a:lnTo>
                    <a:pt x="1348" y="172"/>
                  </a:lnTo>
                  <a:lnTo>
                    <a:pt x="1336" y="168"/>
                  </a:lnTo>
                  <a:lnTo>
                    <a:pt x="1326" y="166"/>
                  </a:lnTo>
                  <a:lnTo>
                    <a:pt x="1318" y="166"/>
                  </a:lnTo>
                  <a:lnTo>
                    <a:pt x="1084" y="166"/>
                  </a:lnTo>
                  <a:lnTo>
                    <a:pt x="1084" y="166"/>
                  </a:lnTo>
                  <a:lnTo>
                    <a:pt x="1072" y="166"/>
                  </a:lnTo>
                  <a:lnTo>
                    <a:pt x="1052" y="162"/>
                  </a:lnTo>
                  <a:lnTo>
                    <a:pt x="1040" y="158"/>
                  </a:lnTo>
                  <a:lnTo>
                    <a:pt x="1028" y="152"/>
                  </a:lnTo>
                  <a:lnTo>
                    <a:pt x="1014" y="146"/>
                  </a:lnTo>
                  <a:lnTo>
                    <a:pt x="1002" y="134"/>
                  </a:lnTo>
                  <a:lnTo>
                    <a:pt x="1002" y="134"/>
                  </a:lnTo>
                  <a:lnTo>
                    <a:pt x="990" y="122"/>
                  </a:lnTo>
                  <a:lnTo>
                    <a:pt x="980" y="104"/>
                  </a:lnTo>
                  <a:lnTo>
                    <a:pt x="976" y="94"/>
                  </a:lnTo>
                  <a:lnTo>
                    <a:pt x="972" y="80"/>
                  </a:lnTo>
                  <a:lnTo>
                    <a:pt x="970" y="68"/>
                  </a:lnTo>
                  <a:lnTo>
                    <a:pt x="970" y="52"/>
                  </a:lnTo>
                  <a:lnTo>
                    <a:pt x="970" y="52"/>
                  </a:lnTo>
                  <a:lnTo>
                    <a:pt x="970" y="42"/>
                  </a:lnTo>
                  <a:lnTo>
                    <a:pt x="974" y="32"/>
                  </a:lnTo>
                  <a:lnTo>
                    <a:pt x="978" y="22"/>
                  </a:lnTo>
                  <a:lnTo>
                    <a:pt x="984" y="14"/>
                  </a:lnTo>
                  <a:lnTo>
                    <a:pt x="992" y="8"/>
                  </a:lnTo>
                  <a:lnTo>
                    <a:pt x="1002" y="4"/>
                  </a:lnTo>
                  <a:lnTo>
                    <a:pt x="1012" y="0"/>
                  </a:lnTo>
                  <a:lnTo>
                    <a:pt x="1022" y="0"/>
                  </a:lnTo>
                  <a:lnTo>
                    <a:pt x="1022" y="0"/>
                  </a:lnTo>
                  <a:lnTo>
                    <a:pt x="1032" y="0"/>
                  </a:lnTo>
                  <a:lnTo>
                    <a:pt x="1042" y="4"/>
                  </a:lnTo>
                  <a:lnTo>
                    <a:pt x="1052" y="8"/>
                  </a:lnTo>
                  <a:lnTo>
                    <a:pt x="1060" y="14"/>
                  </a:lnTo>
                  <a:lnTo>
                    <a:pt x="1066" y="22"/>
                  </a:lnTo>
                  <a:lnTo>
                    <a:pt x="1070" y="32"/>
                  </a:lnTo>
                  <a:lnTo>
                    <a:pt x="1074" y="42"/>
                  </a:lnTo>
                  <a:lnTo>
                    <a:pt x="1074" y="52"/>
                  </a:lnTo>
                  <a:lnTo>
                    <a:pt x="1074" y="52"/>
                  </a:lnTo>
                  <a:lnTo>
                    <a:pt x="1076" y="60"/>
                  </a:lnTo>
                  <a:lnTo>
                    <a:pt x="1076" y="60"/>
                  </a:lnTo>
                  <a:lnTo>
                    <a:pt x="1082" y="60"/>
                  </a:lnTo>
                  <a:lnTo>
                    <a:pt x="1314" y="60"/>
                  </a:lnTo>
                  <a:lnTo>
                    <a:pt x="1314" y="60"/>
                  </a:lnTo>
                  <a:lnTo>
                    <a:pt x="1328" y="60"/>
                  </a:lnTo>
                  <a:lnTo>
                    <a:pt x="1340" y="62"/>
                  </a:lnTo>
                  <a:lnTo>
                    <a:pt x="1356" y="64"/>
                  </a:lnTo>
                  <a:lnTo>
                    <a:pt x="1374" y="70"/>
                  </a:lnTo>
                  <a:lnTo>
                    <a:pt x="1394" y="78"/>
                  </a:lnTo>
                  <a:lnTo>
                    <a:pt x="1412" y="88"/>
                  </a:lnTo>
                  <a:lnTo>
                    <a:pt x="1432" y="104"/>
                  </a:lnTo>
                  <a:lnTo>
                    <a:pt x="1432" y="104"/>
                  </a:lnTo>
                  <a:lnTo>
                    <a:pt x="1440" y="112"/>
                  </a:lnTo>
                  <a:lnTo>
                    <a:pt x="1448" y="122"/>
                  </a:lnTo>
                  <a:lnTo>
                    <a:pt x="1456" y="134"/>
                  </a:lnTo>
                  <a:lnTo>
                    <a:pt x="1464" y="148"/>
                  </a:lnTo>
                  <a:lnTo>
                    <a:pt x="1470" y="164"/>
                  </a:lnTo>
                  <a:lnTo>
                    <a:pt x="1474" y="182"/>
                  </a:lnTo>
                  <a:lnTo>
                    <a:pt x="1478" y="202"/>
                  </a:lnTo>
                  <a:lnTo>
                    <a:pt x="1478" y="226"/>
                  </a:lnTo>
                  <a:lnTo>
                    <a:pt x="1478" y="226"/>
                  </a:lnTo>
                  <a:lnTo>
                    <a:pt x="1478" y="250"/>
                  </a:lnTo>
                  <a:lnTo>
                    <a:pt x="1474" y="272"/>
                  </a:lnTo>
                  <a:lnTo>
                    <a:pt x="1468" y="292"/>
                  </a:lnTo>
                  <a:lnTo>
                    <a:pt x="1460" y="310"/>
                  </a:lnTo>
                  <a:lnTo>
                    <a:pt x="1450" y="326"/>
                  </a:lnTo>
                  <a:lnTo>
                    <a:pt x="1440" y="340"/>
                  </a:lnTo>
                  <a:lnTo>
                    <a:pt x="1426" y="352"/>
                  </a:lnTo>
                  <a:lnTo>
                    <a:pt x="1414" y="364"/>
                  </a:lnTo>
                  <a:lnTo>
                    <a:pt x="1400" y="374"/>
                  </a:lnTo>
                  <a:lnTo>
                    <a:pt x="1386" y="382"/>
                  </a:lnTo>
                  <a:lnTo>
                    <a:pt x="1370" y="388"/>
                  </a:lnTo>
                  <a:lnTo>
                    <a:pt x="1356" y="394"/>
                  </a:lnTo>
                  <a:lnTo>
                    <a:pt x="1328" y="402"/>
                  </a:lnTo>
                  <a:lnTo>
                    <a:pt x="1302" y="406"/>
                  </a:lnTo>
                  <a:lnTo>
                    <a:pt x="52" y="406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Freeform 15"/>
            <p:cNvSpPr>
              <a:spLocks noEditPoints="1"/>
            </p:cNvSpPr>
            <p:nvPr/>
          </p:nvSpPr>
          <p:spPr bwMode="auto">
            <a:xfrm>
              <a:off x="6892717" y="3505013"/>
              <a:ext cx="208337" cy="208337"/>
            </a:xfrm>
            <a:custGeom>
              <a:avLst/>
              <a:gdLst>
                <a:gd name="T0" fmla="*/ 172 w 344"/>
                <a:gd name="T1" fmla="*/ 344 h 344"/>
                <a:gd name="T2" fmla="*/ 172 w 344"/>
                <a:gd name="T3" fmla="*/ 344 h 344"/>
                <a:gd name="T4" fmla="*/ 142 w 344"/>
                <a:gd name="T5" fmla="*/ 334 h 344"/>
                <a:gd name="T6" fmla="*/ 124 w 344"/>
                <a:gd name="T7" fmla="*/ 312 h 344"/>
                <a:gd name="T8" fmla="*/ 118 w 344"/>
                <a:gd name="T9" fmla="*/ 300 h 344"/>
                <a:gd name="T10" fmla="*/ 102 w 344"/>
                <a:gd name="T11" fmla="*/ 278 h 344"/>
                <a:gd name="T12" fmla="*/ 72 w 344"/>
                <a:gd name="T13" fmla="*/ 248 h 344"/>
                <a:gd name="T14" fmla="*/ 28 w 344"/>
                <a:gd name="T15" fmla="*/ 218 h 344"/>
                <a:gd name="T16" fmla="*/ 16 w 344"/>
                <a:gd name="T17" fmla="*/ 210 h 344"/>
                <a:gd name="T18" fmla="*/ 2 w 344"/>
                <a:gd name="T19" fmla="*/ 186 h 344"/>
                <a:gd name="T20" fmla="*/ 0 w 344"/>
                <a:gd name="T21" fmla="*/ 172 h 344"/>
                <a:gd name="T22" fmla="*/ 8 w 344"/>
                <a:gd name="T23" fmla="*/ 144 h 344"/>
                <a:gd name="T24" fmla="*/ 30 w 344"/>
                <a:gd name="T25" fmla="*/ 124 h 344"/>
                <a:gd name="T26" fmla="*/ 54 w 344"/>
                <a:gd name="T27" fmla="*/ 112 h 344"/>
                <a:gd name="T28" fmla="*/ 90 w 344"/>
                <a:gd name="T29" fmla="*/ 82 h 344"/>
                <a:gd name="T30" fmla="*/ 112 w 344"/>
                <a:gd name="T31" fmla="*/ 54 h 344"/>
                <a:gd name="T32" fmla="*/ 124 w 344"/>
                <a:gd name="T33" fmla="*/ 34 h 344"/>
                <a:gd name="T34" fmla="*/ 126 w 344"/>
                <a:gd name="T35" fmla="*/ 26 h 344"/>
                <a:gd name="T36" fmla="*/ 142 w 344"/>
                <a:gd name="T37" fmla="*/ 10 h 344"/>
                <a:gd name="T38" fmla="*/ 164 w 344"/>
                <a:gd name="T39" fmla="*/ 2 h 344"/>
                <a:gd name="T40" fmla="*/ 172 w 344"/>
                <a:gd name="T41" fmla="*/ 0 h 344"/>
                <a:gd name="T42" fmla="*/ 172 w 344"/>
                <a:gd name="T43" fmla="*/ 0 h 344"/>
                <a:gd name="T44" fmla="*/ 188 w 344"/>
                <a:gd name="T45" fmla="*/ 2 h 344"/>
                <a:gd name="T46" fmla="*/ 214 w 344"/>
                <a:gd name="T47" fmla="*/ 20 h 344"/>
                <a:gd name="T48" fmla="*/ 222 w 344"/>
                <a:gd name="T49" fmla="*/ 34 h 344"/>
                <a:gd name="T50" fmla="*/ 226 w 344"/>
                <a:gd name="T51" fmla="*/ 44 h 344"/>
                <a:gd name="T52" fmla="*/ 242 w 344"/>
                <a:gd name="T53" fmla="*/ 68 h 344"/>
                <a:gd name="T54" fmla="*/ 270 w 344"/>
                <a:gd name="T55" fmla="*/ 96 h 344"/>
                <a:gd name="T56" fmla="*/ 314 w 344"/>
                <a:gd name="T57" fmla="*/ 124 h 344"/>
                <a:gd name="T58" fmla="*/ 328 w 344"/>
                <a:gd name="T59" fmla="*/ 134 h 344"/>
                <a:gd name="T60" fmla="*/ 342 w 344"/>
                <a:gd name="T61" fmla="*/ 160 h 344"/>
                <a:gd name="T62" fmla="*/ 344 w 344"/>
                <a:gd name="T63" fmla="*/ 176 h 344"/>
                <a:gd name="T64" fmla="*/ 340 w 344"/>
                <a:gd name="T65" fmla="*/ 190 h 344"/>
                <a:gd name="T66" fmla="*/ 322 w 344"/>
                <a:gd name="T67" fmla="*/ 214 h 344"/>
                <a:gd name="T68" fmla="*/ 308 w 344"/>
                <a:gd name="T69" fmla="*/ 222 h 344"/>
                <a:gd name="T70" fmla="*/ 276 w 344"/>
                <a:gd name="T71" fmla="*/ 240 h 344"/>
                <a:gd name="T72" fmla="*/ 250 w 344"/>
                <a:gd name="T73" fmla="*/ 266 h 344"/>
                <a:gd name="T74" fmla="*/ 232 w 344"/>
                <a:gd name="T75" fmla="*/ 292 h 344"/>
                <a:gd name="T76" fmla="*/ 220 w 344"/>
                <a:gd name="T77" fmla="*/ 312 h 344"/>
                <a:gd name="T78" fmla="*/ 200 w 344"/>
                <a:gd name="T79" fmla="*/ 336 h 344"/>
                <a:gd name="T80" fmla="*/ 172 w 344"/>
                <a:gd name="T81" fmla="*/ 344 h 344"/>
                <a:gd name="T82" fmla="*/ 146 w 344"/>
                <a:gd name="T83" fmla="*/ 172 h 344"/>
                <a:gd name="T84" fmla="*/ 170 w 344"/>
                <a:gd name="T85" fmla="*/ 196 h 344"/>
                <a:gd name="T86" fmla="*/ 196 w 344"/>
                <a:gd name="T87" fmla="*/ 170 h 344"/>
                <a:gd name="T88" fmla="*/ 172 w 344"/>
                <a:gd name="T89" fmla="*/ 148 h 344"/>
                <a:gd name="T90" fmla="*/ 146 w 344"/>
                <a:gd name="T91" fmla="*/ 172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44" h="344">
                  <a:moveTo>
                    <a:pt x="172" y="344"/>
                  </a:moveTo>
                  <a:lnTo>
                    <a:pt x="172" y="344"/>
                  </a:lnTo>
                  <a:lnTo>
                    <a:pt x="172" y="344"/>
                  </a:lnTo>
                  <a:lnTo>
                    <a:pt x="172" y="344"/>
                  </a:lnTo>
                  <a:lnTo>
                    <a:pt x="156" y="342"/>
                  </a:lnTo>
                  <a:lnTo>
                    <a:pt x="142" y="334"/>
                  </a:lnTo>
                  <a:lnTo>
                    <a:pt x="132" y="324"/>
                  </a:lnTo>
                  <a:lnTo>
                    <a:pt x="124" y="312"/>
                  </a:lnTo>
                  <a:lnTo>
                    <a:pt x="124" y="312"/>
                  </a:lnTo>
                  <a:lnTo>
                    <a:pt x="118" y="300"/>
                  </a:lnTo>
                  <a:lnTo>
                    <a:pt x="112" y="290"/>
                  </a:lnTo>
                  <a:lnTo>
                    <a:pt x="102" y="278"/>
                  </a:lnTo>
                  <a:lnTo>
                    <a:pt x="90" y="264"/>
                  </a:lnTo>
                  <a:lnTo>
                    <a:pt x="72" y="248"/>
                  </a:lnTo>
                  <a:lnTo>
                    <a:pt x="52" y="232"/>
                  </a:lnTo>
                  <a:lnTo>
                    <a:pt x="28" y="218"/>
                  </a:lnTo>
                  <a:lnTo>
                    <a:pt x="28" y="218"/>
                  </a:lnTo>
                  <a:lnTo>
                    <a:pt x="16" y="210"/>
                  </a:lnTo>
                  <a:lnTo>
                    <a:pt x="8" y="198"/>
                  </a:lnTo>
                  <a:lnTo>
                    <a:pt x="2" y="186"/>
                  </a:lnTo>
                  <a:lnTo>
                    <a:pt x="0" y="172"/>
                  </a:lnTo>
                  <a:lnTo>
                    <a:pt x="0" y="172"/>
                  </a:lnTo>
                  <a:lnTo>
                    <a:pt x="2" y="156"/>
                  </a:lnTo>
                  <a:lnTo>
                    <a:pt x="8" y="144"/>
                  </a:lnTo>
                  <a:lnTo>
                    <a:pt x="18" y="132"/>
                  </a:lnTo>
                  <a:lnTo>
                    <a:pt x="30" y="124"/>
                  </a:lnTo>
                  <a:lnTo>
                    <a:pt x="30" y="124"/>
                  </a:lnTo>
                  <a:lnTo>
                    <a:pt x="54" y="112"/>
                  </a:lnTo>
                  <a:lnTo>
                    <a:pt x="74" y="96"/>
                  </a:lnTo>
                  <a:lnTo>
                    <a:pt x="90" y="82"/>
                  </a:lnTo>
                  <a:lnTo>
                    <a:pt x="102" y="68"/>
                  </a:lnTo>
                  <a:lnTo>
                    <a:pt x="112" y="54"/>
                  </a:lnTo>
                  <a:lnTo>
                    <a:pt x="118" y="44"/>
                  </a:lnTo>
                  <a:lnTo>
                    <a:pt x="124" y="34"/>
                  </a:lnTo>
                  <a:lnTo>
                    <a:pt x="124" y="34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42" y="10"/>
                  </a:lnTo>
                  <a:lnTo>
                    <a:pt x="156" y="2"/>
                  </a:lnTo>
                  <a:lnTo>
                    <a:pt x="164" y="2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180" y="2"/>
                  </a:lnTo>
                  <a:lnTo>
                    <a:pt x="188" y="2"/>
                  </a:lnTo>
                  <a:lnTo>
                    <a:pt x="202" y="10"/>
                  </a:lnTo>
                  <a:lnTo>
                    <a:pt x="214" y="20"/>
                  </a:lnTo>
                  <a:lnTo>
                    <a:pt x="218" y="28"/>
                  </a:lnTo>
                  <a:lnTo>
                    <a:pt x="222" y="34"/>
                  </a:lnTo>
                  <a:lnTo>
                    <a:pt x="222" y="34"/>
                  </a:lnTo>
                  <a:lnTo>
                    <a:pt x="226" y="44"/>
                  </a:lnTo>
                  <a:lnTo>
                    <a:pt x="232" y="56"/>
                  </a:lnTo>
                  <a:lnTo>
                    <a:pt x="242" y="68"/>
                  </a:lnTo>
                  <a:lnTo>
                    <a:pt x="254" y="82"/>
                  </a:lnTo>
                  <a:lnTo>
                    <a:pt x="270" y="96"/>
                  </a:lnTo>
                  <a:lnTo>
                    <a:pt x="290" y="112"/>
                  </a:lnTo>
                  <a:lnTo>
                    <a:pt x="314" y="124"/>
                  </a:lnTo>
                  <a:lnTo>
                    <a:pt x="314" y="124"/>
                  </a:lnTo>
                  <a:lnTo>
                    <a:pt x="328" y="134"/>
                  </a:lnTo>
                  <a:lnTo>
                    <a:pt x="336" y="146"/>
                  </a:lnTo>
                  <a:lnTo>
                    <a:pt x="342" y="160"/>
                  </a:lnTo>
                  <a:lnTo>
                    <a:pt x="344" y="176"/>
                  </a:lnTo>
                  <a:lnTo>
                    <a:pt x="344" y="176"/>
                  </a:lnTo>
                  <a:lnTo>
                    <a:pt x="342" y="184"/>
                  </a:lnTo>
                  <a:lnTo>
                    <a:pt x="340" y="190"/>
                  </a:lnTo>
                  <a:lnTo>
                    <a:pt x="334" y="204"/>
                  </a:lnTo>
                  <a:lnTo>
                    <a:pt x="322" y="214"/>
                  </a:lnTo>
                  <a:lnTo>
                    <a:pt x="308" y="222"/>
                  </a:lnTo>
                  <a:lnTo>
                    <a:pt x="308" y="222"/>
                  </a:lnTo>
                  <a:lnTo>
                    <a:pt x="292" y="230"/>
                  </a:lnTo>
                  <a:lnTo>
                    <a:pt x="276" y="240"/>
                  </a:lnTo>
                  <a:lnTo>
                    <a:pt x="262" y="252"/>
                  </a:lnTo>
                  <a:lnTo>
                    <a:pt x="250" y="266"/>
                  </a:lnTo>
                  <a:lnTo>
                    <a:pt x="240" y="278"/>
                  </a:lnTo>
                  <a:lnTo>
                    <a:pt x="232" y="292"/>
                  </a:lnTo>
                  <a:lnTo>
                    <a:pt x="220" y="312"/>
                  </a:lnTo>
                  <a:lnTo>
                    <a:pt x="220" y="312"/>
                  </a:lnTo>
                  <a:lnTo>
                    <a:pt x="212" y="326"/>
                  </a:lnTo>
                  <a:lnTo>
                    <a:pt x="200" y="336"/>
                  </a:lnTo>
                  <a:lnTo>
                    <a:pt x="188" y="342"/>
                  </a:lnTo>
                  <a:lnTo>
                    <a:pt x="172" y="344"/>
                  </a:lnTo>
                  <a:lnTo>
                    <a:pt x="172" y="344"/>
                  </a:lnTo>
                  <a:close/>
                  <a:moveTo>
                    <a:pt x="146" y="172"/>
                  </a:moveTo>
                  <a:lnTo>
                    <a:pt x="146" y="172"/>
                  </a:lnTo>
                  <a:lnTo>
                    <a:pt x="170" y="196"/>
                  </a:lnTo>
                  <a:lnTo>
                    <a:pt x="170" y="196"/>
                  </a:lnTo>
                  <a:lnTo>
                    <a:pt x="196" y="170"/>
                  </a:lnTo>
                  <a:lnTo>
                    <a:pt x="196" y="170"/>
                  </a:lnTo>
                  <a:lnTo>
                    <a:pt x="172" y="148"/>
                  </a:lnTo>
                  <a:lnTo>
                    <a:pt x="172" y="148"/>
                  </a:lnTo>
                  <a:lnTo>
                    <a:pt x="146" y="172"/>
                  </a:lnTo>
                  <a:lnTo>
                    <a:pt x="146" y="172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Freeform 18"/>
            <p:cNvSpPr>
              <a:spLocks/>
            </p:cNvSpPr>
            <p:nvPr/>
          </p:nvSpPr>
          <p:spPr bwMode="auto">
            <a:xfrm>
              <a:off x="6965393" y="3268818"/>
              <a:ext cx="64197" cy="213182"/>
            </a:xfrm>
            <a:custGeom>
              <a:avLst/>
              <a:gdLst>
                <a:gd name="T0" fmla="*/ 52 w 106"/>
                <a:gd name="T1" fmla="*/ 352 h 352"/>
                <a:gd name="T2" fmla="*/ 52 w 106"/>
                <a:gd name="T3" fmla="*/ 352 h 352"/>
                <a:gd name="T4" fmla="*/ 52 w 106"/>
                <a:gd name="T5" fmla="*/ 352 h 352"/>
                <a:gd name="T6" fmla="*/ 52 w 106"/>
                <a:gd name="T7" fmla="*/ 352 h 352"/>
                <a:gd name="T8" fmla="*/ 40 w 106"/>
                <a:gd name="T9" fmla="*/ 352 h 352"/>
                <a:gd name="T10" fmla="*/ 32 w 106"/>
                <a:gd name="T11" fmla="*/ 348 h 352"/>
                <a:gd name="T12" fmla="*/ 22 w 106"/>
                <a:gd name="T13" fmla="*/ 342 h 352"/>
                <a:gd name="T14" fmla="*/ 14 w 106"/>
                <a:gd name="T15" fmla="*/ 336 h 352"/>
                <a:gd name="T16" fmla="*/ 8 w 106"/>
                <a:gd name="T17" fmla="*/ 328 h 352"/>
                <a:gd name="T18" fmla="*/ 4 w 106"/>
                <a:gd name="T19" fmla="*/ 320 h 352"/>
                <a:gd name="T20" fmla="*/ 0 w 106"/>
                <a:gd name="T21" fmla="*/ 310 h 352"/>
                <a:gd name="T22" fmla="*/ 0 w 106"/>
                <a:gd name="T23" fmla="*/ 300 h 352"/>
                <a:gd name="T24" fmla="*/ 0 w 106"/>
                <a:gd name="T25" fmla="*/ 300 h 352"/>
                <a:gd name="T26" fmla="*/ 0 w 106"/>
                <a:gd name="T27" fmla="*/ 134 h 352"/>
                <a:gd name="T28" fmla="*/ 0 w 106"/>
                <a:gd name="T29" fmla="*/ 44 h 352"/>
                <a:gd name="T30" fmla="*/ 52 w 106"/>
                <a:gd name="T31" fmla="*/ 36 h 352"/>
                <a:gd name="T32" fmla="*/ 90 w 106"/>
                <a:gd name="T33" fmla="*/ 0 h 352"/>
                <a:gd name="T34" fmla="*/ 90 w 106"/>
                <a:gd name="T35" fmla="*/ 0 h 352"/>
                <a:gd name="T36" fmla="*/ 96 w 106"/>
                <a:gd name="T37" fmla="*/ 6 h 352"/>
                <a:gd name="T38" fmla="*/ 100 w 106"/>
                <a:gd name="T39" fmla="*/ 16 h 352"/>
                <a:gd name="T40" fmla="*/ 104 w 106"/>
                <a:gd name="T41" fmla="*/ 28 h 352"/>
                <a:gd name="T42" fmla="*/ 106 w 106"/>
                <a:gd name="T43" fmla="*/ 52 h 352"/>
                <a:gd name="T44" fmla="*/ 106 w 106"/>
                <a:gd name="T45" fmla="*/ 138 h 352"/>
                <a:gd name="T46" fmla="*/ 104 w 106"/>
                <a:gd name="T47" fmla="*/ 300 h 352"/>
                <a:gd name="T48" fmla="*/ 104 w 106"/>
                <a:gd name="T49" fmla="*/ 300 h 352"/>
                <a:gd name="T50" fmla="*/ 104 w 106"/>
                <a:gd name="T51" fmla="*/ 310 h 352"/>
                <a:gd name="T52" fmla="*/ 100 w 106"/>
                <a:gd name="T53" fmla="*/ 320 h 352"/>
                <a:gd name="T54" fmla="*/ 96 w 106"/>
                <a:gd name="T55" fmla="*/ 330 h 352"/>
                <a:gd name="T56" fmla="*/ 88 w 106"/>
                <a:gd name="T57" fmla="*/ 338 h 352"/>
                <a:gd name="T58" fmla="*/ 82 w 106"/>
                <a:gd name="T59" fmla="*/ 344 h 352"/>
                <a:gd name="T60" fmla="*/ 72 w 106"/>
                <a:gd name="T61" fmla="*/ 348 h 352"/>
                <a:gd name="T62" fmla="*/ 62 w 106"/>
                <a:gd name="T63" fmla="*/ 352 h 352"/>
                <a:gd name="T64" fmla="*/ 52 w 106"/>
                <a:gd name="T65" fmla="*/ 352 h 352"/>
                <a:gd name="T66" fmla="*/ 52 w 106"/>
                <a:gd name="T67" fmla="*/ 352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6" h="352">
                  <a:moveTo>
                    <a:pt x="52" y="352"/>
                  </a:moveTo>
                  <a:lnTo>
                    <a:pt x="52" y="352"/>
                  </a:lnTo>
                  <a:lnTo>
                    <a:pt x="52" y="352"/>
                  </a:lnTo>
                  <a:lnTo>
                    <a:pt x="52" y="352"/>
                  </a:lnTo>
                  <a:lnTo>
                    <a:pt x="40" y="352"/>
                  </a:lnTo>
                  <a:lnTo>
                    <a:pt x="32" y="348"/>
                  </a:lnTo>
                  <a:lnTo>
                    <a:pt x="22" y="342"/>
                  </a:lnTo>
                  <a:lnTo>
                    <a:pt x="14" y="336"/>
                  </a:lnTo>
                  <a:lnTo>
                    <a:pt x="8" y="328"/>
                  </a:lnTo>
                  <a:lnTo>
                    <a:pt x="4" y="320"/>
                  </a:lnTo>
                  <a:lnTo>
                    <a:pt x="0" y="310"/>
                  </a:lnTo>
                  <a:lnTo>
                    <a:pt x="0" y="300"/>
                  </a:lnTo>
                  <a:lnTo>
                    <a:pt x="0" y="300"/>
                  </a:lnTo>
                  <a:lnTo>
                    <a:pt x="0" y="134"/>
                  </a:lnTo>
                  <a:lnTo>
                    <a:pt x="0" y="44"/>
                  </a:lnTo>
                  <a:lnTo>
                    <a:pt x="52" y="36"/>
                  </a:lnTo>
                  <a:lnTo>
                    <a:pt x="90" y="0"/>
                  </a:lnTo>
                  <a:lnTo>
                    <a:pt x="90" y="0"/>
                  </a:lnTo>
                  <a:lnTo>
                    <a:pt x="96" y="6"/>
                  </a:lnTo>
                  <a:lnTo>
                    <a:pt x="100" y="16"/>
                  </a:lnTo>
                  <a:lnTo>
                    <a:pt x="104" y="28"/>
                  </a:lnTo>
                  <a:lnTo>
                    <a:pt x="106" y="52"/>
                  </a:lnTo>
                  <a:lnTo>
                    <a:pt x="106" y="138"/>
                  </a:lnTo>
                  <a:lnTo>
                    <a:pt x="104" y="300"/>
                  </a:lnTo>
                  <a:lnTo>
                    <a:pt x="104" y="300"/>
                  </a:lnTo>
                  <a:lnTo>
                    <a:pt x="104" y="310"/>
                  </a:lnTo>
                  <a:lnTo>
                    <a:pt x="100" y="320"/>
                  </a:lnTo>
                  <a:lnTo>
                    <a:pt x="96" y="330"/>
                  </a:lnTo>
                  <a:lnTo>
                    <a:pt x="88" y="338"/>
                  </a:lnTo>
                  <a:lnTo>
                    <a:pt x="82" y="344"/>
                  </a:lnTo>
                  <a:lnTo>
                    <a:pt x="72" y="348"/>
                  </a:lnTo>
                  <a:lnTo>
                    <a:pt x="62" y="352"/>
                  </a:lnTo>
                  <a:lnTo>
                    <a:pt x="52" y="352"/>
                  </a:lnTo>
                  <a:lnTo>
                    <a:pt x="52" y="352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Freeform 19"/>
            <p:cNvSpPr>
              <a:spLocks noEditPoints="1"/>
            </p:cNvSpPr>
            <p:nvPr/>
          </p:nvSpPr>
          <p:spPr bwMode="auto">
            <a:xfrm>
              <a:off x="5077386" y="3609182"/>
              <a:ext cx="186534" cy="185323"/>
            </a:xfrm>
            <a:custGeom>
              <a:avLst/>
              <a:gdLst>
                <a:gd name="T0" fmla="*/ 154 w 308"/>
                <a:gd name="T1" fmla="*/ 306 h 306"/>
                <a:gd name="T2" fmla="*/ 124 w 308"/>
                <a:gd name="T3" fmla="*/ 304 h 306"/>
                <a:gd name="T4" fmla="*/ 94 w 308"/>
                <a:gd name="T5" fmla="*/ 294 h 306"/>
                <a:gd name="T6" fmla="*/ 68 w 308"/>
                <a:gd name="T7" fmla="*/ 280 h 306"/>
                <a:gd name="T8" fmla="*/ 46 w 308"/>
                <a:gd name="T9" fmla="*/ 262 h 306"/>
                <a:gd name="T10" fmla="*/ 26 w 308"/>
                <a:gd name="T11" fmla="*/ 240 h 306"/>
                <a:gd name="T12" fmla="*/ 12 w 308"/>
                <a:gd name="T13" fmla="*/ 212 h 306"/>
                <a:gd name="T14" fmla="*/ 4 w 308"/>
                <a:gd name="T15" fmla="*/ 184 h 306"/>
                <a:gd name="T16" fmla="*/ 0 w 308"/>
                <a:gd name="T17" fmla="*/ 154 h 306"/>
                <a:gd name="T18" fmla="*/ 2 w 308"/>
                <a:gd name="T19" fmla="*/ 138 h 306"/>
                <a:gd name="T20" fmla="*/ 8 w 308"/>
                <a:gd name="T21" fmla="*/ 108 h 306"/>
                <a:gd name="T22" fmla="*/ 20 w 308"/>
                <a:gd name="T23" fmla="*/ 80 h 306"/>
                <a:gd name="T24" fmla="*/ 36 w 308"/>
                <a:gd name="T25" fmla="*/ 56 h 306"/>
                <a:gd name="T26" fmla="*/ 56 w 308"/>
                <a:gd name="T27" fmla="*/ 34 h 306"/>
                <a:gd name="T28" fmla="*/ 82 w 308"/>
                <a:gd name="T29" fmla="*/ 18 h 306"/>
                <a:gd name="T30" fmla="*/ 108 w 308"/>
                <a:gd name="T31" fmla="*/ 6 h 306"/>
                <a:gd name="T32" fmla="*/ 138 w 308"/>
                <a:gd name="T33" fmla="*/ 0 h 306"/>
                <a:gd name="T34" fmla="*/ 154 w 308"/>
                <a:gd name="T35" fmla="*/ 0 h 306"/>
                <a:gd name="T36" fmla="*/ 186 w 308"/>
                <a:gd name="T37" fmla="*/ 2 h 306"/>
                <a:gd name="T38" fmla="*/ 214 w 308"/>
                <a:gd name="T39" fmla="*/ 12 h 306"/>
                <a:gd name="T40" fmla="*/ 240 w 308"/>
                <a:gd name="T41" fmla="*/ 26 h 306"/>
                <a:gd name="T42" fmla="*/ 262 w 308"/>
                <a:gd name="T43" fmla="*/ 44 h 306"/>
                <a:gd name="T44" fmla="*/ 282 w 308"/>
                <a:gd name="T45" fmla="*/ 68 h 306"/>
                <a:gd name="T46" fmla="*/ 296 w 308"/>
                <a:gd name="T47" fmla="*/ 94 h 306"/>
                <a:gd name="T48" fmla="*/ 304 w 308"/>
                <a:gd name="T49" fmla="*/ 122 h 306"/>
                <a:gd name="T50" fmla="*/ 308 w 308"/>
                <a:gd name="T51" fmla="*/ 154 h 306"/>
                <a:gd name="T52" fmla="*/ 308 w 308"/>
                <a:gd name="T53" fmla="*/ 168 h 306"/>
                <a:gd name="T54" fmla="*/ 302 w 308"/>
                <a:gd name="T55" fmla="*/ 198 h 306"/>
                <a:gd name="T56" fmla="*/ 290 w 308"/>
                <a:gd name="T57" fmla="*/ 226 h 306"/>
                <a:gd name="T58" fmla="*/ 272 w 308"/>
                <a:gd name="T59" fmla="*/ 250 h 306"/>
                <a:gd name="T60" fmla="*/ 252 w 308"/>
                <a:gd name="T61" fmla="*/ 272 h 306"/>
                <a:gd name="T62" fmla="*/ 228 w 308"/>
                <a:gd name="T63" fmla="*/ 288 h 306"/>
                <a:gd name="T64" fmla="*/ 200 w 308"/>
                <a:gd name="T65" fmla="*/ 300 h 306"/>
                <a:gd name="T66" fmla="*/ 170 w 308"/>
                <a:gd name="T67" fmla="*/ 306 h 306"/>
                <a:gd name="T68" fmla="*/ 154 w 308"/>
                <a:gd name="T69" fmla="*/ 306 h 306"/>
                <a:gd name="T70" fmla="*/ 154 w 308"/>
                <a:gd name="T71" fmla="*/ 104 h 306"/>
                <a:gd name="T72" fmla="*/ 136 w 308"/>
                <a:gd name="T73" fmla="*/ 108 h 306"/>
                <a:gd name="T74" fmla="*/ 120 w 308"/>
                <a:gd name="T75" fmla="*/ 118 h 306"/>
                <a:gd name="T76" fmla="*/ 110 w 308"/>
                <a:gd name="T77" fmla="*/ 134 h 306"/>
                <a:gd name="T78" fmla="*/ 106 w 308"/>
                <a:gd name="T79" fmla="*/ 154 h 306"/>
                <a:gd name="T80" fmla="*/ 106 w 308"/>
                <a:gd name="T81" fmla="*/ 164 h 306"/>
                <a:gd name="T82" fmla="*/ 114 w 308"/>
                <a:gd name="T83" fmla="*/ 180 h 306"/>
                <a:gd name="T84" fmla="*/ 128 w 308"/>
                <a:gd name="T85" fmla="*/ 194 h 306"/>
                <a:gd name="T86" fmla="*/ 144 w 308"/>
                <a:gd name="T87" fmla="*/ 200 h 306"/>
                <a:gd name="T88" fmla="*/ 154 w 308"/>
                <a:gd name="T89" fmla="*/ 202 h 306"/>
                <a:gd name="T90" fmla="*/ 174 w 308"/>
                <a:gd name="T91" fmla="*/ 198 h 306"/>
                <a:gd name="T92" fmla="*/ 188 w 308"/>
                <a:gd name="T93" fmla="*/ 188 h 306"/>
                <a:gd name="T94" fmla="*/ 200 w 308"/>
                <a:gd name="T95" fmla="*/ 172 h 306"/>
                <a:gd name="T96" fmla="*/ 202 w 308"/>
                <a:gd name="T97" fmla="*/ 154 h 306"/>
                <a:gd name="T98" fmla="*/ 202 w 308"/>
                <a:gd name="T99" fmla="*/ 144 h 306"/>
                <a:gd name="T100" fmla="*/ 194 w 308"/>
                <a:gd name="T101" fmla="*/ 126 h 306"/>
                <a:gd name="T102" fmla="*/ 182 w 308"/>
                <a:gd name="T103" fmla="*/ 112 h 306"/>
                <a:gd name="T104" fmla="*/ 164 w 308"/>
                <a:gd name="T105" fmla="*/ 106 h 306"/>
                <a:gd name="T106" fmla="*/ 154 w 308"/>
                <a:gd name="T107" fmla="*/ 104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08" h="306">
                  <a:moveTo>
                    <a:pt x="154" y="306"/>
                  </a:moveTo>
                  <a:lnTo>
                    <a:pt x="154" y="306"/>
                  </a:lnTo>
                  <a:lnTo>
                    <a:pt x="138" y="306"/>
                  </a:lnTo>
                  <a:lnTo>
                    <a:pt x="124" y="304"/>
                  </a:lnTo>
                  <a:lnTo>
                    <a:pt x="108" y="300"/>
                  </a:lnTo>
                  <a:lnTo>
                    <a:pt x="94" y="294"/>
                  </a:lnTo>
                  <a:lnTo>
                    <a:pt x="82" y="288"/>
                  </a:lnTo>
                  <a:lnTo>
                    <a:pt x="68" y="280"/>
                  </a:lnTo>
                  <a:lnTo>
                    <a:pt x="56" y="272"/>
                  </a:lnTo>
                  <a:lnTo>
                    <a:pt x="46" y="262"/>
                  </a:lnTo>
                  <a:lnTo>
                    <a:pt x="36" y="250"/>
                  </a:lnTo>
                  <a:lnTo>
                    <a:pt x="26" y="240"/>
                  </a:lnTo>
                  <a:lnTo>
                    <a:pt x="20" y="226"/>
                  </a:lnTo>
                  <a:lnTo>
                    <a:pt x="12" y="212"/>
                  </a:lnTo>
                  <a:lnTo>
                    <a:pt x="8" y="198"/>
                  </a:lnTo>
                  <a:lnTo>
                    <a:pt x="4" y="184"/>
                  </a:lnTo>
                  <a:lnTo>
                    <a:pt x="2" y="168"/>
                  </a:lnTo>
                  <a:lnTo>
                    <a:pt x="0" y="154"/>
                  </a:lnTo>
                  <a:lnTo>
                    <a:pt x="0" y="154"/>
                  </a:lnTo>
                  <a:lnTo>
                    <a:pt x="2" y="138"/>
                  </a:lnTo>
                  <a:lnTo>
                    <a:pt x="4" y="122"/>
                  </a:lnTo>
                  <a:lnTo>
                    <a:pt x="8" y="108"/>
                  </a:lnTo>
                  <a:lnTo>
                    <a:pt x="12" y="94"/>
                  </a:lnTo>
                  <a:lnTo>
                    <a:pt x="20" y="80"/>
                  </a:lnTo>
                  <a:lnTo>
                    <a:pt x="26" y="68"/>
                  </a:lnTo>
                  <a:lnTo>
                    <a:pt x="36" y="56"/>
                  </a:lnTo>
                  <a:lnTo>
                    <a:pt x="46" y="44"/>
                  </a:lnTo>
                  <a:lnTo>
                    <a:pt x="56" y="34"/>
                  </a:lnTo>
                  <a:lnTo>
                    <a:pt x="68" y="26"/>
                  </a:lnTo>
                  <a:lnTo>
                    <a:pt x="82" y="18"/>
                  </a:lnTo>
                  <a:lnTo>
                    <a:pt x="94" y="12"/>
                  </a:lnTo>
                  <a:lnTo>
                    <a:pt x="108" y="6"/>
                  </a:lnTo>
                  <a:lnTo>
                    <a:pt x="124" y="2"/>
                  </a:lnTo>
                  <a:lnTo>
                    <a:pt x="138" y="0"/>
                  </a:lnTo>
                  <a:lnTo>
                    <a:pt x="154" y="0"/>
                  </a:lnTo>
                  <a:lnTo>
                    <a:pt x="154" y="0"/>
                  </a:lnTo>
                  <a:lnTo>
                    <a:pt x="170" y="0"/>
                  </a:lnTo>
                  <a:lnTo>
                    <a:pt x="186" y="2"/>
                  </a:lnTo>
                  <a:lnTo>
                    <a:pt x="200" y="6"/>
                  </a:lnTo>
                  <a:lnTo>
                    <a:pt x="214" y="12"/>
                  </a:lnTo>
                  <a:lnTo>
                    <a:pt x="228" y="18"/>
                  </a:lnTo>
                  <a:lnTo>
                    <a:pt x="240" y="26"/>
                  </a:lnTo>
                  <a:lnTo>
                    <a:pt x="252" y="34"/>
                  </a:lnTo>
                  <a:lnTo>
                    <a:pt x="262" y="44"/>
                  </a:lnTo>
                  <a:lnTo>
                    <a:pt x="272" y="56"/>
                  </a:lnTo>
                  <a:lnTo>
                    <a:pt x="282" y="68"/>
                  </a:lnTo>
                  <a:lnTo>
                    <a:pt x="290" y="80"/>
                  </a:lnTo>
                  <a:lnTo>
                    <a:pt x="296" y="94"/>
                  </a:lnTo>
                  <a:lnTo>
                    <a:pt x="302" y="108"/>
                  </a:lnTo>
                  <a:lnTo>
                    <a:pt x="304" y="122"/>
                  </a:lnTo>
                  <a:lnTo>
                    <a:pt x="308" y="138"/>
                  </a:lnTo>
                  <a:lnTo>
                    <a:pt x="308" y="154"/>
                  </a:lnTo>
                  <a:lnTo>
                    <a:pt x="308" y="154"/>
                  </a:lnTo>
                  <a:lnTo>
                    <a:pt x="308" y="168"/>
                  </a:lnTo>
                  <a:lnTo>
                    <a:pt x="304" y="184"/>
                  </a:lnTo>
                  <a:lnTo>
                    <a:pt x="302" y="198"/>
                  </a:lnTo>
                  <a:lnTo>
                    <a:pt x="296" y="212"/>
                  </a:lnTo>
                  <a:lnTo>
                    <a:pt x="290" y="226"/>
                  </a:lnTo>
                  <a:lnTo>
                    <a:pt x="282" y="240"/>
                  </a:lnTo>
                  <a:lnTo>
                    <a:pt x="272" y="250"/>
                  </a:lnTo>
                  <a:lnTo>
                    <a:pt x="262" y="262"/>
                  </a:lnTo>
                  <a:lnTo>
                    <a:pt x="252" y="272"/>
                  </a:lnTo>
                  <a:lnTo>
                    <a:pt x="240" y="280"/>
                  </a:lnTo>
                  <a:lnTo>
                    <a:pt x="228" y="288"/>
                  </a:lnTo>
                  <a:lnTo>
                    <a:pt x="214" y="294"/>
                  </a:lnTo>
                  <a:lnTo>
                    <a:pt x="200" y="300"/>
                  </a:lnTo>
                  <a:lnTo>
                    <a:pt x="186" y="304"/>
                  </a:lnTo>
                  <a:lnTo>
                    <a:pt x="170" y="306"/>
                  </a:lnTo>
                  <a:lnTo>
                    <a:pt x="154" y="306"/>
                  </a:lnTo>
                  <a:lnTo>
                    <a:pt x="154" y="306"/>
                  </a:lnTo>
                  <a:close/>
                  <a:moveTo>
                    <a:pt x="154" y="104"/>
                  </a:moveTo>
                  <a:lnTo>
                    <a:pt x="154" y="104"/>
                  </a:lnTo>
                  <a:lnTo>
                    <a:pt x="144" y="106"/>
                  </a:lnTo>
                  <a:lnTo>
                    <a:pt x="136" y="108"/>
                  </a:lnTo>
                  <a:lnTo>
                    <a:pt x="128" y="112"/>
                  </a:lnTo>
                  <a:lnTo>
                    <a:pt x="120" y="118"/>
                  </a:lnTo>
                  <a:lnTo>
                    <a:pt x="114" y="126"/>
                  </a:lnTo>
                  <a:lnTo>
                    <a:pt x="110" y="134"/>
                  </a:lnTo>
                  <a:lnTo>
                    <a:pt x="106" y="144"/>
                  </a:lnTo>
                  <a:lnTo>
                    <a:pt x="106" y="154"/>
                  </a:lnTo>
                  <a:lnTo>
                    <a:pt x="106" y="154"/>
                  </a:lnTo>
                  <a:lnTo>
                    <a:pt x="106" y="164"/>
                  </a:lnTo>
                  <a:lnTo>
                    <a:pt x="110" y="172"/>
                  </a:lnTo>
                  <a:lnTo>
                    <a:pt x="114" y="180"/>
                  </a:lnTo>
                  <a:lnTo>
                    <a:pt x="120" y="188"/>
                  </a:lnTo>
                  <a:lnTo>
                    <a:pt x="128" y="194"/>
                  </a:lnTo>
                  <a:lnTo>
                    <a:pt x="136" y="198"/>
                  </a:lnTo>
                  <a:lnTo>
                    <a:pt x="144" y="200"/>
                  </a:lnTo>
                  <a:lnTo>
                    <a:pt x="154" y="202"/>
                  </a:lnTo>
                  <a:lnTo>
                    <a:pt x="154" y="202"/>
                  </a:lnTo>
                  <a:lnTo>
                    <a:pt x="164" y="200"/>
                  </a:lnTo>
                  <a:lnTo>
                    <a:pt x="174" y="198"/>
                  </a:lnTo>
                  <a:lnTo>
                    <a:pt x="182" y="194"/>
                  </a:lnTo>
                  <a:lnTo>
                    <a:pt x="188" y="188"/>
                  </a:lnTo>
                  <a:lnTo>
                    <a:pt x="194" y="180"/>
                  </a:lnTo>
                  <a:lnTo>
                    <a:pt x="200" y="172"/>
                  </a:lnTo>
                  <a:lnTo>
                    <a:pt x="202" y="164"/>
                  </a:lnTo>
                  <a:lnTo>
                    <a:pt x="202" y="154"/>
                  </a:lnTo>
                  <a:lnTo>
                    <a:pt x="202" y="154"/>
                  </a:lnTo>
                  <a:lnTo>
                    <a:pt x="202" y="144"/>
                  </a:lnTo>
                  <a:lnTo>
                    <a:pt x="200" y="134"/>
                  </a:lnTo>
                  <a:lnTo>
                    <a:pt x="194" y="126"/>
                  </a:lnTo>
                  <a:lnTo>
                    <a:pt x="188" y="118"/>
                  </a:lnTo>
                  <a:lnTo>
                    <a:pt x="182" y="112"/>
                  </a:lnTo>
                  <a:lnTo>
                    <a:pt x="174" y="108"/>
                  </a:lnTo>
                  <a:lnTo>
                    <a:pt x="164" y="106"/>
                  </a:lnTo>
                  <a:lnTo>
                    <a:pt x="154" y="104"/>
                  </a:lnTo>
                  <a:lnTo>
                    <a:pt x="154" y="104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Freeform 20"/>
            <p:cNvSpPr>
              <a:spLocks noEditPoints="1"/>
            </p:cNvSpPr>
            <p:nvPr/>
          </p:nvSpPr>
          <p:spPr bwMode="auto">
            <a:xfrm>
              <a:off x="7250039" y="2854566"/>
              <a:ext cx="186534" cy="186534"/>
            </a:xfrm>
            <a:custGeom>
              <a:avLst/>
              <a:gdLst>
                <a:gd name="T0" fmla="*/ 154 w 308"/>
                <a:gd name="T1" fmla="*/ 308 h 308"/>
                <a:gd name="T2" fmla="*/ 122 w 308"/>
                <a:gd name="T3" fmla="*/ 304 h 308"/>
                <a:gd name="T4" fmla="*/ 94 w 308"/>
                <a:gd name="T5" fmla="*/ 296 h 308"/>
                <a:gd name="T6" fmla="*/ 68 w 308"/>
                <a:gd name="T7" fmla="*/ 282 h 308"/>
                <a:gd name="T8" fmla="*/ 44 w 308"/>
                <a:gd name="T9" fmla="*/ 262 h 308"/>
                <a:gd name="T10" fmla="*/ 26 w 308"/>
                <a:gd name="T11" fmla="*/ 240 h 308"/>
                <a:gd name="T12" fmla="*/ 12 w 308"/>
                <a:gd name="T13" fmla="*/ 214 h 308"/>
                <a:gd name="T14" fmla="*/ 2 w 308"/>
                <a:gd name="T15" fmla="*/ 184 h 308"/>
                <a:gd name="T16" fmla="*/ 0 w 308"/>
                <a:gd name="T17" fmla="*/ 154 h 308"/>
                <a:gd name="T18" fmla="*/ 0 w 308"/>
                <a:gd name="T19" fmla="*/ 138 h 308"/>
                <a:gd name="T20" fmla="*/ 6 w 308"/>
                <a:gd name="T21" fmla="*/ 108 h 308"/>
                <a:gd name="T22" fmla="*/ 18 w 308"/>
                <a:gd name="T23" fmla="*/ 80 h 308"/>
                <a:gd name="T24" fmla="*/ 34 w 308"/>
                <a:gd name="T25" fmla="*/ 56 h 308"/>
                <a:gd name="T26" fmla="*/ 56 w 308"/>
                <a:gd name="T27" fmla="*/ 36 h 308"/>
                <a:gd name="T28" fmla="*/ 80 w 308"/>
                <a:gd name="T29" fmla="*/ 18 h 308"/>
                <a:gd name="T30" fmla="*/ 108 w 308"/>
                <a:gd name="T31" fmla="*/ 6 h 308"/>
                <a:gd name="T32" fmla="*/ 138 w 308"/>
                <a:gd name="T33" fmla="*/ 0 h 308"/>
                <a:gd name="T34" fmla="*/ 154 w 308"/>
                <a:gd name="T35" fmla="*/ 0 h 308"/>
                <a:gd name="T36" fmla="*/ 184 w 308"/>
                <a:gd name="T37" fmla="*/ 4 h 308"/>
                <a:gd name="T38" fmla="*/ 214 w 308"/>
                <a:gd name="T39" fmla="*/ 12 h 308"/>
                <a:gd name="T40" fmla="*/ 240 w 308"/>
                <a:gd name="T41" fmla="*/ 26 h 308"/>
                <a:gd name="T42" fmla="*/ 262 w 308"/>
                <a:gd name="T43" fmla="*/ 46 h 308"/>
                <a:gd name="T44" fmla="*/ 280 w 308"/>
                <a:gd name="T45" fmla="*/ 68 h 308"/>
                <a:gd name="T46" fmla="*/ 294 w 308"/>
                <a:gd name="T47" fmla="*/ 94 h 308"/>
                <a:gd name="T48" fmla="*/ 304 w 308"/>
                <a:gd name="T49" fmla="*/ 122 h 308"/>
                <a:gd name="T50" fmla="*/ 308 w 308"/>
                <a:gd name="T51" fmla="*/ 154 h 308"/>
                <a:gd name="T52" fmla="*/ 306 w 308"/>
                <a:gd name="T53" fmla="*/ 170 h 308"/>
                <a:gd name="T54" fmla="*/ 300 w 308"/>
                <a:gd name="T55" fmla="*/ 200 h 308"/>
                <a:gd name="T56" fmla="*/ 288 w 308"/>
                <a:gd name="T57" fmla="*/ 226 h 308"/>
                <a:gd name="T58" fmla="*/ 272 w 308"/>
                <a:gd name="T59" fmla="*/ 252 h 308"/>
                <a:gd name="T60" fmla="*/ 252 w 308"/>
                <a:gd name="T61" fmla="*/ 272 h 308"/>
                <a:gd name="T62" fmla="*/ 226 w 308"/>
                <a:gd name="T63" fmla="*/ 288 h 308"/>
                <a:gd name="T64" fmla="*/ 200 w 308"/>
                <a:gd name="T65" fmla="*/ 300 h 308"/>
                <a:gd name="T66" fmla="*/ 170 w 308"/>
                <a:gd name="T67" fmla="*/ 306 h 308"/>
                <a:gd name="T68" fmla="*/ 154 w 308"/>
                <a:gd name="T69" fmla="*/ 308 h 308"/>
                <a:gd name="T70" fmla="*/ 154 w 308"/>
                <a:gd name="T71" fmla="*/ 104 h 308"/>
                <a:gd name="T72" fmla="*/ 134 w 308"/>
                <a:gd name="T73" fmla="*/ 108 h 308"/>
                <a:gd name="T74" fmla="*/ 120 w 308"/>
                <a:gd name="T75" fmla="*/ 120 h 308"/>
                <a:gd name="T76" fmla="*/ 108 w 308"/>
                <a:gd name="T77" fmla="*/ 134 h 308"/>
                <a:gd name="T78" fmla="*/ 104 w 308"/>
                <a:gd name="T79" fmla="*/ 154 h 308"/>
                <a:gd name="T80" fmla="*/ 106 w 308"/>
                <a:gd name="T81" fmla="*/ 164 h 308"/>
                <a:gd name="T82" fmla="*/ 114 w 308"/>
                <a:gd name="T83" fmla="*/ 180 h 308"/>
                <a:gd name="T84" fmla="*/ 126 w 308"/>
                <a:gd name="T85" fmla="*/ 194 h 308"/>
                <a:gd name="T86" fmla="*/ 144 w 308"/>
                <a:gd name="T87" fmla="*/ 202 h 308"/>
                <a:gd name="T88" fmla="*/ 154 w 308"/>
                <a:gd name="T89" fmla="*/ 202 h 308"/>
                <a:gd name="T90" fmla="*/ 172 w 308"/>
                <a:gd name="T91" fmla="*/ 198 h 308"/>
                <a:gd name="T92" fmla="*/ 188 w 308"/>
                <a:gd name="T93" fmla="*/ 188 h 308"/>
                <a:gd name="T94" fmla="*/ 198 w 308"/>
                <a:gd name="T95" fmla="*/ 172 h 308"/>
                <a:gd name="T96" fmla="*/ 202 w 308"/>
                <a:gd name="T97" fmla="*/ 154 h 308"/>
                <a:gd name="T98" fmla="*/ 202 w 308"/>
                <a:gd name="T99" fmla="*/ 144 h 308"/>
                <a:gd name="T100" fmla="*/ 194 w 308"/>
                <a:gd name="T101" fmla="*/ 126 h 308"/>
                <a:gd name="T102" fmla="*/ 180 w 308"/>
                <a:gd name="T103" fmla="*/ 114 h 308"/>
                <a:gd name="T104" fmla="*/ 164 w 308"/>
                <a:gd name="T105" fmla="*/ 106 h 308"/>
                <a:gd name="T106" fmla="*/ 154 w 308"/>
                <a:gd name="T107" fmla="*/ 104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08" h="308">
                  <a:moveTo>
                    <a:pt x="154" y="308"/>
                  </a:moveTo>
                  <a:lnTo>
                    <a:pt x="154" y="308"/>
                  </a:lnTo>
                  <a:lnTo>
                    <a:pt x="138" y="306"/>
                  </a:lnTo>
                  <a:lnTo>
                    <a:pt x="122" y="304"/>
                  </a:lnTo>
                  <a:lnTo>
                    <a:pt x="108" y="300"/>
                  </a:lnTo>
                  <a:lnTo>
                    <a:pt x="94" y="296"/>
                  </a:lnTo>
                  <a:lnTo>
                    <a:pt x="80" y="288"/>
                  </a:lnTo>
                  <a:lnTo>
                    <a:pt x="68" y="282"/>
                  </a:lnTo>
                  <a:lnTo>
                    <a:pt x="56" y="272"/>
                  </a:lnTo>
                  <a:lnTo>
                    <a:pt x="44" y="262"/>
                  </a:lnTo>
                  <a:lnTo>
                    <a:pt x="34" y="252"/>
                  </a:lnTo>
                  <a:lnTo>
                    <a:pt x="26" y="240"/>
                  </a:lnTo>
                  <a:lnTo>
                    <a:pt x="18" y="226"/>
                  </a:lnTo>
                  <a:lnTo>
                    <a:pt x="12" y="214"/>
                  </a:lnTo>
                  <a:lnTo>
                    <a:pt x="6" y="200"/>
                  </a:lnTo>
                  <a:lnTo>
                    <a:pt x="2" y="184"/>
                  </a:lnTo>
                  <a:lnTo>
                    <a:pt x="0" y="170"/>
                  </a:lnTo>
                  <a:lnTo>
                    <a:pt x="0" y="154"/>
                  </a:lnTo>
                  <a:lnTo>
                    <a:pt x="0" y="154"/>
                  </a:lnTo>
                  <a:lnTo>
                    <a:pt x="0" y="138"/>
                  </a:lnTo>
                  <a:lnTo>
                    <a:pt x="2" y="122"/>
                  </a:lnTo>
                  <a:lnTo>
                    <a:pt x="6" y="108"/>
                  </a:lnTo>
                  <a:lnTo>
                    <a:pt x="12" y="94"/>
                  </a:lnTo>
                  <a:lnTo>
                    <a:pt x="18" y="80"/>
                  </a:lnTo>
                  <a:lnTo>
                    <a:pt x="26" y="68"/>
                  </a:lnTo>
                  <a:lnTo>
                    <a:pt x="34" y="56"/>
                  </a:lnTo>
                  <a:lnTo>
                    <a:pt x="44" y="46"/>
                  </a:lnTo>
                  <a:lnTo>
                    <a:pt x="56" y="36"/>
                  </a:lnTo>
                  <a:lnTo>
                    <a:pt x="68" y="26"/>
                  </a:lnTo>
                  <a:lnTo>
                    <a:pt x="80" y="18"/>
                  </a:lnTo>
                  <a:lnTo>
                    <a:pt x="94" y="12"/>
                  </a:lnTo>
                  <a:lnTo>
                    <a:pt x="108" y="6"/>
                  </a:lnTo>
                  <a:lnTo>
                    <a:pt x="122" y="4"/>
                  </a:lnTo>
                  <a:lnTo>
                    <a:pt x="138" y="0"/>
                  </a:lnTo>
                  <a:lnTo>
                    <a:pt x="154" y="0"/>
                  </a:lnTo>
                  <a:lnTo>
                    <a:pt x="154" y="0"/>
                  </a:lnTo>
                  <a:lnTo>
                    <a:pt x="170" y="0"/>
                  </a:lnTo>
                  <a:lnTo>
                    <a:pt x="184" y="4"/>
                  </a:lnTo>
                  <a:lnTo>
                    <a:pt x="200" y="6"/>
                  </a:lnTo>
                  <a:lnTo>
                    <a:pt x="214" y="12"/>
                  </a:lnTo>
                  <a:lnTo>
                    <a:pt x="226" y="18"/>
                  </a:lnTo>
                  <a:lnTo>
                    <a:pt x="240" y="26"/>
                  </a:lnTo>
                  <a:lnTo>
                    <a:pt x="252" y="36"/>
                  </a:lnTo>
                  <a:lnTo>
                    <a:pt x="262" y="46"/>
                  </a:lnTo>
                  <a:lnTo>
                    <a:pt x="272" y="56"/>
                  </a:lnTo>
                  <a:lnTo>
                    <a:pt x="280" y="68"/>
                  </a:lnTo>
                  <a:lnTo>
                    <a:pt x="288" y="80"/>
                  </a:lnTo>
                  <a:lnTo>
                    <a:pt x="294" y="94"/>
                  </a:lnTo>
                  <a:lnTo>
                    <a:pt x="300" y="108"/>
                  </a:lnTo>
                  <a:lnTo>
                    <a:pt x="304" y="122"/>
                  </a:lnTo>
                  <a:lnTo>
                    <a:pt x="306" y="138"/>
                  </a:lnTo>
                  <a:lnTo>
                    <a:pt x="308" y="154"/>
                  </a:lnTo>
                  <a:lnTo>
                    <a:pt x="308" y="154"/>
                  </a:lnTo>
                  <a:lnTo>
                    <a:pt x="306" y="170"/>
                  </a:lnTo>
                  <a:lnTo>
                    <a:pt x="304" y="184"/>
                  </a:lnTo>
                  <a:lnTo>
                    <a:pt x="300" y="200"/>
                  </a:lnTo>
                  <a:lnTo>
                    <a:pt x="294" y="214"/>
                  </a:lnTo>
                  <a:lnTo>
                    <a:pt x="288" y="226"/>
                  </a:lnTo>
                  <a:lnTo>
                    <a:pt x="280" y="240"/>
                  </a:lnTo>
                  <a:lnTo>
                    <a:pt x="272" y="252"/>
                  </a:lnTo>
                  <a:lnTo>
                    <a:pt x="262" y="262"/>
                  </a:lnTo>
                  <a:lnTo>
                    <a:pt x="252" y="272"/>
                  </a:lnTo>
                  <a:lnTo>
                    <a:pt x="240" y="282"/>
                  </a:lnTo>
                  <a:lnTo>
                    <a:pt x="226" y="288"/>
                  </a:lnTo>
                  <a:lnTo>
                    <a:pt x="214" y="296"/>
                  </a:lnTo>
                  <a:lnTo>
                    <a:pt x="200" y="300"/>
                  </a:lnTo>
                  <a:lnTo>
                    <a:pt x="184" y="304"/>
                  </a:lnTo>
                  <a:lnTo>
                    <a:pt x="170" y="306"/>
                  </a:lnTo>
                  <a:lnTo>
                    <a:pt x="154" y="308"/>
                  </a:lnTo>
                  <a:lnTo>
                    <a:pt x="154" y="308"/>
                  </a:lnTo>
                  <a:close/>
                  <a:moveTo>
                    <a:pt x="154" y="104"/>
                  </a:moveTo>
                  <a:lnTo>
                    <a:pt x="154" y="104"/>
                  </a:lnTo>
                  <a:lnTo>
                    <a:pt x="144" y="106"/>
                  </a:lnTo>
                  <a:lnTo>
                    <a:pt x="134" y="108"/>
                  </a:lnTo>
                  <a:lnTo>
                    <a:pt x="126" y="114"/>
                  </a:lnTo>
                  <a:lnTo>
                    <a:pt x="120" y="120"/>
                  </a:lnTo>
                  <a:lnTo>
                    <a:pt x="114" y="126"/>
                  </a:lnTo>
                  <a:lnTo>
                    <a:pt x="108" y="134"/>
                  </a:lnTo>
                  <a:lnTo>
                    <a:pt x="106" y="144"/>
                  </a:lnTo>
                  <a:lnTo>
                    <a:pt x="104" y="154"/>
                  </a:lnTo>
                  <a:lnTo>
                    <a:pt x="104" y="154"/>
                  </a:lnTo>
                  <a:lnTo>
                    <a:pt x="106" y="164"/>
                  </a:lnTo>
                  <a:lnTo>
                    <a:pt x="108" y="172"/>
                  </a:lnTo>
                  <a:lnTo>
                    <a:pt x="114" y="180"/>
                  </a:lnTo>
                  <a:lnTo>
                    <a:pt x="120" y="188"/>
                  </a:lnTo>
                  <a:lnTo>
                    <a:pt x="126" y="194"/>
                  </a:lnTo>
                  <a:lnTo>
                    <a:pt x="134" y="198"/>
                  </a:lnTo>
                  <a:lnTo>
                    <a:pt x="144" y="202"/>
                  </a:lnTo>
                  <a:lnTo>
                    <a:pt x="154" y="202"/>
                  </a:lnTo>
                  <a:lnTo>
                    <a:pt x="154" y="202"/>
                  </a:lnTo>
                  <a:lnTo>
                    <a:pt x="164" y="202"/>
                  </a:lnTo>
                  <a:lnTo>
                    <a:pt x="172" y="198"/>
                  </a:lnTo>
                  <a:lnTo>
                    <a:pt x="180" y="194"/>
                  </a:lnTo>
                  <a:lnTo>
                    <a:pt x="188" y="188"/>
                  </a:lnTo>
                  <a:lnTo>
                    <a:pt x="194" y="180"/>
                  </a:lnTo>
                  <a:lnTo>
                    <a:pt x="198" y="172"/>
                  </a:lnTo>
                  <a:lnTo>
                    <a:pt x="202" y="164"/>
                  </a:lnTo>
                  <a:lnTo>
                    <a:pt x="202" y="154"/>
                  </a:lnTo>
                  <a:lnTo>
                    <a:pt x="202" y="154"/>
                  </a:lnTo>
                  <a:lnTo>
                    <a:pt x="202" y="144"/>
                  </a:lnTo>
                  <a:lnTo>
                    <a:pt x="198" y="134"/>
                  </a:lnTo>
                  <a:lnTo>
                    <a:pt x="194" y="126"/>
                  </a:lnTo>
                  <a:lnTo>
                    <a:pt x="188" y="120"/>
                  </a:lnTo>
                  <a:lnTo>
                    <a:pt x="180" y="114"/>
                  </a:lnTo>
                  <a:lnTo>
                    <a:pt x="172" y="108"/>
                  </a:lnTo>
                  <a:lnTo>
                    <a:pt x="164" y="106"/>
                  </a:lnTo>
                  <a:lnTo>
                    <a:pt x="154" y="104"/>
                  </a:lnTo>
                  <a:lnTo>
                    <a:pt x="154" y="104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grpSp>
          <p:nvGrpSpPr>
            <p:cNvPr id="17" name="Group 16"/>
            <p:cNvGrpSpPr/>
            <p:nvPr/>
          </p:nvGrpSpPr>
          <p:grpSpPr>
            <a:xfrm>
              <a:off x="5413104" y="2621197"/>
              <a:ext cx="1326042" cy="1326043"/>
              <a:chOff x="5413104" y="2598477"/>
              <a:chExt cx="1326042" cy="1326043"/>
            </a:xfrm>
          </p:grpSpPr>
          <p:sp>
            <p:nvSpPr>
              <p:cNvPr id="18" name="Freeform 5"/>
              <p:cNvSpPr>
                <a:spLocks/>
              </p:cNvSpPr>
              <p:nvPr/>
            </p:nvSpPr>
            <p:spPr bwMode="auto">
              <a:xfrm>
                <a:off x="5642613" y="3166154"/>
                <a:ext cx="838193" cy="391237"/>
              </a:xfrm>
              <a:custGeom>
                <a:avLst/>
                <a:gdLst>
                  <a:gd name="T0" fmla="*/ 1228 w 1384"/>
                  <a:gd name="T1" fmla="*/ 646 h 646"/>
                  <a:gd name="T2" fmla="*/ 1198 w 1384"/>
                  <a:gd name="T3" fmla="*/ 636 h 646"/>
                  <a:gd name="T4" fmla="*/ 1178 w 1384"/>
                  <a:gd name="T5" fmla="*/ 614 h 646"/>
                  <a:gd name="T6" fmla="*/ 1174 w 1384"/>
                  <a:gd name="T7" fmla="*/ 106 h 646"/>
                  <a:gd name="T8" fmla="*/ 1118 w 1384"/>
                  <a:gd name="T9" fmla="*/ 594 h 646"/>
                  <a:gd name="T10" fmla="*/ 1108 w 1384"/>
                  <a:gd name="T11" fmla="*/ 622 h 646"/>
                  <a:gd name="T12" fmla="*/ 1086 w 1384"/>
                  <a:gd name="T13" fmla="*/ 642 h 646"/>
                  <a:gd name="T14" fmla="*/ 824 w 1384"/>
                  <a:gd name="T15" fmla="*/ 646 h 646"/>
                  <a:gd name="T16" fmla="*/ 804 w 1384"/>
                  <a:gd name="T17" fmla="*/ 642 h 646"/>
                  <a:gd name="T18" fmla="*/ 780 w 1384"/>
                  <a:gd name="T19" fmla="*/ 622 h 646"/>
                  <a:gd name="T20" fmla="*/ 772 w 1384"/>
                  <a:gd name="T21" fmla="*/ 594 h 646"/>
                  <a:gd name="T22" fmla="*/ 714 w 1384"/>
                  <a:gd name="T23" fmla="*/ 594 h 646"/>
                  <a:gd name="T24" fmla="*/ 710 w 1384"/>
                  <a:gd name="T25" fmla="*/ 614 h 646"/>
                  <a:gd name="T26" fmla="*/ 690 w 1384"/>
                  <a:gd name="T27" fmla="*/ 636 h 646"/>
                  <a:gd name="T28" fmla="*/ 662 w 1384"/>
                  <a:gd name="T29" fmla="*/ 646 h 646"/>
                  <a:gd name="T30" fmla="*/ 410 w 1384"/>
                  <a:gd name="T31" fmla="*/ 644 h 646"/>
                  <a:gd name="T32" fmla="*/ 384 w 1384"/>
                  <a:gd name="T33" fmla="*/ 630 h 646"/>
                  <a:gd name="T34" fmla="*/ 368 w 1384"/>
                  <a:gd name="T35" fmla="*/ 604 h 646"/>
                  <a:gd name="T36" fmla="*/ 310 w 1384"/>
                  <a:gd name="T37" fmla="*/ 322 h 646"/>
                  <a:gd name="T38" fmla="*/ 310 w 1384"/>
                  <a:gd name="T39" fmla="*/ 604 h 646"/>
                  <a:gd name="T40" fmla="*/ 296 w 1384"/>
                  <a:gd name="T41" fmla="*/ 630 h 646"/>
                  <a:gd name="T42" fmla="*/ 268 w 1384"/>
                  <a:gd name="T43" fmla="*/ 644 h 646"/>
                  <a:gd name="T44" fmla="*/ 52 w 1384"/>
                  <a:gd name="T45" fmla="*/ 646 h 646"/>
                  <a:gd name="T46" fmla="*/ 24 w 1384"/>
                  <a:gd name="T47" fmla="*/ 636 h 646"/>
                  <a:gd name="T48" fmla="*/ 4 w 1384"/>
                  <a:gd name="T49" fmla="*/ 614 h 646"/>
                  <a:gd name="T50" fmla="*/ 0 w 1384"/>
                  <a:gd name="T51" fmla="*/ 594 h 646"/>
                  <a:gd name="T52" fmla="*/ 10 w 1384"/>
                  <a:gd name="T53" fmla="*/ 564 h 646"/>
                  <a:gd name="T54" fmla="*/ 32 w 1384"/>
                  <a:gd name="T55" fmla="*/ 544 h 646"/>
                  <a:gd name="T56" fmla="*/ 206 w 1384"/>
                  <a:gd name="T57" fmla="*/ 540 h 646"/>
                  <a:gd name="T58" fmla="*/ 208 w 1384"/>
                  <a:gd name="T59" fmla="*/ 278 h 646"/>
                  <a:gd name="T60" fmla="*/ 228 w 1384"/>
                  <a:gd name="T61" fmla="*/ 240 h 646"/>
                  <a:gd name="T62" fmla="*/ 266 w 1384"/>
                  <a:gd name="T63" fmla="*/ 218 h 646"/>
                  <a:gd name="T64" fmla="*/ 398 w 1384"/>
                  <a:gd name="T65" fmla="*/ 218 h 646"/>
                  <a:gd name="T66" fmla="*/ 440 w 1384"/>
                  <a:gd name="T67" fmla="*/ 230 h 646"/>
                  <a:gd name="T68" fmla="*/ 466 w 1384"/>
                  <a:gd name="T69" fmla="*/ 264 h 646"/>
                  <a:gd name="T70" fmla="*/ 472 w 1384"/>
                  <a:gd name="T71" fmla="*/ 540 h 646"/>
                  <a:gd name="T72" fmla="*/ 608 w 1384"/>
                  <a:gd name="T73" fmla="*/ 152 h 646"/>
                  <a:gd name="T74" fmla="*/ 622 w 1384"/>
                  <a:gd name="T75" fmla="*/ 110 h 646"/>
                  <a:gd name="T76" fmla="*/ 654 w 1384"/>
                  <a:gd name="T77" fmla="*/ 82 h 646"/>
                  <a:gd name="T78" fmla="*/ 800 w 1384"/>
                  <a:gd name="T79" fmla="*/ 76 h 646"/>
                  <a:gd name="T80" fmla="*/ 830 w 1384"/>
                  <a:gd name="T81" fmla="*/ 82 h 646"/>
                  <a:gd name="T82" fmla="*/ 864 w 1384"/>
                  <a:gd name="T83" fmla="*/ 110 h 646"/>
                  <a:gd name="T84" fmla="*/ 876 w 1384"/>
                  <a:gd name="T85" fmla="*/ 152 h 646"/>
                  <a:gd name="T86" fmla="*/ 1012 w 1384"/>
                  <a:gd name="T87" fmla="*/ 76 h 646"/>
                  <a:gd name="T88" fmla="*/ 1018 w 1384"/>
                  <a:gd name="T89" fmla="*/ 46 h 646"/>
                  <a:gd name="T90" fmla="*/ 1046 w 1384"/>
                  <a:gd name="T91" fmla="*/ 12 h 646"/>
                  <a:gd name="T92" fmla="*/ 1088 w 1384"/>
                  <a:gd name="T93" fmla="*/ 0 h 646"/>
                  <a:gd name="T94" fmla="*/ 1220 w 1384"/>
                  <a:gd name="T95" fmla="*/ 2 h 646"/>
                  <a:gd name="T96" fmla="*/ 1258 w 1384"/>
                  <a:gd name="T97" fmla="*/ 22 h 646"/>
                  <a:gd name="T98" fmla="*/ 1278 w 1384"/>
                  <a:gd name="T99" fmla="*/ 60 h 646"/>
                  <a:gd name="T100" fmla="*/ 1332 w 1384"/>
                  <a:gd name="T101" fmla="*/ 540 h 646"/>
                  <a:gd name="T102" fmla="*/ 1352 w 1384"/>
                  <a:gd name="T103" fmla="*/ 544 h 646"/>
                  <a:gd name="T104" fmla="*/ 1376 w 1384"/>
                  <a:gd name="T105" fmla="*/ 564 h 646"/>
                  <a:gd name="T106" fmla="*/ 1384 w 1384"/>
                  <a:gd name="T107" fmla="*/ 594 h 646"/>
                  <a:gd name="T108" fmla="*/ 1380 w 1384"/>
                  <a:gd name="T109" fmla="*/ 614 h 646"/>
                  <a:gd name="T110" fmla="*/ 1362 w 1384"/>
                  <a:gd name="T111" fmla="*/ 636 h 646"/>
                  <a:gd name="T112" fmla="*/ 1332 w 1384"/>
                  <a:gd name="T113" fmla="*/ 646 h 6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384" h="646">
                    <a:moveTo>
                      <a:pt x="1332" y="646"/>
                    </a:moveTo>
                    <a:lnTo>
                      <a:pt x="1228" y="646"/>
                    </a:lnTo>
                    <a:lnTo>
                      <a:pt x="1228" y="646"/>
                    </a:lnTo>
                    <a:lnTo>
                      <a:pt x="1216" y="644"/>
                    </a:lnTo>
                    <a:lnTo>
                      <a:pt x="1206" y="642"/>
                    </a:lnTo>
                    <a:lnTo>
                      <a:pt x="1198" y="636"/>
                    </a:lnTo>
                    <a:lnTo>
                      <a:pt x="1190" y="630"/>
                    </a:lnTo>
                    <a:lnTo>
                      <a:pt x="1184" y="622"/>
                    </a:lnTo>
                    <a:lnTo>
                      <a:pt x="1178" y="614"/>
                    </a:lnTo>
                    <a:lnTo>
                      <a:pt x="1176" y="604"/>
                    </a:lnTo>
                    <a:lnTo>
                      <a:pt x="1174" y="594"/>
                    </a:lnTo>
                    <a:lnTo>
                      <a:pt x="1174" y="106"/>
                    </a:lnTo>
                    <a:lnTo>
                      <a:pt x="1118" y="106"/>
                    </a:lnTo>
                    <a:lnTo>
                      <a:pt x="1118" y="594"/>
                    </a:lnTo>
                    <a:lnTo>
                      <a:pt x="1118" y="594"/>
                    </a:lnTo>
                    <a:lnTo>
                      <a:pt x="1116" y="604"/>
                    </a:lnTo>
                    <a:lnTo>
                      <a:pt x="1114" y="614"/>
                    </a:lnTo>
                    <a:lnTo>
                      <a:pt x="1108" y="622"/>
                    </a:lnTo>
                    <a:lnTo>
                      <a:pt x="1102" y="630"/>
                    </a:lnTo>
                    <a:lnTo>
                      <a:pt x="1094" y="636"/>
                    </a:lnTo>
                    <a:lnTo>
                      <a:pt x="1086" y="642"/>
                    </a:lnTo>
                    <a:lnTo>
                      <a:pt x="1076" y="644"/>
                    </a:lnTo>
                    <a:lnTo>
                      <a:pt x="1064" y="646"/>
                    </a:lnTo>
                    <a:lnTo>
                      <a:pt x="824" y="646"/>
                    </a:lnTo>
                    <a:lnTo>
                      <a:pt x="824" y="646"/>
                    </a:lnTo>
                    <a:lnTo>
                      <a:pt x="814" y="644"/>
                    </a:lnTo>
                    <a:lnTo>
                      <a:pt x="804" y="642"/>
                    </a:lnTo>
                    <a:lnTo>
                      <a:pt x="794" y="636"/>
                    </a:lnTo>
                    <a:lnTo>
                      <a:pt x="786" y="630"/>
                    </a:lnTo>
                    <a:lnTo>
                      <a:pt x="780" y="622"/>
                    </a:lnTo>
                    <a:lnTo>
                      <a:pt x="776" y="614"/>
                    </a:lnTo>
                    <a:lnTo>
                      <a:pt x="772" y="604"/>
                    </a:lnTo>
                    <a:lnTo>
                      <a:pt x="772" y="594"/>
                    </a:lnTo>
                    <a:lnTo>
                      <a:pt x="772" y="182"/>
                    </a:lnTo>
                    <a:lnTo>
                      <a:pt x="714" y="182"/>
                    </a:lnTo>
                    <a:lnTo>
                      <a:pt x="714" y="594"/>
                    </a:lnTo>
                    <a:lnTo>
                      <a:pt x="714" y="594"/>
                    </a:lnTo>
                    <a:lnTo>
                      <a:pt x="712" y="604"/>
                    </a:lnTo>
                    <a:lnTo>
                      <a:pt x="710" y="614"/>
                    </a:lnTo>
                    <a:lnTo>
                      <a:pt x="706" y="622"/>
                    </a:lnTo>
                    <a:lnTo>
                      <a:pt x="698" y="630"/>
                    </a:lnTo>
                    <a:lnTo>
                      <a:pt x="690" y="636"/>
                    </a:lnTo>
                    <a:lnTo>
                      <a:pt x="682" y="642"/>
                    </a:lnTo>
                    <a:lnTo>
                      <a:pt x="672" y="644"/>
                    </a:lnTo>
                    <a:lnTo>
                      <a:pt x="662" y="646"/>
                    </a:lnTo>
                    <a:lnTo>
                      <a:pt x="420" y="646"/>
                    </a:lnTo>
                    <a:lnTo>
                      <a:pt x="420" y="646"/>
                    </a:lnTo>
                    <a:lnTo>
                      <a:pt x="410" y="644"/>
                    </a:lnTo>
                    <a:lnTo>
                      <a:pt x="400" y="642"/>
                    </a:lnTo>
                    <a:lnTo>
                      <a:pt x="390" y="636"/>
                    </a:lnTo>
                    <a:lnTo>
                      <a:pt x="384" y="630"/>
                    </a:lnTo>
                    <a:lnTo>
                      <a:pt x="376" y="622"/>
                    </a:lnTo>
                    <a:lnTo>
                      <a:pt x="372" y="614"/>
                    </a:lnTo>
                    <a:lnTo>
                      <a:pt x="368" y="604"/>
                    </a:lnTo>
                    <a:lnTo>
                      <a:pt x="368" y="594"/>
                    </a:lnTo>
                    <a:lnTo>
                      <a:pt x="368" y="322"/>
                    </a:lnTo>
                    <a:lnTo>
                      <a:pt x="310" y="322"/>
                    </a:lnTo>
                    <a:lnTo>
                      <a:pt x="310" y="594"/>
                    </a:lnTo>
                    <a:lnTo>
                      <a:pt x="310" y="594"/>
                    </a:lnTo>
                    <a:lnTo>
                      <a:pt x="310" y="604"/>
                    </a:lnTo>
                    <a:lnTo>
                      <a:pt x="306" y="614"/>
                    </a:lnTo>
                    <a:lnTo>
                      <a:pt x="302" y="622"/>
                    </a:lnTo>
                    <a:lnTo>
                      <a:pt x="296" y="630"/>
                    </a:lnTo>
                    <a:lnTo>
                      <a:pt x="288" y="636"/>
                    </a:lnTo>
                    <a:lnTo>
                      <a:pt x="278" y="642"/>
                    </a:lnTo>
                    <a:lnTo>
                      <a:pt x="268" y="644"/>
                    </a:lnTo>
                    <a:lnTo>
                      <a:pt x="258" y="646"/>
                    </a:lnTo>
                    <a:lnTo>
                      <a:pt x="52" y="646"/>
                    </a:lnTo>
                    <a:lnTo>
                      <a:pt x="52" y="646"/>
                    </a:lnTo>
                    <a:lnTo>
                      <a:pt x="42" y="644"/>
                    </a:lnTo>
                    <a:lnTo>
                      <a:pt x="32" y="642"/>
                    </a:lnTo>
                    <a:lnTo>
                      <a:pt x="24" y="636"/>
                    </a:lnTo>
                    <a:lnTo>
                      <a:pt x="16" y="630"/>
                    </a:lnTo>
                    <a:lnTo>
                      <a:pt x="10" y="622"/>
                    </a:lnTo>
                    <a:lnTo>
                      <a:pt x="4" y="614"/>
                    </a:lnTo>
                    <a:lnTo>
                      <a:pt x="2" y="604"/>
                    </a:lnTo>
                    <a:lnTo>
                      <a:pt x="0" y="594"/>
                    </a:lnTo>
                    <a:lnTo>
                      <a:pt x="0" y="594"/>
                    </a:lnTo>
                    <a:lnTo>
                      <a:pt x="2" y="582"/>
                    </a:lnTo>
                    <a:lnTo>
                      <a:pt x="4" y="572"/>
                    </a:lnTo>
                    <a:lnTo>
                      <a:pt x="10" y="564"/>
                    </a:lnTo>
                    <a:lnTo>
                      <a:pt x="16" y="556"/>
                    </a:lnTo>
                    <a:lnTo>
                      <a:pt x="24" y="550"/>
                    </a:lnTo>
                    <a:lnTo>
                      <a:pt x="32" y="544"/>
                    </a:lnTo>
                    <a:lnTo>
                      <a:pt x="42" y="542"/>
                    </a:lnTo>
                    <a:lnTo>
                      <a:pt x="52" y="540"/>
                    </a:lnTo>
                    <a:lnTo>
                      <a:pt x="206" y="540"/>
                    </a:lnTo>
                    <a:lnTo>
                      <a:pt x="206" y="292"/>
                    </a:lnTo>
                    <a:lnTo>
                      <a:pt x="206" y="292"/>
                    </a:lnTo>
                    <a:lnTo>
                      <a:pt x="208" y="278"/>
                    </a:lnTo>
                    <a:lnTo>
                      <a:pt x="212" y="264"/>
                    </a:lnTo>
                    <a:lnTo>
                      <a:pt x="218" y="250"/>
                    </a:lnTo>
                    <a:lnTo>
                      <a:pt x="228" y="240"/>
                    </a:lnTo>
                    <a:lnTo>
                      <a:pt x="238" y="230"/>
                    </a:lnTo>
                    <a:lnTo>
                      <a:pt x="252" y="224"/>
                    </a:lnTo>
                    <a:lnTo>
                      <a:pt x="266" y="218"/>
                    </a:lnTo>
                    <a:lnTo>
                      <a:pt x="280" y="218"/>
                    </a:lnTo>
                    <a:lnTo>
                      <a:pt x="398" y="218"/>
                    </a:lnTo>
                    <a:lnTo>
                      <a:pt x="398" y="218"/>
                    </a:lnTo>
                    <a:lnTo>
                      <a:pt x="412" y="218"/>
                    </a:lnTo>
                    <a:lnTo>
                      <a:pt x="426" y="224"/>
                    </a:lnTo>
                    <a:lnTo>
                      <a:pt x="440" y="230"/>
                    </a:lnTo>
                    <a:lnTo>
                      <a:pt x="450" y="240"/>
                    </a:lnTo>
                    <a:lnTo>
                      <a:pt x="460" y="250"/>
                    </a:lnTo>
                    <a:lnTo>
                      <a:pt x="466" y="264"/>
                    </a:lnTo>
                    <a:lnTo>
                      <a:pt x="472" y="278"/>
                    </a:lnTo>
                    <a:lnTo>
                      <a:pt x="472" y="292"/>
                    </a:lnTo>
                    <a:lnTo>
                      <a:pt x="472" y="540"/>
                    </a:lnTo>
                    <a:lnTo>
                      <a:pt x="608" y="540"/>
                    </a:lnTo>
                    <a:lnTo>
                      <a:pt x="608" y="152"/>
                    </a:lnTo>
                    <a:lnTo>
                      <a:pt x="608" y="152"/>
                    </a:lnTo>
                    <a:lnTo>
                      <a:pt x="610" y="136"/>
                    </a:lnTo>
                    <a:lnTo>
                      <a:pt x="614" y="122"/>
                    </a:lnTo>
                    <a:lnTo>
                      <a:pt x="622" y="110"/>
                    </a:lnTo>
                    <a:lnTo>
                      <a:pt x="632" y="98"/>
                    </a:lnTo>
                    <a:lnTo>
                      <a:pt x="642" y="90"/>
                    </a:lnTo>
                    <a:lnTo>
                      <a:pt x="654" y="82"/>
                    </a:lnTo>
                    <a:lnTo>
                      <a:pt x="668" y="78"/>
                    </a:lnTo>
                    <a:lnTo>
                      <a:pt x="684" y="76"/>
                    </a:lnTo>
                    <a:lnTo>
                      <a:pt x="800" y="76"/>
                    </a:lnTo>
                    <a:lnTo>
                      <a:pt x="800" y="76"/>
                    </a:lnTo>
                    <a:lnTo>
                      <a:pt x="816" y="78"/>
                    </a:lnTo>
                    <a:lnTo>
                      <a:pt x="830" y="82"/>
                    </a:lnTo>
                    <a:lnTo>
                      <a:pt x="842" y="90"/>
                    </a:lnTo>
                    <a:lnTo>
                      <a:pt x="854" y="98"/>
                    </a:lnTo>
                    <a:lnTo>
                      <a:pt x="864" y="110"/>
                    </a:lnTo>
                    <a:lnTo>
                      <a:pt x="870" y="122"/>
                    </a:lnTo>
                    <a:lnTo>
                      <a:pt x="874" y="136"/>
                    </a:lnTo>
                    <a:lnTo>
                      <a:pt x="876" y="152"/>
                    </a:lnTo>
                    <a:lnTo>
                      <a:pt x="876" y="540"/>
                    </a:lnTo>
                    <a:lnTo>
                      <a:pt x="1012" y="540"/>
                    </a:lnTo>
                    <a:lnTo>
                      <a:pt x="1012" y="76"/>
                    </a:lnTo>
                    <a:lnTo>
                      <a:pt x="1012" y="76"/>
                    </a:lnTo>
                    <a:lnTo>
                      <a:pt x="1014" y="60"/>
                    </a:lnTo>
                    <a:lnTo>
                      <a:pt x="1018" y="46"/>
                    </a:lnTo>
                    <a:lnTo>
                      <a:pt x="1026" y="34"/>
                    </a:lnTo>
                    <a:lnTo>
                      <a:pt x="1034" y="22"/>
                    </a:lnTo>
                    <a:lnTo>
                      <a:pt x="1046" y="12"/>
                    </a:lnTo>
                    <a:lnTo>
                      <a:pt x="1058" y="6"/>
                    </a:lnTo>
                    <a:lnTo>
                      <a:pt x="1072" y="2"/>
                    </a:lnTo>
                    <a:lnTo>
                      <a:pt x="1088" y="0"/>
                    </a:lnTo>
                    <a:lnTo>
                      <a:pt x="1204" y="0"/>
                    </a:lnTo>
                    <a:lnTo>
                      <a:pt x="1204" y="0"/>
                    </a:lnTo>
                    <a:lnTo>
                      <a:pt x="1220" y="2"/>
                    </a:lnTo>
                    <a:lnTo>
                      <a:pt x="1234" y="6"/>
                    </a:lnTo>
                    <a:lnTo>
                      <a:pt x="1246" y="12"/>
                    </a:lnTo>
                    <a:lnTo>
                      <a:pt x="1258" y="22"/>
                    </a:lnTo>
                    <a:lnTo>
                      <a:pt x="1266" y="34"/>
                    </a:lnTo>
                    <a:lnTo>
                      <a:pt x="1274" y="46"/>
                    </a:lnTo>
                    <a:lnTo>
                      <a:pt x="1278" y="60"/>
                    </a:lnTo>
                    <a:lnTo>
                      <a:pt x="1280" y="76"/>
                    </a:lnTo>
                    <a:lnTo>
                      <a:pt x="1280" y="540"/>
                    </a:lnTo>
                    <a:lnTo>
                      <a:pt x="1332" y="540"/>
                    </a:lnTo>
                    <a:lnTo>
                      <a:pt x="1332" y="540"/>
                    </a:lnTo>
                    <a:lnTo>
                      <a:pt x="1342" y="542"/>
                    </a:lnTo>
                    <a:lnTo>
                      <a:pt x="1352" y="544"/>
                    </a:lnTo>
                    <a:lnTo>
                      <a:pt x="1362" y="550"/>
                    </a:lnTo>
                    <a:lnTo>
                      <a:pt x="1370" y="556"/>
                    </a:lnTo>
                    <a:lnTo>
                      <a:pt x="1376" y="564"/>
                    </a:lnTo>
                    <a:lnTo>
                      <a:pt x="1380" y="572"/>
                    </a:lnTo>
                    <a:lnTo>
                      <a:pt x="1384" y="582"/>
                    </a:lnTo>
                    <a:lnTo>
                      <a:pt x="1384" y="594"/>
                    </a:lnTo>
                    <a:lnTo>
                      <a:pt x="1384" y="594"/>
                    </a:lnTo>
                    <a:lnTo>
                      <a:pt x="1384" y="604"/>
                    </a:lnTo>
                    <a:lnTo>
                      <a:pt x="1380" y="614"/>
                    </a:lnTo>
                    <a:lnTo>
                      <a:pt x="1376" y="622"/>
                    </a:lnTo>
                    <a:lnTo>
                      <a:pt x="1370" y="630"/>
                    </a:lnTo>
                    <a:lnTo>
                      <a:pt x="1362" y="636"/>
                    </a:lnTo>
                    <a:lnTo>
                      <a:pt x="1352" y="642"/>
                    </a:lnTo>
                    <a:lnTo>
                      <a:pt x="1342" y="644"/>
                    </a:lnTo>
                    <a:lnTo>
                      <a:pt x="1332" y="646"/>
                    </a:lnTo>
                    <a:lnTo>
                      <a:pt x="1332" y="646"/>
                    </a:lnTo>
                    <a:close/>
                  </a:path>
                </a:pathLst>
              </a:custGeom>
              <a:solidFill>
                <a:srgbClr val="1A86D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" name="Freeform 6"/>
              <p:cNvSpPr>
                <a:spLocks noEditPoints="1"/>
              </p:cNvSpPr>
              <p:nvPr/>
            </p:nvSpPr>
            <p:spPr bwMode="auto">
              <a:xfrm>
                <a:off x="5757683" y="2925113"/>
                <a:ext cx="184112" cy="184112"/>
              </a:xfrm>
              <a:custGeom>
                <a:avLst/>
                <a:gdLst>
                  <a:gd name="T0" fmla="*/ 152 w 304"/>
                  <a:gd name="T1" fmla="*/ 304 h 304"/>
                  <a:gd name="T2" fmla="*/ 122 w 304"/>
                  <a:gd name="T3" fmla="*/ 302 h 304"/>
                  <a:gd name="T4" fmla="*/ 92 w 304"/>
                  <a:gd name="T5" fmla="*/ 292 h 304"/>
                  <a:gd name="T6" fmla="*/ 66 w 304"/>
                  <a:gd name="T7" fmla="*/ 278 h 304"/>
                  <a:gd name="T8" fmla="*/ 44 w 304"/>
                  <a:gd name="T9" fmla="*/ 260 h 304"/>
                  <a:gd name="T10" fmla="*/ 26 w 304"/>
                  <a:gd name="T11" fmla="*/ 238 h 304"/>
                  <a:gd name="T12" fmla="*/ 12 w 304"/>
                  <a:gd name="T13" fmla="*/ 212 h 304"/>
                  <a:gd name="T14" fmla="*/ 2 w 304"/>
                  <a:gd name="T15" fmla="*/ 182 h 304"/>
                  <a:gd name="T16" fmla="*/ 0 w 304"/>
                  <a:gd name="T17" fmla="*/ 152 h 304"/>
                  <a:gd name="T18" fmla="*/ 0 w 304"/>
                  <a:gd name="T19" fmla="*/ 136 h 304"/>
                  <a:gd name="T20" fmla="*/ 6 w 304"/>
                  <a:gd name="T21" fmla="*/ 106 h 304"/>
                  <a:gd name="T22" fmla="*/ 18 w 304"/>
                  <a:gd name="T23" fmla="*/ 80 h 304"/>
                  <a:gd name="T24" fmla="*/ 34 w 304"/>
                  <a:gd name="T25" fmla="*/ 56 h 304"/>
                  <a:gd name="T26" fmla="*/ 56 w 304"/>
                  <a:gd name="T27" fmla="*/ 34 h 304"/>
                  <a:gd name="T28" fmla="*/ 80 w 304"/>
                  <a:gd name="T29" fmla="*/ 18 h 304"/>
                  <a:gd name="T30" fmla="*/ 106 w 304"/>
                  <a:gd name="T31" fmla="*/ 6 h 304"/>
                  <a:gd name="T32" fmla="*/ 136 w 304"/>
                  <a:gd name="T33" fmla="*/ 0 h 304"/>
                  <a:gd name="T34" fmla="*/ 152 w 304"/>
                  <a:gd name="T35" fmla="*/ 0 h 304"/>
                  <a:gd name="T36" fmla="*/ 182 w 304"/>
                  <a:gd name="T37" fmla="*/ 2 h 304"/>
                  <a:gd name="T38" fmla="*/ 212 w 304"/>
                  <a:gd name="T39" fmla="*/ 12 h 304"/>
                  <a:gd name="T40" fmla="*/ 238 w 304"/>
                  <a:gd name="T41" fmla="*/ 26 h 304"/>
                  <a:gd name="T42" fmla="*/ 260 w 304"/>
                  <a:gd name="T43" fmla="*/ 44 h 304"/>
                  <a:gd name="T44" fmla="*/ 278 w 304"/>
                  <a:gd name="T45" fmla="*/ 66 h 304"/>
                  <a:gd name="T46" fmla="*/ 292 w 304"/>
                  <a:gd name="T47" fmla="*/ 92 h 304"/>
                  <a:gd name="T48" fmla="*/ 302 w 304"/>
                  <a:gd name="T49" fmla="*/ 122 h 304"/>
                  <a:gd name="T50" fmla="*/ 304 w 304"/>
                  <a:gd name="T51" fmla="*/ 152 h 304"/>
                  <a:gd name="T52" fmla="*/ 304 w 304"/>
                  <a:gd name="T53" fmla="*/ 168 h 304"/>
                  <a:gd name="T54" fmla="*/ 298 w 304"/>
                  <a:gd name="T55" fmla="*/ 198 h 304"/>
                  <a:gd name="T56" fmla="*/ 286 w 304"/>
                  <a:gd name="T57" fmla="*/ 224 h 304"/>
                  <a:gd name="T58" fmla="*/ 270 w 304"/>
                  <a:gd name="T59" fmla="*/ 250 h 304"/>
                  <a:gd name="T60" fmla="*/ 250 w 304"/>
                  <a:gd name="T61" fmla="*/ 270 h 304"/>
                  <a:gd name="T62" fmla="*/ 224 w 304"/>
                  <a:gd name="T63" fmla="*/ 286 h 304"/>
                  <a:gd name="T64" fmla="*/ 198 w 304"/>
                  <a:gd name="T65" fmla="*/ 298 h 304"/>
                  <a:gd name="T66" fmla="*/ 168 w 304"/>
                  <a:gd name="T67" fmla="*/ 304 h 304"/>
                  <a:gd name="T68" fmla="*/ 152 w 304"/>
                  <a:gd name="T69" fmla="*/ 304 h 304"/>
                  <a:gd name="T70" fmla="*/ 152 w 304"/>
                  <a:gd name="T71" fmla="*/ 104 h 304"/>
                  <a:gd name="T72" fmla="*/ 134 w 304"/>
                  <a:gd name="T73" fmla="*/ 108 h 304"/>
                  <a:gd name="T74" fmla="*/ 118 w 304"/>
                  <a:gd name="T75" fmla="*/ 118 h 304"/>
                  <a:gd name="T76" fmla="*/ 108 w 304"/>
                  <a:gd name="T77" fmla="*/ 134 h 304"/>
                  <a:gd name="T78" fmla="*/ 104 w 304"/>
                  <a:gd name="T79" fmla="*/ 152 h 304"/>
                  <a:gd name="T80" fmla="*/ 106 w 304"/>
                  <a:gd name="T81" fmla="*/ 162 h 304"/>
                  <a:gd name="T82" fmla="*/ 112 w 304"/>
                  <a:gd name="T83" fmla="*/ 178 h 304"/>
                  <a:gd name="T84" fmla="*/ 126 w 304"/>
                  <a:gd name="T85" fmla="*/ 192 h 304"/>
                  <a:gd name="T86" fmla="*/ 142 w 304"/>
                  <a:gd name="T87" fmla="*/ 198 h 304"/>
                  <a:gd name="T88" fmla="*/ 152 w 304"/>
                  <a:gd name="T89" fmla="*/ 200 h 304"/>
                  <a:gd name="T90" fmla="*/ 170 w 304"/>
                  <a:gd name="T91" fmla="*/ 196 h 304"/>
                  <a:gd name="T92" fmla="*/ 186 w 304"/>
                  <a:gd name="T93" fmla="*/ 186 h 304"/>
                  <a:gd name="T94" fmla="*/ 196 w 304"/>
                  <a:gd name="T95" fmla="*/ 170 h 304"/>
                  <a:gd name="T96" fmla="*/ 200 w 304"/>
                  <a:gd name="T97" fmla="*/ 152 h 304"/>
                  <a:gd name="T98" fmla="*/ 198 w 304"/>
                  <a:gd name="T99" fmla="*/ 142 h 304"/>
                  <a:gd name="T100" fmla="*/ 192 w 304"/>
                  <a:gd name="T101" fmla="*/ 126 h 304"/>
                  <a:gd name="T102" fmla="*/ 178 w 304"/>
                  <a:gd name="T103" fmla="*/ 112 h 304"/>
                  <a:gd name="T104" fmla="*/ 162 w 304"/>
                  <a:gd name="T105" fmla="*/ 106 h 304"/>
                  <a:gd name="T106" fmla="*/ 152 w 304"/>
                  <a:gd name="T107" fmla="*/ 104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04" h="304">
                    <a:moveTo>
                      <a:pt x="152" y="304"/>
                    </a:moveTo>
                    <a:lnTo>
                      <a:pt x="152" y="304"/>
                    </a:lnTo>
                    <a:lnTo>
                      <a:pt x="136" y="304"/>
                    </a:lnTo>
                    <a:lnTo>
                      <a:pt x="122" y="302"/>
                    </a:lnTo>
                    <a:lnTo>
                      <a:pt x="106" y="298"/>
                    </a:lnTo>
                    <a:lnTo>
                      <a:pt x="92" y="292"/>
                    </a:lnTo>
                    <a:lnTo>
                      <a:pt x="80" y="286"/>
                    </a:lnTo>
                    <a:lnTo>
                      <a:pt x="66" y="278"/>
                    </a:lnTo>
                    <a:lnTo>
                      <a:pt x="56" y="270"/>
                    </a:lnTo>
                    <a:lnTo>
                      <a:pt x="44" y="260"/>
                    </a:lnTo>
                    <a:lnTo>
                      <a:pt x="34" y="250"/>
                    </a:lnTo>
                    <a:lnTo>
                      <a:pt x="26" y="238"/>
                    </a:lnTo>
                    <a:lnTo>
                      <a:pt x="18" y="224"/>
                    </a:lnTo>
                    <a:lnTo>
                      <a:pt x="12" y="212"/>
                    </a:lnTo>
                    <a:lnTo>
                      <a:pt x="6" y="198"/>
                    </a:lnTo>
                    <a:lnTo>
                      <a:pt x="2" y="182"/>
                    </a:lnTo>
                    <a:lnTo>
                      <a:pt x="0" y="168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36"/>
                    </a:lnTo>
                    <a:lnTo>
                      <a:pt x="2" y="122"/>
                    </a:lnTo>
                    <a:lnTo>
                      <a:pt x="6" y="106"/>
                    </a:lnTo>
                    <a:lnTo>
                      <a:pt x="12" y="92"/>
                    </a:lnTo>
                    <a:lnTo>
                      <a:pt x="18" y="80"/>
                    </a:lnTo>
                    <a:lnTo>
                      <a:pt x="26" y="66"/>
                    </a:lnTo>
                    <a:lnTo>
                      <a:pt x="34" y="56"/>
                    </a:lnTo>
                    <a:lnTo>
                      <a:pt x="44" y="44"/>
                    </a:lnTo>
                    <a:lnTo>
                      <a:pt x="56" y="34"/>
                    </a:lnTo>
                    <a:lnTo>
                      <a:pt x="66" y="26"/>
                    </a:lnTo>
                    <a:lnTo>
                      <a:pt x="80" y="18"/>
                    </a:lnTo>
                    <a:lnTo>
                      <a:pt x="92" y="12"/>
                    </a:lnTo>
                    <a:lnTo>
                      <a:pt x="106" y="6"/>
                    </a:lnTo>
                    <a:lnTo>
                      <a:pt x="122" y="2"/>
                    </a:lnTo>
                    <a:lnTo>
                      <a:pt x="136" y="0"/>
                    </a:lnTo>
                    <a:lnTo>
                      <a:pt x="152" y="0"/>
                    </a:lnTo>
                    <a:lnTo>
                      <a:pt x="152" y="0"/>
                    </a:lnTo>
                    <a:lnTo>
                      <a:pt x="168" y="0"/>
                    </a:lnTo>
                    <a:lnTo>
                      <a:pt x="182" y="2"/>
                    </a:lnTo>
                    <a:lnTo>
                      <a:pt x="198" y="6"/>
                    </a:lnTo>
                    <a:lnTo>
                      <a:pt x="212" y="12"/>
                    </a:lnTo>
                    <a:lnTo>
                      <a:pt x="224" y="18"/>
                    </a:lnTo>
                    <a:lnTo>
                      <a:pt x="238" y="26"/>
                    </a:lnTo>
                    <a:lnTo>
                      <a:pt x="250" y="34"/>
                    </a:lnTo>
                    <a:lnTo>
                      <a:pt x="260" y="44"/>
                    </a:lnTo>
                    <a:lnTo>
                      <a:pt x="270" y="56"/>
                    </a:lnTo>
                    <a:lnTo>
                      <a:pt x="278" y="66"/>
                    </a:lnTo>
                    <a:lnTo>
                      <a:pt x="286" y="80"/>
                    </a:lnTo>
                    <a:lnTo>
                      <a:pt x="292" y="92"/>
                    </a:lnTo>
                    <a:lnTo>
                      <a:pt x="298" y="106"/>
                    </a:lnTo>
                    <a:lnTo>
                      <a:pt x="302" y="122"/>
                    </a:lnTo>
                    <a:lnTo>
                      <a:pt x="304" y="136"/>
                    </a:lnTo>
                    <a:lnTo>
                      <a:pt x="304" y="152"/>
                    </a:lnTo>
                    <a:lnTo>
                      <a:pt x="304" y="152"/>
                    </a:lnTo>
                    <a:lnTo>
                      <a:pt x="304" y="168"/>
                    </a:lnTo>
                    <a:lnTo>
                      <a:pt x="302" y="182"/>
                    </a:lnTo>
                    <a:lnTo>
                      <a:pt x="298" y="198"/>
                    </a:lnTo>
                    <a:lnTo>
                      <a:pt x="292" y="212"/>
                    </a:lnTo>
                    <a:lnTo>
                      <a:pt x="286" y="224"/>
                    </a:lnTo>
                    <a:lnTo>
                      <a:pt x="278" y="238"/>
                    </a:lnTo>
                    <a:lnTo>
                      <a:pt x="270" y="250"/>
                    </a:lnTo>
                    <a:lnTo>
                      <a:pt x="260" y="260"/>
                    </a:lnTo>
                    <a:lnTo>
                      <a:pt x="250" y="270"/>
                    </a:lnTo>
                    <a:lnTo>
                      <a:pt x="238" y="278"/>
                    </a:lnTo>
                    <a:lnTo>
                      <a:pt x="224" y="286"/>
                    </a:lnTo>
                    <a:lnTo>
                      <a:pt x="212" y="292"/>
                    </a:lnTo>
                    <a:lnTo>
                      <a:pt x="198" y="298"/>
                    </a:lnTo>
                    <a:lnTo>
                      <a:pt x="182" y="302"/>
                    </a:lnTo>
                    <a:lnTo>
                      <a:pt x="168" y="304"/>
                    </a:lnTo>
                    <a:lnTo>
                      <a:pt x="152" y="304"/>
                    </a:lnTo>
                    <a:lnTo>
                      <a:pt x="152" y="304"/>
                    </a:lnTo>
                    <a:close/>
                    <a:moveTo>
                      <a:pt x="152" y="104"/>
                    </a:moveTo>
                    <a:lnTo>
                      <a:pt x="152" y="104"/>
                    </a:lnTo>
                    <a:lnTo>
                      <a:pt x="142" y="106"/>
                    </a:lnTo>
                    <a:lnTo>
                      <a:pt x="134" y="108"/>
                    </a:lnTo>
                    <a:lnTo>
                      <a:pt x="126" y="112"/>
                    </a:lnTo>
                    <a:lnTo>
                      <a:pt x="118" y="118"/>
                    </a:lnTo>
                    <a:lnTo>
                      <a:pt x="112" y="126"/>
                    </a:lnTo>
                    <a:lnTo>
                      <a:pt x="108" y="134"/>
                    </a:lnTo>
                    <a:lnTo>
                      <a:pt x="106" y="142"/>
                    </a:lnTo>
                    <a:lnTo>
                      <a:pt x="104" y="152"/>
                    </a:lnTo>
                    <a:lnTo>
                      <a:pt x="104" y="152"/>
                    </a:lnTo>
                    <a:lnTo>
                      <a:pt x="106" y="162"/>
                    </a:lnTo>
                    <a:lnTo>
                      <a:pt x="108" y="170"/>
                    </a:lnTo>
                    <a:lnTo>
                      <a:pt x="112" y="178"/>
                    </a:lnTo>
                    <a:lnTo>
                      <a:pt x="118" y="186"/>
                    </a:lnTo>
                    <a:lnTo>
                      <a:pt x="126" y="192"/>
                    </a:lnTo>
                    <a:lnTo>
                      <a:pt x="134" y="196"/>
                    </a:lnTo>
                    <a:lnTo>
                      <a:pt x="142" y="198"/>
                    </a:lnTo>
                    <a:lnTo>
                      <a:pt x="152" y="200"/>
                    </a:lnTo>
                    <a:lnTo>
                      <a:pt x="152" y="200"/>
                    </a:lnTo>
                    <a:lnTo>
                      <a:pt x="162" y="198"/>
                    </a:lnTo>
                    <a:lnTo>
                      <a:pt x="170" y="196"/>
                    </a:lnTo>
                    <a:lnTo>
                      <a:pt x="178" y="192"/>
                    </a:lnTo>
                    <a:lnTo>
                      <a:pt x="186" y="186"/>
                    </a:lnTo>
                    <a:lnTo>
                      <a:pt x="192" y="178"/>
                    </a:lnTo>
                    <a:lnTo>
                      <a:pt x="196" y="170"/>
                    </a:lnTo>
                    <a:lnTo>
                      <a:pt x="198" y="162"/>
                    </a:lnTo>
                    <a:lnTo>
                      <a:pt x="200" y="152"/>
                    </a:lnTo>
                    <a:lnTo>
                      <a:pt x="200" y="152"/>
                    </a:lnTo>
                    <a:lnTo>
                      <a:pt x="198" y="142"/>
                    </a:lnTo>
                    <a:lnTo>
                      <a:pt x="196" y="134"/>
                    </a:lnTo>
                    <a:lnTo>
                      <a:pt x="192" y="126"/>
                    </a:lnTo>
                    <a:lnTo>
                      <a:pt x="186" y="118"/>
                    </a:lnTo>
                    <a:lnTo>
                      <a:pt x="178" y="112"/>
                    </a:lnTo>
                    <a:lnTo>
                      <a:pt x="170" y="108"/>
                    </a:lnTo>
                    <a:lnTo>
                      <a:pt x="162" y="106"/>
                    </a:lnTo>
                    <a:lnTo>
                      <a:pt x="152" y="104"/>
                    </a:lnTo>
                    <a:lnTo>
                      <a:pt x="152" y="104"/>
                    </a:lnTo>
                    <a:close/>
                  </a:path>
                </a:pathLst>
              </a:custGeom>
              <a:solidFill>
                <a:srgbClr val="1A86D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" name="Freeform 7"/>
              <p:cNvSpPr>
                <a:spLocks noEditPoints="1"/>
              </p:cNvSpPr>
              <p:nvPr/>
            </p:nvSpPr>
            <p:spPr bwMode="auto">
              <a:xfrm>
                <a:off x="6002359" y="2994156"/>
                <a:ext cx="184112" cy="185323"/>
              </a:xfrm>
              <a:custGeom>
                <a:avLst/>
                <a:gdLst>
                  <a:gd name="T0" fmla="*/ 152 w 304"/>
                  <a:gd name="T1" fmla="*/ 306 h 306"/>
                  <a:gd name="T2" fmla="*/ 120 w 304"/>
                  <a:gd name="T3" fmla="*/ 302 h 306"/>
                  <a:gd name="T4" fmla="*/ 92 w 304"/>
                  <a:gd name="T5" fmla="*/ 294 h 306"/>
                  <a:gd name="T6" fmla="*/ 66 w 304"/>
                  <a:gd name="T7" fmla="*/ 280 h 306"/>
                  <a:gd name="T8" fmla="*/ 44 w 304"/>
                  <a:gd name="T9" fmla="*/ 262 h 306"/>
                  <a:gd name="T10" fmla="*/ 26 w 304"/>
                  <a:gd name="T11" fmla="*/ 238 h 306"/>
                  <a:gd name="T12" fmla="*/ 12 w 304"/>
                  <a:gd name="T13" fmla="*/ 212 h 306"/>
                  <a:gd name="T14" fmla="*/ 2 w 304"/>
                  <a:gd name="T15" fmla="*/ 184 h 306"/>
                  <a:gd name="T16" fmla="*/ 0 w 304"/>
                  <a:gd name="T17" fmla="*/ 154 h 306"/>
                  <a:gd name="T18" fmla="*/ 0 w 304"/>
                  <a:gd name="T19" fmla="*/ 138 h 306"/>
                  <a:gd name="T20" fmla="*/ 6 w 304"/>
                  <a:gd name="T21" fmla="*/ 108 h 306"/>
                  <a:gd name="T22" fmla="*/ 18 w 304"/>
                  <a:gd name="T23" fmla="*/ 80 h 306"/>
                  <a:gd name="T24" fmla="*/ 34 w 304"/>
                  <a:gd name="T25" fmla="*/ 56 h 306"/>
                  <a:gd name="T26" fmla="*/ 54 w 304"/>
                  <a:gd name="T27" fmla="*/ 36 h 306"/>
                  <a:gd name="T28" fmla="*/ 78 w 304"/>
                  <a:gd name="T29" fmla="*/ 20 h 306"/>
                  <a:gd name="T30" fmla="*/ 106 w 304"/>
                  <a:gd name="T31" fmla="*/ 8 h 306"/>
                  <a:gd name="T32" fmla="*/ 136 w 304"/>
                  <a:gd name="T33" fmla="*/ 2 h 306"/>
                  <a:gd name="T34" fmla="*/ 152 w 304"/>
                  <a:gd name="T35" fmla="*/ 0 h 306"/>
                  <a:gd name="T36" fmla="*/ 182 w 304"/>
                  <a:gd name="T37" fmla="*/ 4 h 306"/>
                  <a:gd name="T38" fmla="*/ 212 w 304"/>
                  <a:gd name="T39" fmla="*/ 12 h 306"/>
                  <a:gd name="T40" fmla="*/ 236 w 304"/>
                  <a:gd name="T41" fmla="*/ 26 h 306"/>
                  <a:gd name="T42" fmla="*/ 260 w 304"/>
                  <a:gd name="T43" fmla="*/ 46 h 306"/>
                  <a:gd name="T44" fmla="*/ 278 w 304"/>
                  <a:gd name="T45" fmla="*/ 68 h 306"/>
                  <a:gd name="T46" fmla="*/ 292 w 304"/>
                  <a:gd name="T47" fmla="*/ 94 h 306"/>
                  <a:gd name="T48" fmla="*/ 302 w 304"/>
                  <a:gd name="T49" fmla="*/ 122 h 306"/>
                  <a:gd name="T50" fmla="*/ 304 w 304"/>
                  <a:gd name="T51" fmla="*/ 154 h 306"/>
                  <a:gd name="T52" fmla="*/ 304 w 304"/>
                  <a:gd name="T53" fmla="*/ 168 h 306"/>
                  <a:gd name="T54" fmla="*/ 298 w 304"/>
                  <a:gd name="T55" fmla="*/ 198 h 306"/>
                  <a:gd name="T56" fmla="*/ 286 w 304"/>
                  <a:gd name="T57" fmla="*/ 226 h 306"/>
                  <a:gd name="T58" fmla="*/ 270 w 304"/>
                  <a:gd name="T59" fmla="*/ 250 h 306"/>
                  <a:gd name="T60" fmla="*/ 248 w 304"/>
                  <a:gd name="T61" fmla="*/ 272 h 306"/>
                  <a:gd name="T62" fmla="*/ 224 w 304"/>
                  <a:gd name="T63" fmla="*/ 288 h 306"/>
                  <a:gd name="T64" fmla="*/ 198 w 304"/>
                  <a:gd name="T65" fmla="*/ 300 h 306"/>
                  <a:gd name="T66" fmla="*/ 168 w 304"/>
                  <a:gd name="T67" fmla="*/ 306 h 306"/>
                  <a:gd name="T68" fmla="*/ 152 w 304"/>
                  <a:gd name="T69" fmla="*/ 306 h 306"/>
                  <a:gd name="T70" fmla="*/ 152 w 304"/>
                  <a:gd name="T71" fmla="*/ 106 h 306"/>
                  <a:gd name="T72" fmla="*/ 134 w 304"/>
                  <a:gd name="T73" fmla="*/ 110 h 306"/>
                  <a:gd name="T74" fmla="*/ 118 w 304"/>
                  <a:gd name="T75" fmla="*/ 120 h 306"/>
                  <a:gd name="T76" fmla="*/ 108 w 304"/>
                  <a:gd name="T77" fmla="*/ 134 h 306"/>
                  <a:gd name="T78" fmla="*/ 104 w 304"/>
                  <a:gd name="T79" fmla="*/ 154 h 306"/>
                  <a:gd name="T80" fmla="*/ 106 w 304"/>
                  <a:gd name="T81" fmla="*/ 164 h 306"/>
                  <a:gd name="T82" fmla="*/ 112 w 304"/>
                  <a:gd name="T83" fmla="*/ 180 h 306"/>
                  <a:gd name="T84" fmla="*/ 126 w 304"/>
                  <a:gd name="T85" fmla="*/ 192 h 306"/>
                  <a:gd name="T86" fmla="*/ 142 w 304"/>
                  <a:gd name="T87" fmla="*/ 200 h 306"/>
                  <a:gd name="T88" fmla="*/ 152 w 304"/>
                  <a:gd name="T89" fmla="*/ 202 h 306"/>
                  <a:gd name="T90" fmla="*/ 170 w 304"/>
                  <a:gd name="T91" fmla="*/ 198 h 306"/>
                  <a:gd name="T92" fmla="*/ 186 w 304"/>
                  <a:gd name="T93" fmla="*/ 188 h 306"/>
                  <a:gd name="T94" fmla="*/ 196 w 304"/>
                  <a:gd name="T95" fmla="*/ 172 h 306"/>
                  <a:gd name="T96" fmla="*/ 200 w 304"/>
                  <a:gd name="T97" fmla="*/ 154 h 306"/>
                  <a:gd name="T98" fmla="*/ 198 w 304"/>
                  <a:gd name="T99" fmla="*/ 144 h 306"/>
                  <a:gd name="T100" fmla="*/ 192 w 304"/>
                  <a:gd name="T101" fmla="*/ 126 h 306"/>
                  <a:gd name="T102" fmla="*/ 178 w 304"/>
                  <a:gd name="T103" fmla="*/ 114 h 306"/>
                  <a:gd name="T104" fmla="*/ 162 w 304"/>
                  <a:gd name="T105" fmla="*/ 106 h 306"/>
                  <a:gd name="T106" fmla="*/ 152 w 304"/>
                  <a:gd name="T107" fmla="*/ 106 h 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04" h="306">
                    <a:moveTo>
                      <a:pt x="152" y="306"/>
                    </a:moveTo>
                    <a:lnTo>
                      <a:pt x="152" y="306"/>
                    </a:lnTo>
                    <a:lnTo>
                      <a:pt x="136" y="306"/>
                    </a:lnTo>
                    <a:lnTo>
                      <a:pt x="120" y="302"/>
                    </a:lnTo>
                    <a:lnTo>
                      <a:pt x="106" y="300"/>
                    </a:lnTo>
                    <a:lnTo>
                      <a:pt x="92" y="294"/>
                    </a:lnTo>
                    <a:lnTo>
                      <a:pt x="78" y="288"/>
                    </a:lnTo>
                    <a:lnTo>
                      <a:pt x="66" y="280"/>
                    </a:lnTo>
                    <a:lnTo>
                      <a:pt x="54" y="272"/>
                    </a:lnTo>
                    <a:lnTo>
                      <a:pt x="44" y="262"/>
                    </a:lnTo>
                    <a:lnTo>
                      <a:pt x="34" y="250"/>
                    </a:lnTo>
                    <a:lnTo>
                      <a:pt x="26" y="238"/>
                    </a:lnTo>
                    <a:lnTo>
                      <a:pt x="18" y="226"/>
                    </a:lnTo>
                    <a:lnTo>
                      <a:pt x="12" y="212"/>
                    </a:lnTo>
                    <a:lnTo>
                      <a:pt x="6" y="198"/>
                    </a:lnTo>
                    <a:lnTo>
                      <a:pt x="2" y="184"/>
                    </a:lnTo>
                    <a:lnTo>
                      <a:pt x="0" y="168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38"/>
                    </a:lnTo>
                    <a:lnTo>
                      <a:pt x="2" y="122"/>
                    </a:lnTo>
                    <a:lnTo>
                      <a:pt x="6" y="108"/>
                    </a:lnTo>
                    <a:lnTo>
                      <a:pt x="12" y="94"/>
                    </a:lnTo>
                    <a:lnTo>
                      <a:pt x="18" y="80"/>
                    </a:lnTo>
                    <a:lnTo>
                      <a:pt x="26" y="68"/>
                    </a:lnTo>
                    <a:lnTo>
                      <a:pt x="34" y="56"/>
                    </a:lnTo>
                    <a:lnTo>
                      <a:pt x="44" y="46"/>
                    </a:lnTo>
                    <a:lnTo>
                      <a:pt x="54" y="36"/>
                    </a:lnTo>
                    <a:lnTo>
                      <a:pt x="66" y="26"/>
                    </a:lnTo>
                    <a:lnTo>
                      <a:pt x="78" y="20"/>
                    </a:lnTo>
                    <a:lnTo>
                      <a:pt x="92" y="12"/>
                    </a:lnTo>
                    <a:lnTo>
                      <a:pt x="106" y="8"/>
                    </a:lnTo>
                    <a:lnTo>
                      <a:pt x="120" y="4"/>
                    </a:lnTo>
                    <a:lnTo>
                      <a:pt x="136" y="2"/>
                    </a:lnTo>
                    <a:lnTo>
                      <a:pt x="152" y="0"/>
                    </a:lnTo>
                    <a:lnTo>
                      <a:pt x="152" y="0"/>
                    </a:lnTo>
                    <a:lnTo>
                      <a:pt x="168" y="2"/>
                    </a:lnTo>
                    <a:lnTo>
                      <a:pt x="182" y="4"/>
                    </a:lnTo>
                    <a:lnTo>
                      <a:pt x="198" y="8"/>
                    </a:lnTo>
                    <a:lnTo>
                      <a:pt x="212" y="12"/>
                    </a:lnTo>
                    <a:lnTo>
                      <a:pt x="224" y="20"/>
                    </a:lnTo>
                    <a:lnTo>
                      <a:pt x="236" y="26"/>
                    </a:lnTo>
                    <a:lnTo>
                      <a:pt x="248" y="36"/>
                    </a:lnTo>
                    <a:lnTo>
                      <a:pt x="260" y="46"/>
                    </a:lnTo>
                    <a:lnTo>
                      <a:pt x="270" y="56"/>
                    </a:lnTo>
                    <a:lnTo>
                      <a:pt x="278" y="68"/>
                    </a:lnTo>
                    <a:lnTo>
                      <a:pt x="286" y="80"/>
                    </a:lnTo>
                    <a:lnTo>
                      <a:pt x="292" y="94"/>
                    </a:lnTo>
                    <a:lnTo>
                      <a:pt x="298" y="108"/>
                    </a:lnTo>
                    <a:lnTo>
                      <a:pt x="302" y="122"/>
                    </a:lnTo>
                    <a:lnTo>
                      <a:pt x="304" y="138"/>
                    </a:lnTo>
                    <a:lnTo>
                      <a:pt x="304" y="154"/>
                    </a:lnTo>
                    <a:lnTo>
                      <a:pt x="304" y="154"/>
                    </a:lnTo>
                    <a:lnTo>
                      <a:pt x="304" y="168"/>
                    </a:lnTo>
                    <a:lnTo>
                      <a:pt x="302" y="184"/>
                    </a:lnTo>
                    <a:lnTo>
                      <a:pt x="298" y="198"/>
                    </a:lnTo>
                    <a:lnTo>
                      <a:pt x="292" y="212"/>
                    </a:lnTo>
                    <a:lnTo>
                      <a:pt x="286" y="226"/>
                    </a:lnTo>
                    <a:lnTo>
                      <a:pt x="278" y="238"/>
                    </a:lnTo>
                    <a:lnTo>
                      <a:pt x="270" y="250"/>
                    </a:lnTo>
                    <a:lnTo>
                      <a:pt x="260" y="262"/>
                    </a:lnTo>
                    <a:lnTo>
                      <a:pt x="248" y="272"/>
                    </a:lnTo>
                    <a:lnTo>
                      <a:pt x="236" y="280"/>
                    </a:lnTo>
                    <a:lnTo>
                      <a:pt x="224" y="288"/>
                    </a:lnTo>
                    <a:lnTo>
                      <a:pt x="212" y="294"/>
                    </a:lnTo>
                    <a:lnTo>
                      <a:pt x="198" y="300"/>
                    </a:lnTo>
                    <a:lnTo>
                      <a:pt x="182" y="302"/>
                    </a:lnTo>
                    <a:lnTo>
                      <a:pt x="168" y="306"/>
                    </a:lnTo>
                    <a:lnTo>
                      <a:pt x="152" y="306"/>
                    </a:lnTo>
                    <a:lnTo>
                      <a:pt x="152" y="306"/>
                    </a:lnTo>
                    <a:close/>
                    <a:moveTo>
                      <a:pt x="152" y="106"/>
                    </a:moveTo>
                    <a:lnTo>
                      <a:pt x="152" y="106"/>
                    </a:lnTo>
                    <a:lnTo>
                      <a:pt x="142" y="106"/>
                    </a:lnTo>
                    <a:lnTo>
                      <a:pt x="134" y="110"/>
                    </a:lnTo>
                    <a:lnTo>
                      <a:pt x="126" y="114"/>
                    </a:lnTo>
                    <a:lnTo>
                      <a:pt x="118" y="120"/>
                    </a:lnTo>
                    <a:lnTo>
                      <a:pt x="112" y="126"/>
                    </a:lnTo>
                    <a:lnTo>
                      <a:pt x="108" y="134"/>
                    </a:lnTo>
                    <a:lnTo>
                      <a:pt x="106" y="144"/>
                    </a:lnTo>
                    <a:lnTo>
                      <a:pt x="104" y="154"/>
                    </a:lnTo>
                    <a:lnTo>
                      <a:pt x="104" y="154"/>
                    </a:lnTo>
                    <a:lnTo>
                      <a:pt x="106" y="164"/>
                    </a:lnTo>
                    <a:lnTo>
                      <a:pt x="108" y="172"/>
                    </a:lnTo>
                    <a:lnTo>
                      <a:pt x="112" y="180"/>
                    </a:lnTo>
                    <a:lnTo>
                      <a:pt x="118" y="188"/>
                    </a:lnTo>
                    <a:lnTo>
                      <a:pt x="126" y="192"/>
                    </a:lnTo>
                    <a:lnTo>
                      <a:pt x="134" y="198"/>
                    </a:lnTo>
                    <a:lnTo>
                      <a:pt x="142" y="200"/>
                    </a:lnTo>
                    <a:lnTo>
                      <a:pt x="152" y="202"/>
                    </a:lnTo>
                    <a:lnTo>
                      <a:pt x="152" y="202"/>
                    </a:lnTo>
                    <a:lnTo>
                      <a:pt x="162" y="200"/>
                    </a:lnTo>
                    <a:lnTo>
                      <a:pt x="170" y="198"/>
                    </a:lnTo>
                    <a:lnTo>
                      <a:pt x="178" y="192"/>
                    </a:lnTo>
                    <a:lnTo>
                      <a:pt x="186" y="188"/>
                    </a:lnTo>
                    <a:lnTo>
                      <a:pt x="192" y="180"/>
                    </a:lnTo>
                    <a:lnTo>
                      <a:pt x="196" y="172"/>
                    </a:lnTo>
                    <a:lnTo>
                      <a:pt x="198" y="164"/>
                    </a:lnTo>
                    <a:lnTo>
                      <a:pt x="200" y="154"/>
                    </a:lnTo>
                    <a:lnTo>
                      <a:pt x="200" y="154"/>
                    </a:lnTo>
                    <a:lnTo>
                      <a:pt x="198" y="144"/>
                    </a:lnTo>
                    <a:lnTo>
                      <a:pt x="196" y="134"/>
                    </a:lnTo>
                    <a:lnTo>
                      <a:pt x="192" y="126"/>
                    </a:lnTo>
                    <a:lnTo>
                      <a:pt x="186" y="120"/>
                    </a:lnTo>
                    <a:lnTo>
                      <a:pt x="178" y="114"/>
                    </a:lnTo>
                    <a:lnTo>
                      <a:pt x="170" y="110"/>
                    </a:lnTo>
                    <a:lnTo>
                      <a:pt x="162" y="106"/>
                    </a:lnTo>
                    <a:lnTo>
                      <a:pt x="152" y="106"/>
                    </a:lnTo>
                    <a:lnTo>
                      <a:pt x="152" y="106"/>
                    </a:lnTo>
                    <a:close/>
                  </a:path>
                </a:pathLst>
              </a:custGeom>
              <a:solidFill>
                <a:srgbClr val="1A86D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" name="Freeform 8"/>
              <p:cNvSpPr>
                <a:spLocks noEditPoints="1"/>
              </p:cNvSpPr>
              <p:nvPr/>
            </p:nvSpPr>
            <p:spPr bwMode="auto">
              <a:xfrm>
                <a:off x="6245822" y="2850015"/>
                <a:ext cx="185323" cy="185323"/>
              </a:xfrm>
              <a:custGeom>
                <a:avLst/>
                <a:gdLst>
                  <a:gd name="T0" fmla="*/ 154 w 306"/>
                  <a:gd name="T1" fmla="*/ 306 h 306"/>
                  <a:gd name="T2" fmla="*/ 122 w 306"/>
                  <a:gd name="T3" fmla="*/ 302 h 306"/>
                  <a:gd name="T4" fmla="*/ 94 w 306"/>
                  <a:gd name="T5" fmla="*/ 294 h 306"/>
                  <a:gd name="T6" fmla="*/ 68 w 306"/>
                  <a:gd name="T7" fmla="*/ 280 h 306"/>
                  <a:gd name="T8" fmla="*/ 46 w 306"/>
                  <a:gd name="T9" fmla="*/ 262 h 306"/>
                  <a:gd name="T10" fmla="*/ 26 w 306"/>
                  <a:gd name="T11" fmla="*/ 238 h 306"/>
                  <a:gd name="T12" fmla="*/ 12 w 306"/>
                  <a:gd name="T13" fmla="*/ 212 h 306"/>
                  <a:gd name="T14" fmla="*/ 4 w 306"/>
                  <a:gd name="T15" fmla="*/ 184 h 306"/>
                  <a:gd name="T16" fmla="*/ 0 w 306"/>
                  <a:gd name="T17" fmla="*/ 154 h 306"/>
                  <a:gd name="T18" fmla="*/ 2 w 306"/>
                  <a:gd name="T19" fmla="*/ 138 h 306"/>
                  <a:gd name="T20" fmla="*/ 8 w 306"/>
                  <a:gd name="T21" fmla="*/ 108 h 306"/>
                  <a:gd name="T22" fmla="*/ 18 w 306"/>
                  <a:gd name="T23" fmla="*/ 80 h 306"/>
                  <a:gd name="T24" fmla="*/ 36 w 306"/>
                  <a:gd name="T25" fmla="*/ 56 h 306"/>
                  <a:gd name="T26" fmla="*/ 56 w 306"/>
                  <a:gd name="T27" fmla="*/ 36 h 306"/>
                  <a:gd name="T28" fmla="*/ 80 w 306"/>
                  <a:gd name="T29" fmla="*/ 18 h 306"/>
                  <a:gd name="T30" fmla="*/ 108 w 306"/>
                  <a:gd name="T31" fmla="*/ 8 h 306"/>
                  <a:gd name="T32" fmla="*/ 138 w 306"/>
                  <a:gd name="T33" fmla="*/ 2 h 306"/>
                  <a:gd name="T34" fmla="*/ 154 w 306"/>
                  <a:gd name="T35" fmla="*/ 0 h 306"/>
                  <a:gd name="T36" fmla="*/ 184 w 306"/>
                  <a:gd name="T37" fmla="*/ 4 h 306"/>
                  <a:gd name="T38" fmla="*/ 212 w 306"/>
                  <a:gd name="T39" fmla="*/ 12 h 306"/>
                  <a:gd name="T40" fmla="*/ 238 w 306"/>
                  <a:gd name="T41" fmla="*/ 26 h 306"/>
                  <a:gd name="T42" fmla="*/ 260 w 306"/>
                  <a:gd name="T43" fmla="*/ 46 h 306"/>
                  <a:gd name="T44" fmla="*/ 280 w 306"/>
                  <a:gd name="T45" fmla="*/ 68 h 306"/>
                  <a:gd name="T46" fmla="*/ 294 w 306"/>
                  <a:gd name="T47" fmla="*/ 94 h 306"/>
                  <a:gd name="T48" fmla="*/ 302 w 306"/>
                  <a:gd name="T49" fmla="*/ 122 h 306"/>
                  <a:gd name="T50" fmla="*/ 306 w 306"/>
                  <a:gd name="T51" fmla="*/ 154 h 306"/>
                  <a:gd name="T52" fmla="*/ 304 w 306"/>
                  <a:gd name="T53" fmla="*/ 168 h 306"/>
                  <a:gd name="T54" fmla="*/ 298 w 306"/>
                  <a:gd name="T55" fmla="*/ 198 h 306"/>
                  <a:gd name="T56" fmla="*/ 288 w 306"/>
                  <a:gd name="T57" fmla="*/ 226 h 306"/>
                  <a:gd name="T58" fmla="*/ 270 w 306"/>
                  <a:gd name="T59" fmla="*/ 250 h 306"/>
                  <a:gd name="T60" fmla="*/ 250 w 306"/>
                  <a:gd name="T61" fmla="*/ 270 h 306"/>
                  <a:gd name="T62" fmla="*/ 226 w 306"/>
                  <a:gd name="T63" fmla="*/ 288 h 306"/>
                  <a:gd name="T64" fmla="*/ 198 w 306"/>
                  <a:gd name="T65" fmla="*/ 298 h 306"/>
                  <a:gd name="T66" fmla="*/ 168 w 306"/>
                  <a:gd name="T67" fmla="*/ 306 h 306"/>
                  <a:gd name="T68" fmla="*/ 154 w 306"/>
                  <a:gd name="T69" fmla="*/ 306 h 306"/>
                  <a:gd name="T70" fmla="*/ 154 w 306"/>
                  <a:gd name="T71" fmla="*/ 106 h 306"/>
                  <a:gd name="T72" fmla="*/ 134 w 306"/>
                  <a:gd name="T73" fmla="*/ 110 h 306"/>
                  <a:gd name="T74" fmla="*/ 120 w 306"/>
                  <a:gd name="T75" fmla="*/ 120 h 306"/>
                  <a:gd name="T76" fmla="*/ 110 w 306"/>
                  <a:gd name="T77" fmla="*/ 134 h 306"/>
                  <a:gd name="T78" fmla="*/ 106 w 306"/>
                  <a:gd name="T79" fmla="*/ 154 h 306"/>
                  <a:gd name="T80" fmla="*/ 106 w 306"/>
                  <a:gd name="T81" fmla="*/ 162 h 306"/>
                  <a:gd name="T82" fmla="*/ 114 w 306"/>
                  <a:gd name="T83" fmla="*/ 180 h 306"/>
                  <a:gd name="T84" fmla="*/ 126 w 306"/>
                  <a:gd name="T85" fmla="*/ 192 h 306"/>
                  <a:gd name="T86" fmla="*/ 144 w 306"/>
                  <a:gd name="T87" fmla="*/ 200 h 306"/>
                  <a:gd name="T88" fmla="*/ 154 w 306"/>
                  <a:gd name="T89" fmla="*/ 200 h 306"/>
                  <a:gd name="T90" fmla="*/ 172 w 306"/>
                  <a:gd name="T91" fmla="*/ 198 h 306"/>
                  <a:gd name="T92" fmla="*/ 186 w 306"/>
                  <a:gd name="T93" fmla="*/ 186 h 306"/>
                  <a:gd name="T94" fmla="*/ 196 w 306"/>
                  <a:gd name="T95" fmla="*/ 172 h 306"/>
                  <a:gd name="T96" fmla="*/ 200 w 306"/>
                  <a:gd name="T97" fmla="*/ 154 h 306"/>
                  <a:gd name="T98" fmla="*/ 200 w 306"/>
                  <a:gd name="T99" fmla="*/ 144 h 306"/>
                  <a:gd name="T100" fmla="*/ 192 w 306"/>
                  <a:gd name="T101" fmla="*/ 126 h 306"/>
                  <a:gd name="T102" fmla="*/ 180 w 306"/>
                  <a:gd name="T103" fmla="*/ 114 h 306"/>
                  <a:gd name="T104" fmla="*/ 162 w 306"/>
                  <a:gd name="T105" fmla="*/ 106 h 306"/>
                  <a:gd name="T106" fmla="*/ 154 w 306"/>
                  <a:gd name="T107" fmla="*/ 106 h 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06" h="306">
                    <a:moveTo>
                      <a:pt x="154" y="306"/>
                    </a:moveTo>
                    <a:lnTo>
                      <a:pt x="154" y="306"/>
                    </a:lnTo>
                    <a:lnTo>
                      <a:pt x="138" y="306"/>
                    </a:lnTo>
                    <a:lnTo>
                      <a:pt x="122" y="302"/>
                    </a:lnTo>
                    <a:lnTo>
                      <a:pt x="108" y="298"/>
                    </a:lnTo>
                    <a:lnTo>
                      <a:pt x="94" y="294"/>
                    </a:lnTo>
                    <a:lnTo>
                      <a:pt x="80" y="288"/>
                    </a:lnTo>
                    <a:lnTo>
                      <a:pt x="68" y="280"/>
                    </a:lnTo>
                    <a:lnTo>
                      <a:pt x="56" y="270"/>
                    </a:lnTo>
                    <a:lnTo>
                      <a:pt x="46" y="262"/>
                    </a:lnTo>
                    <a:lnTo>
                      <a:pt x="36" y="250"/>
                    </a:lnTo>
                    <a:lnTo>
                      <a:pt x="26" y="238"/>
                    </a:lnTo>
                    <a:lnTo>
                      <a:pt x="18" y="226"/>
                    </a:lnTo>
                    <a:lnTo>
                      <a:pt x="12" y="212"/>
                    </a:lnTo>
                    <a:lnTo>
                      <a:pt x="8" y="198"/>
                    </a:lnTo>
                    <a:lnTo>
                      <a:pt x="4" y="184"/>
                    </a:lnTo>
                    <a:lnTo>
                      <a:pt x="2" y="168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2" y="138"/>
                    </a:lnTo>
                    <a:lnTo>
                      <a:pt x="4" y="122"/>
                    </a:lnTo>
                    <a:lnTo>
                      <a:pt x="8" y="108"/>
                    </a:lnTo>
                    <a:lnTo>
                      <a:pt x="12" y="94"/>
                    </a:lnTo>
                    <a:lnTo>
                      <a:pt x="18" y="80"/>
                    </a:lnTo>
                    <a:lnTo>
                      <a:pt x="26" y="68"/>
                    </a:lnTo>
                    <a:lnTo>
                      <a:pt x="36" y="56"/>
                    </a:lnTo>
                    <a:lnTo>
                      <a:pt x="46" y="46"/>
                    </a:lnTo>
                    <a:lnTo>
                      <a:pt x="56" y="36"/>
                    </a:lnTo>
                    <a:lnTo>
                      <a:pt x="68" y="26"/>
                    </a:lnTo>
                    <a:lnTo>
                      <a:pt x="80" y="18"/>
                    </a:lnTo>
                    <a:lnTo>
                      <a:pt x="94" y="12"/>
                    </a:lnTo>
                    <a:lnTo>
                      <a:pt x="108" y="8"/>
                    </a:lnTo>
                    <a:lnTo>
                      <a:pt x="122" y="4"/>
                    </a:lnTo>
                    <a:lnTo>
                      <a:pt x="138" y="2"/>
                    </a:lnTo>
                    <a:lnTo>
                      <a:pt x="154" y="0"/>
                    </a:lnTo>
                    <a:lnTo>
                      <a:pt x="154" y="0"/>
                    </a:lnTo>
                    <a:lnTo>
                      <a:pt x="168" y="2"/>
                    </a:lnTo>
                    <a:lnTo>
                      <a:pt x="184" y="4"/>
                    </a:lnTo>
                    <a:lnTo>
                      <a:pt x="198" y="8"/>
                    </a:lnTo>
                    <a:lnTo>
                      <a:pt x="212" y="12"/>
                    </a:lnTo>
                    <a:lnTo>
                      <a:pt x="226" y="18"/>
                    </a:lnTo>
                    <a:lnTo>
                      <a:pt x="238" y="26"/>
                    </a:lnTo>
                    <a:lnTo>
                      <a:pt x="250" y="36"/>
                    </a:lnTo>
                    <a:lnTo>
                      <a:pt x="260" y="46"/>
                    </a:lnTo>
                    <a:lnTo>
                      <a:pt x="270" y="56"/>
                    </a:lnTo>
                    <a:lnTo>
                      <a:pt x="280" y="68"/>
                    </a:lnTo>
                    <a:lnTo>
                      <a:pt x="288" y="80"/>
                    </a:lnTo>
                    <a:lnTo>
                      <a:pt x="294" y="94"/>
                    </a:lnTo>
                    <a:lnTo>
                      <a:pt x="298" y="108"/>
                    </a:lnTo>
                    <a:lnTo>
                      <a:pt x="302" y="122"/>
                    </a:lnTo>
                    <a:lnTo>
                      <a:pt x="304" y="138"/>
                    </a:lnTo>
                    <a:lnTo>
                      <a:pt x="306" y="154"/>
                    </a:lnTo>
                    <a:lnTo>
                      <a:pt x="306" y="154"/>
                    </a:lnTo>
                    <a:lnTo>
                      <a:pt x="304" y="168"/>
                    </a:lnTo>
                    <a:lnTo>
                      <a:pt x="302" y="184"/>
                    </a:lnTo>
                    <a:lnTo>
                      <a:pt x="298" y="198"/>
                    </a:lnTo>
                    <a:lnTo>
                      <a:pt x="294" y="212"/>
                    </a:lnTo>
                    <a:lnTo>
                      <a:pt x="288" y="226"/>
                    </a:lnTo>
                    <a:lnTo>
                      <a:pt x="280" y="238"/>
                    </a:lnTo>
                    <a:lnTo>
                      <a:pt x="270" y="250"/>
                    </a:lnTo>
                    <a:lnTo>
                      <a:pt x="260" y="262"/>
                    </a:lnTo>
                    <a:lnTo>
                      <a:pt x="250" y="270"/>
                    </a:lnTo>
                    <a:lnTo>
                      <a:pt x="238" y="280"/>
                    </a:lnTo>
                    <a:lnTo>
                      <a:pt x="226" y="288"/>
                    </a:lnTo>
                    <a:lnTo>
                      <a:pt x="212" y="294"/>
                    </a:lnTo>
                    <a:lnTo>
                      <a:pt x="198" y="298"/>
                    </a:lnTo>
                    <a:lnTo>
                      <a:pt x="184" y="302"/>
                    </a:lnTo>
                    <a:lnTo>
                      <a:pt x="168" y="306"/>
                    </a:lnTo>
                    <a:lnTo>
                      <a:pt x="154" y="306"/>
                    </a:lnTo>
                    <a:lnTo>
                      <a:pt x="154" y="306"/>
                    </a:lnTo>
                    <a:close/>
                    <a:moveTo>
                      <a:pt x="154" y="106"/>
                    </a:moveTo>
                    <a:lnTo>
                      <a:pt x="154" y="106"/>
                    </a:lnTo>
                    <a:lnTo>
                      <a:pt x="144" y="106"/>
                    </a:lnTo>
                    <a:lnTo>
                      <a:pt x="134" y="110"/>
                    </a:lnTo>
                    <a:lnTo>
                      <a:pt x="126" y="114"/>
                    </a:lnTo>
                    <a:lnTo>
                      <a:pt x="120" y="120"/>
                    </a:lnTo>
                    <a:lnTo>
                      <a:pt x="114" y="126"/>
                    </a:lnTo>
                    <a:lnTo>
                      <a:pt x="110" y="134"/>
                    </a:lnTo>
                    <a:lnTo>
                      <a:pt x="106" y="144"/>
                    </a:lnTo>
                    <a:lnTo>
                      <a:pt x="106" y="154"/>
                    </a:lnTo>
                    <a:lnTo>
                      <a:pt x="106" y="154"/>
                    </a:lnTo>
                    <a:lnTo>
                      <a:pt x="106" y="162"/>
                    </a:lnTo>
                    <a:lnTo>
                      <a:pt x="110" y="172"/>
                    </a:lnTo>
                    <a:lnTo>
                      <a:pt x="114" y="180"/>
                    </a:lnTo>
                    <a:lnTo>
                      <a:pt x="120" y="186"/>
                    </a:lnTo>
                    <a:lnTo>
                      <a:pt x="126" y="192"/>
                    </a:lnTo>
                    <a:lnTo>
                      <a:pt x="134" y="198"/>
                    </a:lnTo>
                    <a:lnTo>
                      <a:pt x="144" y="200"/>
                    </a:lnTo>
                    <a:lnTo>
                      <a:pt x="154" y="200"/>
                    </a:lnTo>
                    <a:lnTo>
                      <a:pt x="154" y="200"/>
                    </a:lnTo>
                    <a:lnTo>
                      <a:pt x="162" y="200"/>
                    </a:lnTo>
                    <a:lnTo>
                      <a:pt x="172" y="198"/>
                    </a:lnTo>
                    <a:lnTo>
                      <a:pt x="180" y="192"/>
                    </a:lnTo>
                    <a:lnTo>
                      <a:pt x="186" y="186"/>
                    </a:lnTo>
                    <a:lnTo>
                      <a:pt x="192" y="180"/>
                    </a:lnTo>
                    <a:lnTo>
                      <a:pt x="196" y="172"/>
                    </a:lnTo>
                    <a:lnTo>
                      <a:pt x="200" y="162"/>
                    </a:lnTo>
                    <a:lnTo>
                      <a:pt x="200" y="154"/>
                    </a:lnTo>
                    <a:lnTo>
                      <a:pt x="200" y="154"/>
                    </a:lnTo>
                    <a:lnTo>
                      <a:pt x="200" y="144"/>
                    </a:lnTo>
                    <a:lnTo>
                      <a:pt x="196" y="134"/>
                    </a:lnTo>
                    <a:lnTo>
                      <a:pt x="192" y="126"/>
                    </a:lnTo>
                    <a:lnTo>
                      <a:pt x="186" y="120"/>
                    </a:lnTo>
                    <a:lnTo>
                      <a:pt x="180" y="114"/>
                    </a:lnTo>
                    <a:lnTo>
                      <a:pt x="172" y="110"/>
                    </a:lnTo>
                    <a:lnTo>
                      <a:pt x="162" y="106"/>
                    </a:lnTo>
                    <a:lnTo>
                      <a:pt x="154" y="106"/>
                    </a:lnTo>
                    <a:lnTo>
                      <a:pt x="154" y="106"/>
                    </a:lnTo>
                    <a:close/>
                  </a:path>
                </a:pathLst>
              </a:custGeom>
              <a:solidFill>
                <a:srgbClr val="1A86D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" name="Freeform 9"/>
              <p:cNvSpPr>
                <a:spLocks/>
              </p:cNvSpPr>
              <p:nvPr/>
            </p:nvSpPr>
            <p:spPr bwMode="auto">
              <a:xfrm>
                <a:off x="5875176" y="3006268"/>
                <a:ext cx="190168" cy="102957"/>
              </a:xfrm>
              <a:custGeom>
                <a:avLst/>
                <a:gdLst>
                  <a:gd name="T0" fmla="*/ 262 w 314"/>
                  <a:gd name="T1" fmla="*/ 170 h 170"/>
                  <a:gd name="T2" fmla="*/ 262 w 314"/>
                  <a:gd name="T3" fmla="*/ 170 h 170"/>
                  <a:gd name="T4" fmla="*/ 254 w 314"/>
                  <a:gd name="T5" fmla="*/ 170 h 170"/>
                  <a:gd name="T6" fmla="*/ 246 w 314"/>
                  <a:gd name="T7" fmla="*/ 168 h 170"/>
                  <a:gd name="T8" fmla="*/ 36 w 314"/>
                  <a:gd name="T9" fmla="*/ 104 h 170"/>
                  <a:gd name="T10" fmla="*/ 36 w 314"/>
                  <a:gd name="T11" fmla="*/ 104 h 170"/>
                  <a:gd name="T12" fmla="*/ 26 w 314"/>
                  <a:gd name="T13" fmla="*/ 100 h 170"/>
                  <a:gd name="T14" fmla="*/ 18 w 314"/>
                  <a:gd name="T15" fmla="*/ 94 h 170"/>
                  <a:gd name="T16" fmla="*/ 10 w 314"/>
                  <a:gd name="T17" fmla="*/ 86 h 170"/>
                  <a:gd name="T18" fmla="*/ 6 w 314"/>
                  <a:gd name="T19" fmla="*/ 78 h 170"/>
                  <a:gd name="T20" fmla="*/ 2 w 314"/>
                  <a:gd name="T21" fmla="*/ 68 h 170"/>
                  <a:gd name="T22" fmla="*/ 0 w 314"/>
                  <a:gd name="T23" fmla="*/ 58 h 170"/>
                  <a:gd name="T24" fmla="*/ 0 w 314"/>
                  <a:gd name="T25" fmla="*/ 48 h 170"/>
                  <a:gd name="T26" fmla="*/ 2 w 314"/>
                  <a:gd name="T27" fmla="*/ 38 h 170"/>
                  <a:gd name="T28" fmla="*/ 2 w 314"/>
                  <a:gd name="T29" fmla="*/ 38 h 170"/>
                  <a:gd name="T30" fmla="*/ 6 w 314"/>
                  <a:gd name="T31" fmla="*/ 28 h 170"/>
                  <a:gd name="T32" fmla="*/ 12 w 314"/>
                  <a:gd name="T33" fmla="*/ 20 h 170"/>
                  <a:gd name="T34" fmla="*/ 18 w 314"/>
                  <a:gd name="T35" fmla="*/ 12 h 170"/>
                  <a:gd name="T36" fmla="*/ 28 w 314"/>
                  <a:gd name="T37" fmla="*/ 6 h 170"/>
                  <a:gd name="T38" fmla="*/ 36 w 314"/>
                  <a:gd name="T39" fmla="*/ 2 h 170"/>
                  <a:gd name="T40" fmla="*/ 46 w 314"/>
                  <a:gd name="T41" fmla="*/ 0 h 170"/>
                  <a:gd name="T42" fmla="*/ 56 w 314"/>
                  <a:gd name="T43" fmla="*/ 0 h 170"/>
                  <a:gd name="T44" fmla="*/ 68 w 314"/>
                  <a:gd name="T45" fmla="*/ 4 h 170"/>
                  <a:gd name="T46" fmla="*/ 278 w 314"/>
                  <a:gd name="T47" fmla="*/ 68 h 170"/>
                  <a:gd name="T48" fmla="*/ 278 w 314"/>
                  <a:gd name="T49" fmla="*/ 68 h 170"/>
                  <a:gd name="T50" fmla="*/ 286 w 314"/>
                  <a:gd name="T51" fmla="*/ 72 h 170"/>
                  <a:gd name="T52" fmla="*/ 296 w 314"/>
                  <a:gd name="T53" fmla="*/ 78 h 170"/>
                  <a:gd name="T54" fmla="*/ 302 w 314"/>
                  <a:gd name="T55" fmla="*/ 86 h 170"/>
                  <a:gd name="T56" fmla="*/ 308 w 314"/>
                  <a:gd name="T57" fmla="*/ 94 h 170"/>
                  <a:gd name="T58" fmla="*/ 312 w 314"/>
                  <a:gd name="T59" fmla="*/ 104 h 170"/>
                  <a:gd name="T60" fmla="*/ 314 w 314"/>
                  <a:gd name="T61" fmla="*/ 114 h 170"/>
                  <a:gd name="T62" fmla="*/ 314 w 314"/>
                  <a:gd name="T63" fmla="*/ 124 h 170"/>
                  <a:gd name="T64" fmla="*/ 312 w 314"/>
                  <a:gd name="T65" fmla="*/ 134 h 170"/>
                  <a:gd name="T66" fmla="*/ 312 w 314"/>
                  <a:gd name="T67" fmla="*/ 134 h 170"/>
                  <a:gd name="T68" fmla="*/ 308 w 314"/>
                  <a:gd name="T69" fmla="*/ 142 h 170"/>
                  <a:gd name="T70" fmla="*/ 304 w 314"/>
                  <a:gd name="T71" fmla="*/ 150 h 170"/>
                  <a:gd name="T72" fmla="*/ 298 w 314"/>
                  <a:gd name="T73" fmla="*/ 156 h 170"/>
                  <a:gd name="T74" fmla="*/ 292 w 314"/>
                  <a:gd name="T75" fmla="*/ 160 h 170"/>
                  <a:gd name="T76" fmla="*/ 286 w 314"/>
                  <a:gd name="T77" fmla="*/ 166 h 170"/>
                  <a:gd name="T78" fmla="*/ 278 w 314"/>
                  <a:gd name="T79" fmla="*/ 168 h 170"/>
                  <a:gd name="T80" fmla="*/ 270 w 314"/>
                  <a:gd name="T81" fmla="*/ 170 h 170"/>
                  <a:gd name="T82" fmla="*/ 262 w 314"/>
                  <a:gd name="T83" fmla="*/ 170 h 170"/>
                  <a:gd name="T84" fmla="*/ 262 w 314"/>
                  <a:gd name="T85" fmla="*/ 17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14" h="170">
                    <a:moveTo>
                      <a:pt x="262" y="170"/>
                    </a:moveTo>
                    <a:lnTo>
                      <a:pt x="262" y="170"/>
                    </a:lnTo>
                    <a:lnTo>
                      <a:pt x="254" y="170"/>
                    </a:lnTo>
                    <a:lnTo>
                      <a:pt x="246" y="168"/>
                    </a:lnTo>
                    <a:lnTo>
                      <a:pt x="36" y="104"/>
                    </a:lnTo>
                    <a:lnTo>
                      <a:pt x="36" y="104"/>
                    </a:lnTo>
                    <a:lnTo>
                      <a:pt x="26" y="100"/>
                    </a:lnTo>
                    <a:lnTo>
                      <a:pt x="18" y="94"/>
                    </a:lnTo>
                    <a:lnTo>
                      <a:pt x="10" y="86"/>
                    </a:lnTo>
                    <a:lnTo>
                      <a:pt x="6" y="78"/>
                    </a:lnTo>
                    <a:lnTo>
                      <a:pt x="2" y="68"/>
                    </a:lnTo>
                    <a:lnTo>
                      <a:pt x="0" y="58"/>
                    </a:lnTo>
                    <a:lnTo>
                      <a:pt x="0" y="4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6" y="28"/>
                    </a:lnTo>
                    <a:lnTo>
                      <a:pt x="12" y="20"/>
                    </a:lnTo>
                    <a:lnTo>
                      <a:pt x="18" y="12"/>
                    </a:lnTo>
                    <a:lnTo>
                      <a:pt x="28" y="6"/>
                    </a:lnTo>
                    <a:lnTo>
                      <a:pt x="36" y="2"/>
                    </a:lnTo>
                    <a:lnTo>
                      <a:pt x="46" y="0"/>
                    </a:lnTo>
                    <a:lnTo>
                      <a:pt x="56" y="0"/>
                    </a:lnTo>
                    <a:lnTo>
                      <a:pt x="68" y="4"/>
                    </a:lnTo>
                    <a:lnTo>
                      <a:pt x="278" y="68"/>
                    </a:lnTo>
                    <a:lnTo>
                      <a:pt x="278" y="68"/>
                    </a:lnTo>
                    <a:lnTo>
                      <a:pt x="286" y="72"/>
                    </a:lnTo>
                    <a:lnTo>
                      <a:pt x="296" y="78"/>
                    </a:lnTo>
                    <a:lnTo>
                      <a:pt x="302" y="86"/>
                    </a:lnTo>
                    <a:lnTo>
                      <a:pt x="308" y="94"/>
                    </a:lnTo>
                    <a:lnTo>
                      <a:pt x="312" y="104"/>
                    </a:lnTo>
                    <a:lnTo>
                      <a:pt x="314" y="114"/>
                    </a:lnTo>
                    <a:lnTo>
                      <a:pt x="314" y="124"/>
                    </a:lnTo>
                    <a:lnTo>
                      <a:pt x="312" y="134"/>
                    </a:lnTo>
                    <a:lnTo>
                      <a:pt x="312" y="134"/>
                    </a:lnTo>
                    <a:lnTo>
                      <a:pt x="308" y="142"/>
                    </a:lnTo>
                    <a:lnTo>
                      <a:pt x="304" y="150"/>
                    </a:lnTo>
                    <a:lnTo>
                      <a:pt x="298" y="156"/>
                    </a:lnTo>
                    <a:lnTo>
                      <a:pt x="292" y="160"/>
                    </a:lnTo>
                    <a:lnTo>
                      <a:pt x="286" y="166"/>
                    </a:lnTo>
                    <a:lnTo>
                      <a:pt x="278" y="168"/>
                    </a:lnTo>
                    <a:lnTo>
                      <a:pt x="270" y="170"/>
                    </a:lnTo>
                    <a:lnTo>
                      <a:pt x="262" y="170"/>
                    </a:lnTo>
                    <a:lnTo>
                      <a:pt x="262" y="170"/>
                    </a:lnTo>
                    <a:close/>
                  </a:path>
                </a:pathLst>
              </a:custGeom>
              <a:solidFill>
                <a:srgbClr val="1A86D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" name="Freeform 10"/>
              <p:cNvSpPr>
                <a:spLocks/>
              </p:cNvSpPr>
              <p:nvPr/>
            </p:nvSpPr>
            <p:spPr bwMode="auto">
              <a:xfrm>
                <a:off x="6123485" y="2952972"/>
                <a:ext cx="202281" cy="156253"/>
              </a:xfrm>
              <a:custGeom>
                <a:avLst/>
                <a:gdLst>
                  <a:gd name="T0" fmla="*/ 52 w 334"/>
                  <a:gd name="T1" fmla="*/ 258 h 258"/>
                  <a:gd name="T2" fmla="*/ 52 w 334"/>
                  <a:gd name="T3" fmla="*/ 258 h 258"/>
                  <a:gd name="T4" fmla="*/ 40 w 334"/>
                  <a:gd name="T5" fmla="*/ 258 h 258"/>
                  <a:gd name="T6" fmla="*/ 28 w 334"/>
                  <a:gd name="T7" fmla="*/ 252 h 258"/>
                  <a:gd name="T8" fmla="*/ 16 w 334"/>
                  <a:gd name="T9" fmla="*/ 246 h 258"/>
                  <a:gd name="T10" fmla="*/ 8 w 334"/>
                  <a:gd name="T11" fmla="*/ 236 h 258"/>
                  <a:gd name="T12" fmla="*/ 8 w 334"/>
                  <a:gd name="T13" fmla="*/ 236 h 258"/>
                  <a:gd name="T14" fmla="*/ 4 w 334"/>
                  <a:gd name="T15" fmla="*/ 226 h 258"/>
                  <a:gd name="T16" fmla="*/ 0 w 334"/>
                  <a:gd name="T17" fmla="*/ 216 h 258"/>
                  <a:gd name="T18" fmla="*/ 0 w 334"/>
                  <a:gd name="T19" fmla="*/ 206 h 258"/>
                  <a:gd name="T20" fmla="*/ 0 w 334"/>
                  <a:gd name="T21" fmla="*/ 196 h 258"/>
                  <a:gd name="T22" fmla="*/ 4 w 334"/>
                  <a:gd name="T23" fmla="*/ 186 h 258"/>
                  <a:gd name="T24" fmla="*/ 8 w 334"/>
                  <a:gd name="T25" fmla="*/ 178 h 258"/>
                  <a:gd name="T26" fmla="*/ 14 w 334"/>
                  <a:gd name="T27" fmla="*/ 170 h 258"/>
                  <a:gd name="T28" fmla="*/ 22 w 334"/>
                  <a:gd name="T29" fmla="*/ 162 h 258"/>
                  <a:gd name="T30" fmla="*/ 252 w 334"/>
                  <a:gd name="T31" fmla="*/ 8 h 258"/>
                  <a:gd name="T32" fmla="*/ 252 w 334"/>
                  <a:gd name="T33" fmla="*/ 8 h 258"/>
                  <a:gd name="T34" fmla="*/ 262 w 334"/>
                  <a:gd name="T35" fmla="*/ 4 h 258"/>
                  <a:gd name="T36" fmla="*/ 272 w 334"/>
                  <a:gd name="T37" fmla="*/ 0 h 258"/>
                  <a:gd name="T38" fmla="*/ 282 w 334"/>
                  <a:gd name="T39" fmla="*/ 0 h 258"/>
                  <a:gd name="T40" fmla="*/ 292 w 334"/>
                  <a:gd name="T41" fmla="*/ 0 h 258"/>
                  <a:gd name="T42" fmla="*/ 302 w 334"/>
                  <a:gd name="T43" fmla="*/ 4 h 258"/>
                  <a:gd name="T44" fmla="*/ 310 w 334"/>
                  <a:gd name="T45" fmla="*/ 8 h 258"/>
                  <a:gd name="T46" fmla="*/ 318 w 334"/>
                  <a:gd name="T47" fmla="*/ 14 h 258"/>
                  <a:gd name="T48" fmla="*/ 326 w 334"/>
                  <a:gd name="T49" fmla="*/ 22 h 258"/>
                  <a:gd name="T50" fmla="*/ 326 w 334"/>
                  <a:gd name="T51" fmla="*/ 22 h 258"/>
                  <a:gd name="T52" fmla="*/ 330 w 334"/>
                  <a:gd name="T53" fmla="*/ 32 h 258"/>
                  <a:gd name="T54" fmla="*/ 334 w 334"/>
                  <a:gd name="T55" fmla="*/ 42 h 258"/>
                  <a:gd name="T56" fmla="*/ 334 w 334"/>
                  <a:gd name="T57" fmla="*/ 52 h 258"/>
                  <a:gd name="T58" fmla="*/ 334 w 334"/>
                  <a:gd name="T59" fmla="*/ 62 h 258"/>
                  <a:gd name="T60" fmla="*/ 330 w 334"/>
                  <a:gd name="T61" fmla="*/ 72 h 258"/>
                  <a:gd name="T62" fmla="*/ 326 w 334"/>
                  <a:gd name="T63" fmla="*/ 80 h 258"/>
                  <a:gd name="T64" fmla="*/ 320 w 334"/>
                  <a:gd name="T65" fmla="*/ 88 h 258"/>
                  <a:gd name="T66" fmla="*/ 312 w 334"/>
                  <a:gd name="T67" fmla="*/ 96 h 258"/>
                  <a:gd name="T68" fmla="*/ 82 w 334"/>
                  <a:gd name="T69" fmla="*/ 250 h 258"/>
                  <a:gd name="T70" fmla="*/ 82 w 334"/>
                  <a:gd name="T71" fmla="*/ 250 h 258"/>
                  <a:gd name="T72" fmla="*/ 74 w 334"/>
                  <a:gd name="T73" fmla="*/ 254 h 258"/>
                  <a:gd name="T74" fmla="*/ 66 w 334"/>
                  <a:gd name="T75" fmla="*/ 256 h 258"/>
                  <a:gd name="T76" fmla="*/ 52 w 334"/>
                  <a:gd name="T77" fmla="*/ 258 h 258"/>
                  <a:gd name="T78" fmla="*/ 52 w 334"/>
                  <a:gd name="T79" fmla="*/ 258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34" h="258">
                    <a:moveTo>
                      <a:pt x="52" y="258"/>
                    </a:moveTo>
                    <a:lnTo>
                      <a:pt x="52" y="258"/>
                    </a:lnTo>
                    <a:lnTo>
                      <a:pt x="40" y="258"/>
                    </a:lnTo>
                    <a:lnTo>
                      <a:pt x="28" y="252"/>
                    </a:lnTo>
                    <a:lnTo>
                      <a:pt x="16" y="246"/>
                    </a:lnTo>
                    <a:lnTo>
                      <a:pt x="8" y="236"/>
                    </a:lnTo>
                    <a:lnTo>
                      <a:pt x="8" y="236"/>
                    </a:lnTo>
                    <a:lnTo>
                      <a:pt x="4" y="226"/>
                    </a:lnTo>
                    <a:lnTo>
                      <a:pt x="0" y="216"/>
                    </a:lnTo>
                    <a:lnTo>
                      <a:pt x="0" y="206"/>
                    </a:lnTo>
                    <a:lnTo>
                      <a:pt x="0" y="196"/>
                    </a:lnTo>
                    <a:lnTo>
                      <a:pt x="4" y="186"/>
                    </a:lnTo>
                    <a:lnTo>
                      <a:pt x="8" y="178"/>
                    </a:lnTo>
                    <a:lnTo>
                      <a:pt x="14" y="170"/>
                    </a:lnTo>
                    <a:lnTo>
                      <a:pt x="22" y="162"/>
                    </a:lnTo>
                    <a:lnTo>
                      <a:pt x="252" y="8"/>
                    </a:lnTo>
                    <a:lnTo>
                      <a:pt x="252" y="8"/>
                    </a:lnTo>
                    <a:lnTo>
                      <a:pt x="262" y="4"/>
                    </a:lnTo>
                    <a:lnTo>
                      <a:pt x="272" y="0"/>
                    </a:lnTo>
                    <a:lnTo>
                      <a:pt x="282" y="0"/>
                    </a:lnTo>
                    <a:lnTo>
                      <a:pt x="292" y="0"/>
                    </a:lnTo>
                    <a:lnTo>
                      <a:pt x="302" y="4"/>
                    </a:lnTo>
                    <a:lnTo>
                      <a:pt x="310" y="8"/>
                    </a:lnTo>
                    <a:lnTo>
                      <a:pt x="318" y="14"/>
                    </a:lnTo>
                    <a:lnTo>
                      <a:pt x="326" y="22"/>
                    </a:lnTo>
                    <a:lnTo>
                      <a:pt x="326" y="22"/>
                    </a:lnTo>
                    <a:lnTo>
                      <a:pt x="330" y="32"/>
                    </a:lnTo>
                    <a:lnTo>
                      <a:pt x="334" y="42"/>
                    </a:lnTo>
                    <a:lnTo>
                      <a:pt x="334" y="52"/>
                    </a:lnTo>
                    <a:lnTo>
                      <a:pt x="334" y="62"/>
                    </a:lnTo>
                    <a:lnTo>
                      <a:pt x="330" y="72"/>
                    </a:lnTo>
                    <a:lnTo>
                      <a:pt x="326" y="80"/>
                    </a:lnTo>
                    <a:lnTo>
                      <a:pt x="320" y="88"/>
                    </a:lnTo>
                    <a:lnTo>
                      <a:pt x="312" y="96"/>
                    </a:lnTo>
                    <a:lnTo>
                      <a:pt x="82" y="250"/>
                    </a:lnTo>
                    <a:lnTo>
                      <a:pt x="82" y="250"/>
                    </a:lnTo>
                    <a:lnTo>
                      <a:pt x="74" y="254"/>
                    </a:lnTo>
                    <a:lnTo>
                      <a:pt x="66" y="256"/>
                    </a:lnTo>
                    <a:lnTo>
                      <a:pt x="52" y="258"/>
                    </a:lnTo>
                    <a:lnTo>
                      <a:pt x="52" y="258"/>
                    </a:lnTo>
                    <a:close/>
                  </a:path>
                </a:pathLst>
              </a:custGeom>
              <a:solidFill>
                <a:srgbClr val="1A86D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" name="Freeform 11"/>
              <p:cNvSpPr>
                <a:spLocks/>
              </p:cNvSpPr>
              <p:nvPr/>
            </p:nvSpPr>
            <p:spPr bwMode="auto">
              <a:xfrm>
                <a:off x="5628079" y="3026859"/>
                <a:ext cx="208337" cy="180478"/>
              </a:xfrm>
              <a:custGeom>
                <a:avLst/>
                <a:gdLst>
                  <a:gd name="T0" fmla="*/ 52 w 344"/>
                  <a:gd name="T1" fmla="*/ 298 h 298"/>
                  <a:gd name="T2" fmla="*/ 52 w 344"/>
                  <a:gd name="T3" fmla="*/ 298 h 298"/>
                  <a:gd name="T4" fmla="*/ 42 w 344"/>
                  <a:gd name="T5" fmla="*/ 298 h 298"/>
                  <a:gd name="T6" fmla="*/ 30 w 344"/>
                  <a:gd name="T7" fmla="*/ 294 h 298"/>
                  <a:gd name="T8" fmla="*/ 20 w 344"/>
                  <a:gd name="T9" fmla="*/ 288 h 298"/>
                  <a:gd name="T10" fmla="*/ 12 w 344"/>
                  <a:gd name="T11" fmla="*/ 278 h 298"/>
                  <a:gd name="T12" fmla="*/ 12 w 344"/>
                  <a:gd name="T13" fmla="*/ 278 h 298"/>
                  <a:gd name="T14" fmla="*/ 6 w 344"/>
                  <a:gd name="T15" fmla="*/ 270 h 298"/>
                  <a:gd name="T16" fmla="*/ 2 w 344"/>
                  <a:gd name="T17" fmla="*/ 260 h 298"/>
                  <a:gd name="T18" fmla="*/ 0 w 344"/>
                  <a:gd name="T19" fmla="*/ 250 h 298"/>
                  <a:gd name="T20" fmla="*/ 0 w 344"/>
                  <a:gd name="T21" fmla="*/ 240 h 298"/>
                  <a:gd name="T22" fmla="*/ 2 w 344"/>
                  <a:gd name="T23" fmla="*/ 230 h 298"/>
                  <a:gd name="T24" fmla="*/ 6 w 344"/>
                  <a:gd name="T25" fmla="*/ 220 h 298"/>
                  <a:gd name="T26" fmla="*/ 12 w 344"/>
                  <a:gd name="T27" fmla="*/ 212 h 298"/>
                  <a:gd name="T28" fmla="*/ 20 w 344"/>
                  <a:gd name="T29" fmla="*/ 204 h 298"/>
                  <a:gd name="T30" fmla="*/ 260 w 344"/>
                  <a:gd name="T31" fmla="*/ 10 h 298"/>
                  <a:gd name="T32" fmla="*/ 260 w 344"/>
                  <a:gd name="T33" fmla="*/ 10 h 298"/>
                  <a:gd name="T34" fmla="*/ 268 w 344"/>
                  <a:gd name="T35" fmla="*/ 6 h 298"/>
                  <a:gd name="T36" fmla="*/ 278 w 344"/>
                  <a:gd name="T37" fmla="*/ 2 h 298"/>
                  <a:gd name="T38" fmla="*/ 288 w 344"/>
                  <a:gd name="T39" fmla="*/ 0 h 298"/>
                  <a:gd name="T40" fmla="*/ 298 w 344"/>
                  <a:gd name="T41" fmla="*/ 0 h 298"/>
                  <a:gd name="T42" fmla="*/ 308 w 344"/>
                  <a:gd name="T43" fmla="*/ 2 h 298"/>
                  <a:gd name="T44" fmla="*/ 318 w 344"/>
                  <a:gd name="T45" fmla="*/ 6 h 298"/>
                  <a:gd name="T46" fmla="*/ 326 w 344"/>
                  <a:gd name="T47" fmla="*/ 12 h 298"/>
                  <a:gd name="T48" fmla="*/ 334 w 344"/>
                  <a:gd name="T49" fmla="*/ 18 h 298"/>
                  <a:gd name="T50" fmla="*/ 334 w 344"/>
                  <a:gd name="T51" fmla="*/ 18 h 298"/>
                  <a:gd name="T52" fmla="*/ 340 w 344"/>
                  <a:gd name="T53" fmla="*/ 28 h 298"/>
                  <a:gd name="T54" fmla="*/ 344 w 344"/>
                  <a:gd name="T55" fmla="*/ 38 h 298"/>
                  <a:gd name="T56" fmla="*/ 344 w 344"/>
                  <a:gd name="T57" fmla="*/ 48 h 298"/>
                  <a:gd name="T58" fmla="*/ 344 w 344"/>
                  <a:gd name="T59" fmla="*/ 58 h 298"/>
                  <a:gd name="T60" fmla="*/ 342 w 344"/>
                  <a:gd name="T61" fmla="*/ 68 h 298"/>
                  <a:gd name="T62" fmla="*/ 338 w 344"/>
                  <a:gd name="T63" fmla="*/ 76 h 298"/>
                  <a:gd name="T64" fmla="*/ 334 w 344"/>
                  <a:gd name="T65" fmla="*/ 86 h 298"/>
                  <a:gd name="T66" fmla="*/ 326 w 344"/>
                  <a:gd name="T67" fmla="*/ 92 h 298"/>
                  <a:gd name="T68" fmla="*/ 86 w 344"/>
                  <a:gd name="T69" fmla="*/ 286 h 298"/>
                  <a:gd name="T70" fmla="*/ 86 w 344"/>
                  <a:gd name="T71" fmla="*/ 286 h 298"/>
                  <a:gd name="T72" fmla="*/ 78 w 344"/>
                  <a:gd name="T73" fmla="*/ 292 h 298"/>
                  <a:gd name="T74" fmla="*/ 70 w 344"/>
                  <a:gd name="T75" fmla="*/ 296 h 298"/>
                  <a:gd name="T76" fmla="*/ 62 w 344"/>
                  <a:gd name="T77" fmla="*/ 298 h 298"/>
                  <a:gd name="T78" fmla="*/ 52 w 344"/>
                  <a:gd name="T79" fmla="*/ 298 h 298"/>
                  <a:gd name="T80" fmla="*/ 52 w 344"/>
                  <a:gd name="T81" fmla="*/ 298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44" h="298">
                    <a:moveTo>
                      <a:pt x="52" y="298"/>
                    </a:moveTo>
                    <a:lnTo>
                      <a:pt x="52" y="298"/>
                    </a:lnTo>
                    <a:lnTo>
                      <a:pt x="42" y="298"/>
                    </a:lnTo>
                    <a:lnTo>
                      <a:pt x="30" y="294"/>
                    </a:lnTo>
                    <a:lnTo>
                      <a:pt x="20" y="288"/>
                    </a:lnTo>
                    <a:lnTo>
                      <a:pt x="12" y="278"/>
                    </a:lnTo>
                    <a:lnTo>
                      <a:pt x="12" y="278"/>
                    </a:lnTo>
                    <a:lnTo>
                      <a:pt x="6" y="270"/>
                    </a:lnTo>
                    <a:lnTo>
                      <a:pt x="2" y="260"/>
                    </a:lnTo>
                    <a:lnTo>
                      <a:pt x="0" y="250"/>
                    </a:lnTo>
                    <a:lnTo>
                      <a:pt x="0" y="240"/>
                    </a:lnTo>
                    <a:lnTo>
                      <a:pt x="2" y="230"/>
                    </a:lnTo>
                    <a:lnTo>
                      <a:pt x="6" y="220"/>
                    </a:lnTo>
                    <a:lnTo>
                      <a:pt x="12" y="212"/>
                    </a:lnTo>
                    <a:lnTo>
                      <a:pt x="20" y="204"/>
                    </a:lnTo>
                    <a:lnTo>
                      <a:pt x="260" y="10"/>
                    </a:lnTo>
                    <a:lnTo>
                      <a:pt x="260" y="10"/>
                    </a:lnTo>
                    <a:lnTo>
                      <a:pt x="268" y="6"/>
                    </a:lnTo>
                    <a:lnTo>
                      <a:pt x="278" y="2"/>
                    </a:lnTo>
                    <a:lnTo>
                      <a:pt x="288" y="0"/>
                    </a:lnTo>
                    <a:lnTo>
                      <a:pt x="298" y="0"/>
                    </a:lnTo>
                    <a:lnTo>
                      <a:pt x="308" y="2"/>
                    </a:lnTo>
                    <a:lnTo>
                      <a:pt x="318" y="6"/>
                    </a:lnTo>
                    <a:lnTo>
                      <a:pt x="326" y="12"/>
                    </a:lnTo>
                    <a:lnTo>
                      <a:pt x="334" y="18"/>
                    </a:lnTo>
                    <a:lnTo>
                      <a:pt x="334" y="18"/>
                    </a:lnTo>
                    <a:lnTo>
                      <a:pt x="340" y="28"/>
                    </a:lnTo>
                    <a:lnTo>
                      <a:pt x="344" y="38"/>
                    </a:lnTo>
                    <a:lnTo>
                      <a:pt x="344" y="48"/>
                    </a:lnTo>
                    <a:lnTo>
                      <a:pt x="344" y="58"/>
                    </a:lnTo>
                    <a:lnTo>
                      <a:pt x="342" y="68"/>
                    </a:lnTo>
                    <a:lnTo>
                      <a:pt x="338" y="76"/>
                    </a:lnTo>
                    <a:lnTo>
                      <a:pt x="334" y="86"/>
                    </a:lnTo>
                    <a:lnTo>
                      <a:pt x="326" y="92"/>
                    </a:lnTo>
                    <a:lnTo>
                      <a:pt x="86" y="286"/>
                    </a:lnTo>
                    <a:lnTo>
                      <a:pt x="86" y="286"/>
                    </a:lnTo>
                    <a:lnTo>
                      <a:pt x="78" y="292"/>
                    </a:lnTo>
                    <a:lnTo>
                      <a:pt x="70" y="296"/>
                    </a:lnTo>
                    <a:lnTo>
                      <a:pt x="62" y="298"/>
                    </a:lnTo>
                    <a:lnTo>
                      <a:pt x="52" y="298"/>
                    </a:lnTo>
                    <a:lnTo>
                      <a:pt x="52" y="298"/>
                    </a:lnTo>
                    <a:close/>
                  </a:path>
                </a:pathLst>
              </a:custGeom>
              <a:solidFill>
                <a:srgbClr val="1A86D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" name="Oval 24"/>
              <p:cNvSpPr/>
              <p:nvPr/>
            </p:nvSpPr>
            <p:spPr bwMode="auto">
              <a:xfrm>
                <a:off x="5413104" y="2598477"/>
                <a:ext cx="1326042" cy="1326043"/>
              </a:xfrm>
              <a:prstGeom prst="ellipse">
                <a:avLst/>
              </a:prstGeom>
              <a:noFill/>
              <a:ln w="57150" cap="flat" cmpd="sng" algn="ctr">
                <a:solidFill>
                  <a:srgbClr val="1A86DB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26" name="Group 25"/>
          <p:cNvGrpSpPr/>
          <p:nvPr userDrawn="1"/>
        </p:nvGrpSpPr>
        <p:grpSpPr>
          <a:xfrm rot="16200000">
            <a:off x="2686558" y="3784724"/>
            <a:ext cx="182438" cy="5555552"/>
            <a:chOff x="9312007" y="34787"/>
            <a:chExt cx="1212906" cy="3143923"/>
          </a:xfrm>
        </p:grpSpPr>
        <p:sp>
          <p:nvSpPr>
            <p:cNvPr id="27" name="Bent Arrow 26"/>
            <p:cNvSpPr/>
            <p:nvPr/>
          </p:nvSpPr>
          <p:spPr bwMode="auto">
            <a:xfrm flipH="1">
              <a:off x="9832459" y="1745357"/>
              <a:ext cx="692454" cy="1433353"/>
            </a:xfrm>
            <a:prstGeom prst="bentArrow">
              <a:avLst>
                <a:gd name="adj1" fmla="val 25000"/>
                <a:gd name="adj2" fmla="val 0"/>
                <a:gd name="adj3" fmla="val 25000"/>
                <a:gd name="adj4" fmla="val 75000"/>
              </a:avLst>
            </a:prstGeom>
            <a:solidFill>
              <a:schemeClr val="accent1"/>
            </a:solidFill>
            <a:ln w="38100">
              <a:solidFill>
                <a:srgbClr val="1A86DB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8" name="Bent Arrow 27"/>
            <p:cNvSpPr/>
            <p:nvPr/>
          </p:nvSpPr>
          <p:spPr bwMode="auto">
            <a:xfrm rot="10800000" flipH="1">
              <a:off x="9312007" y="34787"/>
              <a:ext cx="805099" cy="1711160"/>
            </a:xfrm>
            <a:prstGeom prst="bentArrow">
              <a:avLst>
                <a:gd name="adj1" fmla="val 25000"/>
                <a:gd name="adj2" fmla="val 0"/>
                <a:gd name="adj3" fmla="val 25000"/>
                <a:gd name="adj4" fmla="val 52871"/>
              </a:avLst>
            </a:prstGeom>
            <a:solidFill>
              <a:schemeClr val="accent1"/>
            </a:solidFill>
            <a:ln w="38100">
              <a:solidFill>
                <a:srgbClr val="1A86DB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9" name="Bent Arrow 28"/>
          <p:cNvSpPr/>
          <p:nvPr userDrawn="1"/>
        </p:nvSpPr>
        <p:spPr bwMode="auto">
          <a:xfrm>
            <a:off x="5686283" y="6687741"/>
            <a:ext cx="3820134" cy="163512"/>
          </a:xfrm>
          <a:prstGeom prst="bentArrow">
            <a:avLst>
              <a:gd name="adj1" fmla="val 25000"/>
              <a:gd name="adj2" fmla="val 0"/>
              <a:gd name="adj3" fmla="val 25000"/>
              <a:gd name="adj4" fmla="val 100000"/>
            </a:avLst>
          </a:prstGeom>
          <a:solidFill>
            <a:schemeClr val="accent1"/>
          </a:solidFill>
          <a:ln w="38100">
            <a:solidFill>
              <a:srgbClr val="1A86DB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0" name="Bent Arrow 39"/>
          <p:cNvSpPr/>
          <p:nvPr userDrawn="1"/>
        </p:nvSpPr>
        <p:spPr bwMode="auto">
          <a:xfrm rot="10800000" flipH="1">
            <a:off x="2049681" y="5710543"/>
            <a:ext cx="7843864" cy="757825"/>
          </a:xfrm>
          <a:prstGeom prst="bentArrow">
            <a:avLst>
              <a:gd name="adj1" fmla="val 25000"/>
              <a:gd name="adj2" fmla="val 0"/>
              <a:gd name="adj3" fmla="val 25000"/>
              <a:gd name="adj4" fmla="val 20518"/>
            </a:avLst>
          </a:prstGeom>
          <a:solidFill>
            <a:schemeClr val="accent1"/>
          </a:solidFill>
          <a:ln w="38100">
            <a:solidFill>
              <a:srgbClr val="1A86DB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4" name="Bent Arrow 43"/>
          <p:cNvSpPr/>
          <p:nvPr userDrawn="1"/>
        </p:nvSpPr>
        <p:spPr bwMode="auto">
          <a:xfrm rot="10800000">
            <a:off x="11224377" y="6302644"/>
            <a:ext cx="709317" cy="266055"/>
          </a:xfrm>
          <a:prstGeom prst="bentArrow">
            <a:avLst>
              <a:gd name="adj1" fmla="val 25000"/>
              <a:gd name="adj2" fmla="val 0"/>
              <a:gd name="adj3" fmla="val 25000"/>
              <a:gd name="adj4" fmla="val 100000"/>
            </a:avLst>
          </a:prstGeom>
          <a:solidFill>
            <a:schemeClr val="accent1"/>
          </a:solidFill>
          <a:ln w="38100">
            <a:solidFill>
              <a:srgbClr val="1A86DB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3" name="Rectangle 42"/>
          <p:cNvSpPr/>
          <p:nvPr userDrawn="1"/>
        </p:nvSpPr>
        <p:spPr bwMode="auto">
          <a:xfrm>
            <a:off x="0" y="5375935"/>
            <a:ext cx="12192000" cy="957359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chemeClr val="tx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" name="Bent Arrow 44"/>
          <p:cNvSpPr/>
          <p:nvPr userDrawn="1"/>
        </p:nvSpPr>
        <p:spPr bwMode="auto">
          <a:xfrm rot="16200000">
            <a:off x="11536785" y="6610170"/>
            <a:ext cx="325590" cy="266055"/>
          </a:xfrm>
          <a:prstGeom prst="bentArrow">
            <a:avLst>
              <a:gd name="adj1" fmla="val 25000"/>
              <a:gd name="adj2" fmla="val 0"/>
              <a:gd name="adj3" fmla="val 25000"/>
              <a:gd name="adj4" fmla="val 15819"/>
            </a:avLst>
          </a:prstGeom>
          <a:solidFill>
            <a:schemeClr val="accent1"/>
          </a:solidFill>
          <a:ln w="38100">
            <a:solidFill>
              <a:srgbClr val="1A86DB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" name="Freeform 15"/>
          <p:cNvSpPr>
            <a:spLocks noEditPoints="1"/>
          </p:cNvSpPr>
          <p:nvPr userDrawn="1"/>
        </p:nvSpPr>
        <p:spPr bwMode="auto">
          <a:xfrm>
            <a:off x="4389231" y="6600370"/>
            <a:ext cx="121561" cy="121561"/>
          </a:xfrm>
          <a:custGeom>
            <a:avLst/>
            <a:gdLst>
              <a:gd name="T0" fmla="*/ 172 w 344"/>
              <a:gd name="T1" fmla="*/ 344 h 344"/>
              <a:gd name="T2" fmla="*/ 172 w 344"/>
              <a:gd name="T3" fmla="*/ 344 h 344"/>
              <a:gd name="T4" fmla="*/ 142 w 344"/>
              <a:gd name="T5" fmla="*/ 334 h 344"/>
              <a:gd name="T6" fmla="*/ 124 w 344"/>
              <a:gd name="T7" fmla="*/ 312 h 344"/>
              <a:gd name="T8" fmla="*/ 118 w 344"/>
              <a:gd name="T9" fmla="*/ 300 h 344"/>
              <a:gd name="T10" fmla="*/ 102 w 344"/>
              <a:gd name="T11" fmla="*/ 278 h 344"/>
              <a:gd name="T12" fmla="*/ 72 w 344"/>
              <a:gd name="T13" fmla="*/ 248 h 344"/>
              <a:gd name="T14" fmla="*/ 28 w 344"/>
              <a:gd name="T15" fmla="*/ 218 h 344"/>
              <a:gd name="T16" fmla="*/ 16 w 344"/>
              <a:gd name="T17" fmla="*/ 210 h 344"/>
              <a:gd name="T18" fmla="*/ 2 w 344"/>
              <a:gd name="T19" fmla="*/ 186 h 344"/>
              <a:gd name="T20" fmla="*/ 0 w 344"/>
              <a:gd name="T21" fmla="*/ 172 h 344"/>
              <a:gd name="T22" fmla="*/ 8 w 344"/>
              <a:gd name="T23" fmla="*/ 144 h 344"/>
              <a:gd name="T24" fmla="*/ 30 w 344"/>
              <a:gd name="T25" fmla="*/ 124 h 344"/>
              <a:gd name="T26" fmla="*/ 54 w 344"/>
              <a:gd name="T27" fmla="*/ 112 h 344"/>
              <a:gd name="T28" fmla="*/ 90 w 344"/>
              <a:gd name="T29" fmla="*/ 82 h 344"/>
              <a:gd name="T30" fmla="*/ 112 w 344"/>
              <a:gd name="T31" fmla="*/ 54 h 344"/>
              <a:gd name="T32" fmla="*/ 124 w 344"/>
              <a:gd name="T33" fmla="*/ 34 h 344"/>
              <a:gd name="T34" fmla="*/ 126 w 344"/>
              <a:gd name="T35" fmla="*/ 26 h 344"/>
              <a:gd name="T36" fmla="*/ 142 w 344"/>
              <a:gd name="T37" fmla="*/ 10 h 344"/>
              <a:gd name="T38" fmla="*/ 164 w 344"/>
              <a:gd name="T39" fmla="*/ 2 h 344"/>
              <a:gd name="T40" fmla="*/ 172 w 344"/>
              <a:gd name="T41" fmla="*/ 0 h 344"/>
              <a:gd name="T42" fmla="*/ 172 w 344"/>
              <a:gd name="T43" fmla="*/ 0 h 344"/>
              <a:gd name="T44" fmla="*/ 188 w 344"/>
              <a:gd name="T45" fmla="*/ 2 h 344"/>
              <a:gd name="T46" fmla="*/ 214 w 344"/>
              <a:gd name="T47" fmla="*/ 20 h 344"/>
              <a:gd name="T48" fmla="*/ 222 w 344"/>
              <a:gd name="T49" fmla="*/ 34 h 344"/>
              <a:gd name="T50" fmla="*/ 226 w 344"/>
              <a:gd name="T51" fmla="*/ 44 h 344"/>
              <a:gd name="T52" fmla="*/ 242 w 344"/>
              <a:gd name="T53" fmla="*/ 68 h 344"/>
              <a:gd name="T54" fmla="*/ 270 w 344"/>
              <a:gd name="T55" fmla="*/ 96 h 344"/>
              <a:gd name="T56" fmla="*/ 314 w 344"/>
              <a:gd name="T57" fmla="*/ 124 h 344"/>
              <a:gd name="T58" fmla="*/ 328 w 344"/>
              <a:gd name="T59" fmla="*/ 134 h 344"/>
              <a:gd name="T60" fmla="*/ 342 w 344"/>
              <a:gd name="T61" fmla="*/ 160 h 344"/>
              <a:gd name="T62" fmla="*/ 344 w 344"/>
              <a:gd name="T63" fmla="*/ 176 h 344"/>
              <a:gd name="T64" fmla="*/ 340 w 344"/>
              <a:gd name="T65" fmla="*/ 190 h 344"/>
              <a:gd name="T66" fmla="*/ 322 w 344"/>
              <a:gd name="T67" fmla="*/ 214 h 344"/>
              <a:gd name="T68" fmla="*/ 308 w 344"/>
              <a:gd name="T69" fmla="*/ 222 h 344"/>
              <a:gd name="T70" fmla="*/ 276 w 344"/>
              <a:gd name="T71" fmla="*/ 240 h 344"/>
              <a:gd name="T72" fmla="*/ 250 w 344"/>
              <a:gd name="T73" fmla="*/ 266 h 344"/>
              <a:gd name="T74" fmla="*/ 232 w 344"/>
              <a:gd name="T75" fmla="*/ 292 h 344"/>
              <a:gd name="T76" fmla="*/ 220 w 344"/>
              <a:gd name="T77" fmla="*/ 312 h 344"/>
              <a:gd name="T78" fmla="*/ 200 w 344"/>
              <a:gd name="T79" fmla="*/ 336 h 344"/>
              <a:gd name="T80" fmla="*/ 172 w 344"/>
              <a:gd name="T81" fmla="*/ 344 h 344"/>
              <a:gd name="T82" fmla="*/ 146 w 344"/>
              <a:gd name="T83" fmla="*/ 172 h 344"/>
              <a:gd name="T84" fmla="*/ 170 w 344"/>
              <a:gd name="T85" fmla="*/ 196 h 344"/>
              <a:gd name="T86" fmla="*/ 196 w 344"/>
              <a:gd name="T87" fmla="*/ 170 h 344"/>
              <a:gd name="T88" fmla="*/ 172 w 344"/>
              <a:gd name="T89" fmla="*/ 148 h 344"/>
              <a:gd name="T90" fmla="*/ 146 w 344"/>
              <a:gd name="T91" fmla="*/ 172 h 3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44" h="344">
                <a:moveTo>
                  <a:pt x="172" y="344"/>
                </a:moveTo>
                <a:lnTo>
                  <a:pt x="172" y="344"/>
                </a:lnTo>
                <a:lnTo>
                  <a:pt x="172" y="344"/>
                </a:lnTo>
                <a:lnTo>
                  <a:pt x="172" y="344"/>
                </a:lnTo>
                <a:lnTo>
                  <a:pt x="156" y="342"/>
                </a:lnTo>
                <a:lnTo>
                  <a:pt x="142" y="334"/>
                </a:lnTo>
                <a:lnTo>
                  <a:pt x="132" y="324"/>
                </a:lnTo>
                <a:lnTo>
                  <a:pt x="124" y="312"/>
                </a:lnTo>
                <a:lnTo>
                  <a:pt x="124" y="312"/>
                </a:lnTo>
                <a:lnTo>
                  <a:pt x="118" y="300"/>
                </a:lnTo>
                <a:lnTo>
                  <a:pt x="112" y="290"/>
                </a:lnTo>
                <a:lnTo>
                  <a:pt x="102" y="278"/>
                </a:lnTo>
                <a:lnTo>
                  <a:pt x="90" y="264"/>
                </a:lnTo>
                <a:lnTo>
                  <a:pt x="72" y="248"/>
                </a:lnTo>
                <a:lnTo>
                  <a:pt x="52" y="232"/>
                </a:lnTo>
                <a:lnTo>
                  <a:pt x="28" y="218"/>
                </a:lnTo>
                <a:lnTo>
                  <a:pt x="28" y="218"/>
                </a:lnTo>
                <a:lnTo>
                  <a:pt x="16" y="210"/>
                </a:lnTo>
                <a:lnTo>
                  <a:pt x="8" y="198"/>
                </a:lnTo>
                <a:lnTo>
                  <a:pt x="2" y="186"/>
                </a:lnTo>
                <a:lnTo>
                  <a:pt x="0" y="172"/>
                </a:lnTo>
                <a:lnTo>
                  <a:pt x="0" y="172"/>
                </a:lnTo>
                <a:lnTo>
                  <a:pt x="2" y="156"/>
                </a:lnTo>
                <a:lnTo>
                  <a:pt x="8" y="144"/>
                </a:lnTo>
                <a:lnTo>
                  <a:pt x="18" y="132"/>
                </a:lnTo>
                <a:lnTo>
                  <a:pt x="30" y="124"/>
                </a:lnTo>
                <a:lnTo>
                  <a:pt x="30" y="124"/>
                </a:lnTo>
                <a:lnTo>
                  <a:pt x="54" y="112"/>
                </a:lnTo>
                <a:lnTo>
                  <a:pt x="74" y="96"/>
                </a:lnTo>
                <a:lnTo>
                  <a:pt x="90" y="82"/>
                </a:lnTo>
                <a:lnTo>
                  <a:pt x="102" y="68"/>
                </a:lnTo>
                <a:lnTo>
                  <a:pt x="112" y="54"/>
                </a:lnTo>
                <a:lnTo>
                  <a:pt x="118" y="44"/>
                </a:lnTo>
                <a:lnTo>
                  <a:pt x="124" y="34"/>
                </a:lnTo>
                <a:lnTo>
                  <a:pt x="124" y="34"/>
                </a:lnTo>
                <a:lnTo>
                  <a:pt x="126" y="26"/>
                </a:lnTo>
                <a:lnTo>
                  <a:pt x="130" y="20"/>
                </a:lnTo>
                <a:lnTo>
                  <a:pt x="142" y="10"/>
                </a:lnTo>
                <a:lnTo>
                  <a:pt x="156" y="2"/>
                </a:lnTo>
                <a:lnTo>
                  <a:pt x="164" y="2"/>
                </a:lnTo>
                <a:lnTo>
                  <a:pt x="172" y="0"/>
                </a:lnTo>
                <a:lnTo>
                  <a:pt x="172" y="0"/>
                </a:lnTo>
                <a:lnTo>
                  <a:pt x="172" y="0"/>
                </a:lnTo>
                <a:lnTo>
                  <a:pt x="172" y="0"/>
                </a:lnTo>
                <a:lnTo>
                  <a:pt x="180" y="2"/>
                </a:lnTo>
                <a:lnTo>
                  <a:pt x="188" y="2"/>
                </a:lnTo>
                <a:lnTo>
                  <a:pt x="202" y="10"/>
                </a:lnTo>
                <a:lnTo>
                  <a:pt x="214" y="20"/>
                </a:lnTo>
                <a:lnTo>
                  <a:pt x="218" y="28"/>
                </a:lnTo>
                <a:lnTo>
                  <a:pt x="222" y="34"/>
                </a:lnTo>
                <a:lnTo>
                  <a:pt x="222" y="34"/>
                </a:lnTo>
                <a:lnTo>
                  <a:pt x="226" y="44"/>
                </a:lnTo>
                <a:lnTo>
                  <a:pt x="232" y="56"/>
                </a:lnTo>
                <a:lnTo>
                  <a:pt x="242" y="68"/>
                </a:lnTo>
                <a:lnTo>
                  <a:pt x="254" y="82"/>
                </a:lnTo>
                <a:lnTo>
                  <a:pt x="270" y="96"/>
                </a:lnTo>
                <a:lnTo>
                  <a:pt x="290" y="112"/>
                </a:lnTo>
                <a:lnTo>
                  <a:pt x="314" y="124"/>
                </a:lnTo>
                <a:lnTo>
                  <a:pt x="314" y="124"/>
                </a:lnTo>
                <a:lnTo>
                  <a:pt x="328" y="134"/>
                </a:lnTo>
                <a:lnTo>
                  <a:pt x="336" y="146"/>
                </a:lnTo>
                <a:lnTo>
                  <a:pt x="342" y="160"/>
                </a:lnTo>
                <a:lnTo>
                  <a:pt x="344" y="176"/>
                </a:lnTo>
                <a:lnTo>
                  <a:pt x="344" y="176"/>
                </a:lnTo>
                <a:lnTo>
                  <a:pt x="342" y="184"/>
                </a:lnTo>
                <a:lnTo>
                  <a:pt x="340" y="190"/>
                </a:lnTo>
                <a:lnTo>
                  <a:pt x="334" y="204"/>
                </a:lnTo>
                <a:lnTo>
                  <a:pt x="322" y="214"/>
                </a:lnTo>
                <a:lnTo>
                  <a:pt x="308" y="222"/>
                </a:lnTo>
                <a:lnTo>
                  <a:pt x="308" y="222"/>
                </a:lnTo>
                <a:lnTo>
                  <a:pt x="292" y="230"/>
                </a:lnTo>
                <a:lnTo>
                  <a:pt x="276" y="240"/>
                </a:lnTo>
                <a:lnTo>
                  <a:pt x="262" y="252"/>
                </a:lnTo>
                <a:lnTo>
                  <a:pt x="250" y="266"/>
                </a:lnTo>
                <a:lnTo>
                  <a:pt x="240" y="278"/>
                </a:lnTo>
                <a:lnTo>
                  <a:pt x="232" y="292"/>
                </a:lnTo>
                <a:lnTo>
                  <a:pt x="220" y="312"/>
                </a:lnTo>
                <a:lnTo>
                  <a:pt x="220" y="312"/>
                </a:lnTo>
                <a:lnTo>
                  <a:pt x="212" y="326"/>
                </a:lnTo>
                <a:lnTo>
                  <a:pt x="200" y="336"/>
                </a:lnTo>
                <a:lnTo>
                  <a:pt x="188" y="342"/>
                </a:lnTo>
                <a:lnTo>
                  <a:pt x="172" y="344"/>
                </a:lnTo>
                <a:lnTo>
                  <a:pt x="172" y="344"/>
                </a:lnTo>
                <a:close/>
                <a:moveTo>
                  <a:pt x="146" y="172"/>
                </a:moveTo>
                <a:lnTo>
                  <a:pt x="146" y="172"/>
                </a:lnTo>
                <a:lnTo>
                  <a:pt x="170" y="196"/>
                </a:lnTo>
                <a:lnTo>
                  <a:pt x="170" y="196"/>
                </a:lnTo>
                <a:lnTo>
                  <a:pt x="196" y="170"/>
                </a:lnTo>
                <a:lnTo>
                  <a:pt x="196" y="170"/>
                </a:lnTo>
                <a:lnTo>
                  <a:pt x="172" y="148"/>
                </a:lnTo>
                <a:lnTo>
                  <a:pt x="172" y="148"/>
                </a:lnTo>
                <a:lnTo>
                  <a:pt x="146" y="172"/>
                </a:lnTo>
                <a:lnTo>
                  <a:pt x="146" y="172"/>
                </a:lnTo>
                <a:close/>
              </a:path>
            </a:pathLst>
          </a:custGeom>
          <a:solidFill>
            <a:srgbClr val="1A86D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7" name="Freeform 18"/>
          <p:cNvSpPr>
            <a:spLocks/>
          </p:cNvSpPr>
          <p:nvPr userDrawn="1"/>
        </p:nvSpPr>
        <p:spPr bwMode="auto">
          <a:xfrm>
            <a:off x="4431636" y="6462555"/>
            <a:ext cx="37458" cy="124388"/>
          </a:xfrm>
          <a:custGeom>
            <a:avLst/>
            <a:gdLst>
              <a:gd name="T0" fmla="*/ 52 w 106"/>
              <a:gd name="T1" fmla="*/ 352 h 352"/>
              <a:gd name="T2" fmla="*/ 52 w 106"/>
              <a:gd name="T3" fmla="*/ 352 h 352"/>
              <a:gd name="T4" fmla="*/ 52 w 106"/>
              <a:gd name="T5" fmla="*/ 352 h 352"/>
              <a:gd name="T6" fmla="*/ 52 w 106"/>
              <a:gd name="T7" fmla="*/ 352 h 352"/>
              <a:gd name="T8" fmla="*/ 40 w 106"/>
              <a:gd name="T9" fmla="*/ 352 h 352"/>
              <a:gd name="T10" fmla="*/ 32 w 106"/>
              <a:gd name="T11" fmla="*/ 348 h 352"/>
              <a:gd name="T12" fmla="*/ 22 w 106"/>
              <a:gd name="T13" fmla="*/ 342 h 352"/>
              <a:gd name="T14" fmla="*/ 14 w 106"/>
              <a:gd name="T15" fmla="*/ 336 h 352"/>
              <a:gd name="T16" fmla="*/ 8 w 106"/>
              <a:gd name="T17" fmla="*/ 328 h 352"/>
              <a:gd name="T18" fmla="*/ 4 w 106"/>
              <a:gd name="T19" fmla="*/ 320 h 352"/>
              <a:gd name="T20" fmla="*/ 0 w 106"/>
              <a:gd name="T21" fmla="*/ 310 h 352"/>
              <a:gd name="T22" fmla="*/ 0 w 106"/>
              <a:gd name="T23" fmla="*/ 300 h 352"/>
              <a:gd name="T24" fmla="*/ 0 w 106"/>
              <a:gd name="T25" fmla="*/ 300 h 352"/>
              <a:gd name="T26" fmla="*/ 0 w 106"/>
              <a:gd name="T27" fmla="*/ 134 h 352"/>
              <a:gd name="T28" fmla="*/ 0 w 106"/>
              <a:gd name="T29" fmla="*/ 44 h 352"/>
              <a:gd name="T30" fmla="*/ 52 w 106"/>
              <a:gd name="T31" fmla="*/ 36 h 352"/>
              <a:gd name="T32" fmla="*/ 90 w 106"/>
              <a:gd name="T33" fmla="*/ 0 h 352"/>
              <a:gd name="T34" fmla="*/ 90 w 106"/>
              <a:gd name="T35" fmla="*/ 0 h 352"/>
              <a:gd name="T36" fmla="*/ 96 w 106"/>
              <a:gd name="T37" fmla="*/ 6 h 352"/>
              <a:gd name="T38" fmla="*/ 100 w 106"/>
              <a:gd name="T39" fmla="*/ 16 h 352"/>
              <a:gd name="T40" fmla="*/ 104 w 106"/>
              <a:gd name="T41" fmla="*/ 28 h 352"/>
              <a:gd name="T42" fmla="*/ 106 w 106"/>
              <a:gd name="T43" fmla="*/ 52 h 352"/>
              <a:gd name="T44" fmla="*/ 106 w 106"/>
              <a:gd name="T45" fmla="*/ 138 h 352"/>
              <a:gd name="T46" fmla="*/ 104 w 106"/>
              <a:gd name="T47" fmla="*/ 300 h 352"/>
              <a:gd name="T48" fmla="*/ 104 w 106"/>
              <a:gd name="T49" fmla="*/ 300 h 352"/>
              <a:gd name="T50" fmla="*/ 104 w 106"/>
              <a:gd name="T51" fmla="*/ 310 h 352"/>
              <a:gd name="T52" fmla="*/ 100 w 106"/>
              <a:gd name="T53" fmla="*/ 320 h 352"/>
              <a:gd name="T54" fmla="*/ 96 w 106"/>
              <a:gd name="T55" fmla="*/ 330 h 352"/>
              <a:gd name="T56" fmla="*/ 88 w 106"/>
              <a:gd name="T57" fmla="*/ 338 h 352"/>
              <a:gd name="T58" fmla="*/ 82 w 106"/>
              <a:gd name="T59" fmla="*/ 344 h 352"/>
              <a:gd name="T60" fmla="*/ 72 w 106"/>
              <a:gd name="T61" fmla="*/ 348 h 352"/>
              <a:gd name="T62" fmla="*/ 62 w 106"/>
              <a:gd name="T63" fmla="*/ 352 h 352"/>
              <a:gd name="T64" fmla="*/ 52 w 106"/>
              <a:gd name="T65" fmla="*/ 352 h 352"/>
              <a:gd name="T66" fmla="*/ 52 w 106"/>
              <a:gd name="T67" fmla="*/ 352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06" h="352">
                <a:moveTo>
                  <a:pt x="52" y="352"/>
                </a:moveTo>
                <a:lnTo>
                  <a:pt x="52" y="352"/>
                </a:lnTo>
                <a:lnTo>
                  <a:pt x="52" y="352"/>
                </a:lnTo>
                <a:lnTo>
                  <a:pt x="52" y="352"/>
                </a:lnTo>
                <a:lnTo>
                  <a:pt x="40" y="352"/>
                </a:lnTo>
                <a:lnTo>
                  <a:pt x="32" y="348"/>
                </a:lnTo>
                <a:lnTo>
                  <a:pt x="22" y="342"/>
                </a:lnTo>
                <a:lnTo>
                  <a:pt x="14" y="336"/>
                </a:lnTo>
                <a:lnTo>
                  <a:pt x="8" y="328"/>
                </a:lnTo>
                <a:lnTo>
                  <a:pt x="4" y="320"/>
                </a:lnTo>
                <a:lnTo>
                  <a:pt x="0" y="310"/>
                </a:lnTo>
                <a:lnTo>
                  <a:pt x="0" y="300"/>
                </a:lnTo>
                <a:lnTo>
                  <a:pt x="0" y="300"/>
                </a:lnTo>
                <a:lnTo>
                  <a:pt x="0" y="134"/>
                </a:lnTo>
                <a:lnTo>
                  <a:pt x="0" y="44"/>
                </a:lnTo>
                <a:lnTo>
                  <a:pt x="52" y="36"/>
                </a:lnTo>
                <a:lnTo>
                  <a:pt x="90" y="0"/>
                </a:lnTo>
                <a:lnTo>
                  <a:pt x="90" y="0"/>
                </a:lnTo>
                <a:lnTo>
                  <a:pt x="96" y="6"/>
                </a:lnTo>
                <a:lnTo>
                  <a:pt x="100" y="16"/>
                </a:lnTo>
                <a:lnTo>
                  <a:pt x="104" y="28"/>
                </a:lnTo>
                <a:lnTo>
                  <a:pt x="106" y="52"/>
                </a:lnTo>
                <a:lnTo>
                  <a:pt x="106" y="138"/>
                </a:lnTo>
                <a:lnTo>
                  <a:pt x="104" y="300"/>
                </a:lnTo>
                <a:lnTo>
                  <a:pt x="104" y="300"/>
                </a:lnTo>
                <a:lnTo>
                  <a:pt x="104" y="310"/>
                </a:lnTo>
                <a:lnTo>
                  <a:pt x="100" y="320"/>
                </a:lnTo>
                <a:lnTo>
                  <a:pt x="96" y="330"/>
                </a:lnTo>
                <a:lnTo>
                  <a:pt x="88" y="338"/>
                </a:lnTo>
                <a:lnTo>
                  <a:pt x="82" y="344"/>
                </a:lnTo>
                <a:lnTo>
                  <a:pt x="72" y="348"/>
                </a:lnTo>
                <a:lnTo>
                  <a:pt x="62" y="352"/>
                </a:lnTo>
                <a:lnTo>
                  <a:pt x="52" y="352"/>
                </a:lnTo>
                <a:lnTo>
                  <a:pt x="52" y="352"/>
                </a:lnTo>
                <a:close/>
              </a:path>
            </a:pathLst>
          </a:custGeom>
          <a:solidFill>
            <a:srgbClr val="1A86D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9" name="Rectangle 48"/>
          <p:cNvSpPr/>
          <p:nvPr userDrawn="1"/>
        </p:nvSpPr>
        <p:spPr bwMode="auto">
          <a:xfrm>
            <a:off x="-217599" y="6858000"/>
            <a:ext cx="12533086" cy="783771"/>
          </a:xfrm>
          <a:prstGeom prst="rect">
            <a:avLst/>
          </a:prstGeom>
          <a:solidFill>
            <a:srgbClr val="E6E6E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chemeClr val="tx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2" name="Rectangle 51"/>
          <p:cNvSpPr/>
          <p:nvPr userDrawn="1"/>
        </p:nvSpPr>
        <p:spPr bwMode="auto">
          <a:xfrm>
            <a:off x="-391886" y="6074229"/>
            <a:ext cx="391886" cy="783771"/>
          </a:xfrm>
          <a:prstGeom prst="rect">
            <a:avLst/>
          </a:prstGeom>
          <a:solidFill>
            <a:srgbClr val="E6E6E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chemeClr val="tx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3" name="Rectangle 52"/>
          <p:cNvSpPr/>
          <p:nvPr userDrawn="1"/>
        </p:nvSpPr>
        <p:spPr bwMode="auto">
          <a:xfrm>
            <a:off x="0" y="6344997"/>
            <a:ext cx="12192000" cy="513003"/>
          </a:xfrm>
          <a:prstGeom prst="rect">
            <a:avLst/>
          </a:prstGeom>
          <a:solidFill>
            <a:schemeClr val="accent1">
              <a:alpha val="3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chemeClr val="tx1"/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2">
            <a:biLevel thresh="25000"/>
          </a:blip>
          <a:stretch>
            <a:fillRect/>
          </a:stretch>
        </p:blipFill>
        <p:spPr>
          <a:xfrm>
            <a:off x="171510" y="6491045"/>
            <a:ext cx="936609" cy="206372"/>
          </a:xfrm>
          <a:prstGeom prst="rect">
            <a:avLst/>
          </a:prstGeom>
        </p:spPr>
      </p:pic>
      <p:cxnSp>
        <p:nvCxnSpPr>
          <p:cNvPr id="39" name="Straight Connector 38"/>
          <p:cNvCxnSpPr/>
          <p:nvPr userDrawn="1"/>
        </p:nvCxnSpPr>
        <p:spPr>
          <a:xfrm>
            <a:off x="6305491" y="357809"/>
            <a:ext cx="0" cy="5686262"/>
          </a:xfrm>
          <a:prstGeom prst="line">
            <a:avLst/>
          </a:prstGeom>
          <a:ln>
            <a:solidFill>
              <a:srgbClr val="0078D7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613913" y="933098"/>
            <a:ext cx="5243532" cy="1486561"/>
          </a:xfrm>
        </p:spPr>
        <p:txBody>
          <a:bodyPr/>
          <a:lstStyle>
            <a:lvl1pPr>
              <a:buClr>
                <a:schemeClr val="accent1"/>
              </a:buClr>
              <a:defRPr sz="2800">
                <a:solidFill>
                  <a:schemeClr val="bg2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chemeClr val="bg2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bg2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bg2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12797704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 Photo_O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/>
          <a:srcRect l="478" t="-1" b="1518"/>
          <a:stretch/>
        </p:blipFill>
        <p:spPr>
          <a:xfrm>
            <a:off x="-7200" y="0"/>
            <a:ext cx="12199200" cy="5162399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28314" y="6029312"/>
            <a:ext cx="1673267" cy="368686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84173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57"/>
            <a:ext cx="6276530" cy="1698765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254322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297928" y="1533104"/>
            <a:ext cx="7627153" cy="1412279"/>
          </a:xfrm>
        </p:spPr>
        <p:txBody>
          <a:bodyPr/>
          <a:lstStyle>
            <a:lvl1pPr marL="0" indent="0">
              <a:spcBef>
                <a:spcPts val="2353"/>
              </a:spcBef>
              <a:buNone/>
              <a:defRPr sz="2353">
                <a:solidFill>
                  <a:schemeClr val="accent1"/>
                </a:solidFill>
              </a:defRPr>
            </a:lvl1pPr>
            <a:lvl2pPr marL="0" indent="0">
              <a:spcAft>
                <a:spcPts val="588"/>
              </a:spcAft>
              <a:buFontTx/>
              <a:buNone/>
              <a:defRPr sz="1568"/>
            </a:lvl2pPr>
            <a:lvl3pPr marL="224097" indent="0">
              <a:buNone/>
              <a:defRPr sz="1176"/>
            </a:lvl3pPr>
            <a:lvl4pPr marL="448193" indent="0">
              <a:buNone/>
              <a:defRPr sz="1078"/>
            </a:lvl4pPr>
            <a:lvl5pPr marL="672290" indent="0">
              <a:buNone/>
              <a:defRPr sz="1078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68951379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0" y="1189176"/>
            <a:ext cx="11655840" cy="2018835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2920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</a:defRPr>
            </a:lvl1pPr>
            <a:lvl2pPr marL="28012" indent="0">
              <a:buNone/>
              <a:defRPr sz="1961"/>
            </a:lvl2pPr>
            <a:lvl3pPr marL="219428" indent="0">
              <a:buNone/>
              <a:defRPr sz="1961"/>
            </a:lvl3pPr>
            <a:lvl4pPr marL="466868" indent="0">
              <a:buNone/>
              <a:defRPr sz="1765"/>
            </a:lvl4pPr>
            <a:lvl5pPr marL="725201" indent="0">
              <a:buNone/>
              <a:defRPr sz="176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1445514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9683827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gray">
          <a:xfrm>
            <a:off x="0" y="5646494"/>
            <a:ext cx="12191377" cy="121150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3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3192" y="6087890"/>
            <a:ext cx="1427788" cy="304828"/>
          </a:xfrm>
          <a:prstGeom prst="rect">
            <a:avLst/>
          </a:prstGeom>
        </p:spPr>
      </p:pic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0203" y="6119147"/>
            <a:ext cx="1253377" cy="268786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269302" y="1646860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269301" y="3441247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0494372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0734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72796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25647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44.xml"/><Relationship Id="rId21" Type="http://schemas.openxmlformats.org/officeDocument/2006/relationships/slideLayout" Target="../slideLayouts/slideLayout62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image" Target="../media/image11.png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61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24" Type="http://schemas.openxmlformats.org/officeDocument/2006/relationships/theme" Target="../theme/theme3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slideLayout" Target="../slideLayouts/slideLayout6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18" Type="http://schemas.openxmlformats.org/officeDocument/2006/relationships/slideLayout" Target="../slideLayouts/slideLayout82.xml"/><Relationship Id="rId26" Type="http://schemas.openxmlformats.org/officeDocument/2006/relationships/slideLayout" Target="../slideLayouts/slideLayout90.xml"/><Relationship Id="rId3" Type="http://schemas.openxmlformats.org/officeDocument/2006/relationships/slideLayout" Target="../slideLayouts/slideLayout67.xml"/><Relationship Id="rId21" Type="http://schemas.openxmlformats.org/officeDocument/2006/relationships/slideLayout" Target="../slideLayouts/slideLayout85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17" Type="http://schemas.openxmlformats.org/officeDocument/2006/relationships/slideLayout" Target="../slideLayouts/slideLayout81.xml"/><Relationship Id="rId25" Type="http://schemas.openxmlformats.org/officeDocument/2006/relationships/slideLayout" Target="../slideLayouts/slideLayout89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80.xml"/><Relationship Id="rId20" Type="http://schemas.openxmlformats.org/officeDocument/2006/relationships/slideLayout" Target="../slideLayouts/slideLayout84.xml"/><Relationship Id="rId29" Type="http://schemas.openxmlformats.org/officeDocument/2006/relationships/slideLayout" Target="../slideLayouts/slideLayout93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24" Type="http://schemas.openxmlformats.org/officeDocument/2006/relationships/slideLayout" Target="../slideLayouts/slideLayout88.xml"/><Relationship Id="rId32" Type="http://schemas.openxmlformats.org/officeDocument/2006/relationships/theme" Target="../theme/theme4.xml"/><Relationship Id="rId5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9.xml"/><Relationship Id="rId23" Type="http://schemas.openxmlformats.org/officeDocument/2006/relationships/slideLayout" Target="../slideLayouts/slideLayout87.xml"/><Relationship Id="rId28" Type="http://schemas.openxmlformats.org/officeDocument/2006/relationships/slideLayout" Target="../slideLayouts/slideLayout92.xml"/><Relationship Id="rId10" Type="http://schemas.openxmlformats.org/officeDocument/2006/relationships/slideLayout" Target="../slideLayouts/slideLayout74.xml"/><Relationship Id="rId19" Type="http://schemas.openxmlformats.org/officeDocument/2006/relationships/slideLayout" Target="../slideLayouts/slideLayout83.xml"/><Relationship Id="rId31" Type="http://schemas.openxmlformats.org/officeDocument/2006/relationships/slideLayout" Target="../slideLayouts/slideLayout95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Relationship Id="rId22" Type="http://schemas.openxmlformats.org/officeDocument/2006/relationships/slideLayout" Target="../slideLayouts/slideLayout86.xml"/><Relationship Id="rId27" Type="http://schemas.openxmlformats.org/officeDocument/2006/relationships/slideLayout" Target="../slideLayouts/slideLayout91.xml"/><Relationship Id="rId30" Type="http://schemas.openxmlformats.org/officeDocument/2006/relationships/slideLayout" Target="../slideLayouts/slideLayout9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.xml"/><Relationship Id="rId13" Type="http://schemas.openxmlformats.org/officeDocument/2006/relationships/slideLayout" Target="../slideLayouts/slideLayout108.xml"/><Relationship Id="rId3" Type="http://schemas.openxmlformats.org/officeDocument/2006/relationships/slideLayout" Target="../slideLayouts/slideLayout98.xml"/><Relationship Id="rId7" Type="http://schemas.openxmlformats.org/officeDocument/2006/relationships/slideLayout" Target="../slideLayouts/slideLayout102.xml"/><Relationship Id="rId12" Type="http://schemas.openxmlformats.org/officeDocument/2006/relationships/slideLayout" Target="../slideLayouts/slideLayout107.xml"/><Relationship Id="rId2" Type="http://schemas.openxmlformats.org/officeDocument/2006/relationships/slideLayout" Target="../slideLayouts/slideLayout97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100.xml"/><Relationship Id="rId15" Type="http://schemas.openxmlformats.org/officeDocument/2006/relationships/image" Target="../media/image18.png"/><Relationship Id="rId10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4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115.xml"/><Relationship Id="rId2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113.xml"/><Relationship Id="rId4" Type="http://schemas.openxmlformats.org/officeDocument/2006/relationships/slideLayout" Target="../slideLayouts/slideLayout112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13" Type="http://schemas.openxmlformats.org/officeDocument/2006/relationships/theme" Target="../theme/theme7.xml"/><Relationship Id="rId18" Type="http://schemas.openxmlformats.org/officeDocument/2006/relationships/image" Target="../media/image31.png"/><Relationship Id="rId3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23.xml"/><Relationship Id="rId12" Type="http://schemas.openxmlformats.org/officeDocument/2006/relationships/slideLayout" Target="../slideLayouts/slideLayout128.xml"/><Relationship Id="rId17" Type="http://schemas.openxmlformats.org/officeDocument/2006/relationships/image" Target="../media/image30.emf"/><Relationship Id="rId2" Type="http://schemas.openxmlformats.org/officeDocument/2006/relationships/slideLayout" Target="../slideLayouts/slideLayout118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5" Type="http://schemas.openxmlformats.org/officeDocument/2006/relationships/slideLayout" Target="../slideLayouts/slideLayout121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26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Relationship Id="rId14" Type="http://schemas.openxmlformats.org/officeDocument/2006/relationships/vmlDrawing" Target="../drawings/vmlDrawing1.v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.xml"/><Relationship Id="rId13" Type="http://schemas.openxmlformats.org/officeDocument/2006/relationships/slideLayout" Target="../slideLayouts/slideLayout141.xml"/><Relationship Id="rId18" Type="http://schemas.openxmlformats.org/officeDocument/2006/relationships/slideLayout" Target="../slideLayouts/slideLayout146.xml"/><Relationship Id="rId26" Type="http://schemas.openxmlformats.org/officeDocument/2006/relationships/theme" Target="../theme/theme8.xml"/><Relationship Id="rId3" Type="http://schemas.openxmlformats.org/officeDocument/2006/relationships/slideLayout" Target="../slideLayouts/slideLayout131.xml"/><Relationship Id="rId21" Type="http://schemas.openxmlformats.org/officeDocument/2006/relationships/slideLayout" Target="../slideLayouts/slideLayout149.xml"/><Relationship Id="rId7" Type="http://schemas.openxmlformats.org/officeDocument/2006/relationships/slideLayout" Target="../slideLayouts/slideLayout135.xml"/><Relationship Id="rId12" Type="http://schemas.openxmlformats.org/officeDocument/2006/relationships/slideLayout" Target="../slideLayouts/slideLayout140.xml"/><Relationship Id="rId17" Type="http://schemas.openxmlformats.org/officeDocument/2006/relationships/slideLayout" Target="../slideLayouts/slideLayout145.xml"/><Relationship Id="rId25" Type="http://schemas.openxmlformats.org/officeDocument/2006/relationships/slideLayout" Target="../slideLayouts/slideLayout153.xml"/><Relationship Id="rId2" Type="http://schemas.openxmlformats.org/officeDocument/2006/relationships/slideLayout" Target="../slideLayouts/slideLayout130.xml"/><Relationship Id="rId16" Type="http://schemas.openxmlformats.org/officeDocument/2006/relationships/slideLayout" Target="../slideLayouts/slideLayout144.xml"/><Relationship Id="rId20" Type="http://schemas.openxmlformats.org/officeDocument/2006/relationships/slideLayout" Target="../slideLayouts/slideLayout148.xml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slideLayout" Target="../slideLayouts/slideLayout139.xml"/><Relationship Id="rId24" Type="http://schemas.openxmlformats.org/officeDocument/2006/relationships/slideLayout" Target="../slideLayouts/slideLayout152.xml"/><Relationship Id="rId5" Type="http://schemas.openxmlformats.org/officeDocument/2006/relationships/slideLayout" Target="../slideLayouts/slideLayout133.xml"/><Relationship Id="rId15" Type="http://schemas.openxmlformats.org/officeDocument/2006/relationships/slideLayout" Target="../slideLayouts/slideLayout143.xml"/><Relationship Id="rId23" Type="http://schemas.openxmlformats.org/officeDocument/2006/relationships/slideLayout" Target="../slideLayouts/slideLayout151.xml"/><Relationship Id="rId10" Type="http://schemas.openxmlformats.org/officeDocument/2006/relationships/slideLayout" Target="../slideLayouts/slideLayout138.xml"/><Relationship Id="rId19" Type="http://schemas.openxmlformats.org/officeDocument/2006/relationships/slideLayout" Target="../slideLayouts/slideLayout147.xml"/><Relationship Id="rId4" Type="http://schemas.openxmlformats.org/officeDocument/2006/relationships/slideLayout" Target="../slideLayouts/slideLayout132.xml"/><Relationship Id="rId9" Type="http://schemas.openxmlformats.org/officeDocument/2006/relationships/slideLayout" Target="../slideLayouts/slideLayout137.xml"/><Relationship Id="rId14" Type="http://schemas.openxmlformats.org/officeDocument/2006/relationships/slideLayout" Target="../slideLayouts/slideLayout142.xml"/><Relationship Id="rId22" Type="http://schemas.openxmlformats.org/officeDocument/2006/relationships/slideLayout" Target="../slideLayouts/slideLayout150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D02F06-11B2-4CDF-B85B-7359AB94FFF9}" type="datetimeFigureOut">
              <a:rPr lang="en-GB" smtClean="0"/>
              <a:t>15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9E73C3-E7BA-4F2F-B0ED-E0265D036A5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534844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84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1"/>
          <a:stretch>
            <a:fillRect/>
          </a:stretch>
        </p:blipFill>
        <p:spPr>
          <a:xfrm rot="5400000">
            <a:off x="9208748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41692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3" y="1189180"/>
            <a:ext cx="11653521" cy="186820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8" y="2991035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19738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  <p:sldLayoutId id="2147483710" r:id="rId18"/>
    <p:sldLayoutId id="2147483711" r:id="rId19"/>
    <p:sldLayoutId id="2147483712" r:id="rId20"/>
    <p:sldLayoutId id="2147483713" r:id="rId21"/>
    <p:sldLayoutId id="2147483714" r:id="rId22"/>
    <p:sldLayoutId id="2147483715" r:id="rId23"/>
  </p:sldLayoutIdLst>
  <p:transition>
    <p:fade/>
  </p:transition>
  <p:txStyles>
    <p:titleStyle>
      <a:lvl1pPr algn="l" defTabSz="914016" rtl="0" eaLnBrk="1" latinLnBrk="0" hangingPunct="1">
        <a:lnSpc>
          <a:spcPct val="90000"/>
        </a:lnSpc>
        <a:spcBef>
          <a:spcPct val="0"/>
        </a:spcBef>
        <a:buNone/>
        <a:defRPr lang="en-US" sz="3528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15" marR="0" indent="-336015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471" marR="0" indent="-236454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036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047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058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543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0552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7561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4569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07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016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4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032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04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048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05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06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79">
          <p15:clr>
            <a:srgbClr val="C35EA4"/>
          </p15:clr>
        </p15:guide>
        <p15:guide id="17" pos="7400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186820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 rot="5400000">
            <a:off x="9208748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93242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  <p:sldLayoutId id="2147483729" r:id="rId13"/>
    <p:sldLayoutId id="2147483730" r:id="rId14"/>
    <p:sldLayoutId id="2147483731" r:id="rId15"/>
    <p:sldLayoutId id="2147483732" r:id="rId16"/>
    <p:sldLayoutId id="2147483733" r:id="rId17"/>
    <p:sldLayoutId id="2147483734" r:id="rId18"/>
    <p:sldLayoutId id="2147483735" r:id="rId19"/>
    <p:sldLayoutId id="2147483736" r:id="rId20"/>
    <p:sldLayoutId id="2147483737" r:id="rId21"/>
    <p:sldLayoutId id="2147483738" r:id="rId22"/>
    <p:sldLayoutId id="2147483739" r:id="rId23"/>
    <p:sldLayoutId id="2147483740" r:id="rId24"/>
    <p:sldLayoutId id="2147483741" r:id="rId25"/>
    <p:sldLayoutId id="2147483742" r:id="rId26"/>
    <p:sldLayoutId id="2147483743" r:id="rId27"/>
    <p:sldLayoutId id="2147483744" r:id="rId28"/>
    <p:sldLayoutId id="2147483745" r:id="rId29"/>
    <p:sldLayoutId id="2147483746" r:id="rId30"/>
    <p:sldLayoutId id="2147483747" r:id="rId31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79">
          <p15:clr>
            <a:srgbClr val="C35EA4"/>
          </p15:clr>
        </p15:guide>
        <p15:guide id="17" pos="7400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16694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/>
          <p:cNvSpPr/>
          <p:nvPr/>
        </p:nvSpPr>
        <p:spPr bwMode="auto">
          <a:xfrm>
            <a:off x="12314120" y="-4514"/>
            <a:ext cx="277683" cy="494051"/>
          </a:xfrm>
          <a:prstGeom prst="rect">
            <a:avLst/>
          </a:prstGeom>
          <a:solidFill>
            <a:srgbClr val="00BCF2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20" name="Rectangle 19"/>
          <p:cNvSpPr/>
          <p:nvPr/>
        </p:nvSpPr>
        <p:spPr bwMode="auto">
          <a:xfrm>
            <a:off x="12314120" y="553158"/>
            <a:ext cx="277683" cy="494051"/>
          </a:xfrm>
          <a:prstGeom prst="rect">
            <a:avLst/>
          </a:prstGeom>
          <a:solidFill>
            <a:srgbClr val="FF8C0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21" name="Rectangle 20"/>
          <p:cNvSpPr/>
          <p:nvPr/>
        </p:nvSpPr>
        <p:spPr bwMode="auto">
          <a:xfrm>
            <a:off x="12314120" y="1110830"/>
            <a:ext cx="277683" cy="494051"/>
          </a:xfrm>
          <a:prstGeom prst="rect">
            <a:avLst/>
          </a:prstGeom>
          <a:solidFill>
            <a:srgbClr val="68217A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25" name="Rectangle 24"/>
          <p:cNvSpPr/>
          <p:nvPr/>
        </p:nvSpPr>
        <p:spPr bwMode="auto">
          <a:xfrm>
            <a:off x="12647288" y="-4514"/>
            <a:ext cx="277683" cy="494051"/>
          </a:xfrm>
          <a:prstGeom prst="rect">
            <a:avLst/>
          </a:prstGeom>
          <a:solidFill>
            <a:srgbClr val="00205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  <p:sp>
        <p:nvSpPr>
          <p:cNvPr id="27" name="Rectangle 26"/>
          <p:cNvSpPr/>
          <p:nvPr/>
        </p:nvSpPr>
        <p:spPr bwMode="auto">
          <a:xfrm>
            <a:off x="12647288" y="553158"/>
            <a:ext cx="277683" cy="494051"/>
          </a:xfrm>
          <a:prstGeom prst="rect">
            <a:avLst/>
          </a:prstGeom>
          <a:solidFill>
            <a:srgbClr val="7FBA0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12647288" y="1110830"/>
            <a:ext cx="277683" cy="494051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12647288" y="1668502"/>
            <a:ext cx="277683" cy="494051"/>
          </a:xfrm>
          <a:prstGeom prst="rect">
            <a:avLst/>
          </a:prstGeom>
          <a:solidFill>
            <a:srgbClr val="F2F2F2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890811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  <p:sldLayoutId id="2147483773" r:id="rId11"/>
    <p:sldLayoutId id="2147483774" r:id="rId12"/>
    <p:sldLayoutId id="2147483775" r:id="rId13"/>
  </p:sldLayoutIdLst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14400" rtl="0" eaLnBrk="1" fontAlgn="base" latinLnBrk="0" hangingPunct="1">
        <a:lnSpc>
          <a:spcPct val="100000"/>
        </a:lnSpc>
        <a:spcBef>
          <a:spcPts val="200"/>
        </a:spcBef>
        <a:spcAft>
          <a:spcPts val="400"/>
        </a:spcAft>
        <a:buClr>
          <a:srgbClr val="50B347"/>
        </a:buClr>
        <a:buSzPct val="100000"/>
        <a:buFont typeface="Arial" charset="0"/>
        <a:buBlip>
          <a:blip r:embed="rId15"/>
        </a:buBlip>
        <a:tabLst>
          <a:tab pos="658368" algn="l"/>
        </a:tabLst>
        <a:defRPr sz="3921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1" y="289513"/>
            <a:ext cx="11655078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051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269240" y="1189178"/>
            <a:ext cx="11653523" cy="2051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48212" y="6437743"/>
            <a:ext cx="3859607" cy="13386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marL="0" algn="l" defTabSz="914192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882" kern="1200" dirty="0" smtClean="0">
                <a:solidFill>
                  <a:srgbClr val="50505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t>Microsoft Confidential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67166" y="6437743"/>
            <a:ext cx="555597" cy="133860"/>
          </a:xfrm>
          <a:prstGeom prst="rect">
            <a:avLst/>
          </a:prstGeom>
        </p:spPr>
        <p:txBody>
          <a:bodyPr vert="horz" lIns="91440" tIns="0" rIns="0" bIns="0" rtlCol="0" anchor="ctr"/>
          <a:lstStyle>
            <a:lvl1pPr algn="r" defTabSz="914192" fontAlgn="auto">
              <a:spcBef>
                <a:spcPts val="0"/>
              </a:spcBef>
              <a:spcAft>
                <a:spcPts val="0"/>
              </a:spcAft>
              <a:defRPr lang="en-US" sz="882" b="0" kern="1200">
                <a:solidFill>
                  <a:srgbClr val="50505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75FAD755-3BD0-2447-A9DF-109DAABEFD99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908100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800" r:id="rId8"/>
  </p:sldLayoutIdLst>
  <p:transition>
    <p:fade/>
  </p:transition>
  <p:txStyles>
    <p:titleStyle>
      <a:lvl1pPr algn="l" defTabSz="913330" rtl="0" fontAlgn="base">
        <a:lnSpc>
          <a:spcPct val="90000"/>
        </a:lnSpc>
        <a:spcBef>
          <a:spcPct val="0"/>
        </a:spcBef>
        <a:spcAft>
          <a:spcPct val="0"/>
        </a:spcAft>
        <a:defRPr lang="en-US" sz="5293" kern="1200" spc="-100" dirty="0">
          <a:ln w="3175">
            <a:noFill/>
          </a:ln>
          <a:solidFill>
            <a:schemeClr val="tx2"/>
          </a:solidFill>
          <a:latin typeface="+mj-lt"/>
          <a:ea typeface="ＭＳ Ｐゴシック" charset="0"/>
          <a:cs typeface="Segoe UI" pitchFamily="34" charset="0"/>
        </a:defRPr>
      </a:lvl1pPr>
      <a:lvl2pPr algn="l" defTabSz="913330" rtl="0" fontAlgn="base">
        <a:lnSpc>
          <a:spcPct val="90000"/>
        </a:lnSpc>
        <a:spcBef>
          <a:spcPct val="0"/>
        </a:spcBef>
        <a:spcAft>
          <a:spcPct val="0"/>
        </a:spcAft>
        <a:defRPr sz="5293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2pPr>
      <a:lvl3pPr algn="l" defTabSz="913330" rtl="0" fontAlgn="base">
        <a:lnSpc>
          <a:spcPct val="90000"/>
        </a:lnSpc>
        <a:spcBef>
          <a:spcPct val="0"/>
        </a:spcBef>
        <a:spcAft>
          <a:spcPct val="0"/>
        </a:spcAft>
        <a:defRPr sz="5293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3pPr>
      <a:lvl4pPr algn="l" defTabSz="913330" rtl="0" fontAlgn="base">
        <a:lnSpc>
          <a:spcPct val="90000"/>
        </a:lnSpc>
        <a:spcBef>
          <a:spcPct val="0"/>
        </a:spcBef>
        <a:spcAft>
          <a:spcPct val="0"/>
        </a:spcAft>
        <a:defRPr sz="5293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4pPr>
      <a:lvl5pPr algn="l" defTabSz="913330" rtl="0" fontAlgn="base">
        <a:lnSpc>
          <a:spcPct val="90000"/>
        </a:lnSpc>
        <a:spcBef>
          <a:spcPct val="0"/>
        </a:spcBef>
        <a:spcAft>
          <a:spcPct val="0"/>
        </a:spcAft>
        <a:defRPr sz="5293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5pPr>
      <a:lvl6pPr marL="448107" algn="l" defTabSz="913330" rtl="0" fontAlgn="base">
        <a:lnSpc>
          <a:spcPct val="90000"/>
        </a:lnSpc>
        <a:spcBef>
          <a:spcPct val="0"/>
        </a:spcBef>
        <a:spcAft>
          <a:spcPct val="0"/>
        </a:spcAft>
        <a:defRPr sz="5293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6pPr>
      <a:lvl7pPr marL="896214" algn="l" defTabSz="913330" rtl="0" fontAlgn="base">
        <a:lnSpc>
          <a:spcPct val="90000"/>
        </a:lnSpc>
        <a:spcBef>
          <a:spcPct val="0"/>
        </a:spcBef>
        <a:spcAft>
          <a:spcPct val="0"/>
        </a:spcAft>
        <a:defRPr sz="5293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7pPr>
      <a:lvl8pPr marL="1344321" algn="l" defTabSz="913330" rtl="0" fontAlgn="base">
        <a:lnSpc>
          <a:spcPct val="90000"/>
        </a:lnSpc>
        <a:spcBef>
          <a:spcPct val="0"/>
        </a:spcBef>
        <a:spcAft>
          <a:spcPct val="0"/>
        </a:spcAft>
        <a:defRPr sz="5293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8pPr>
      <a:lvl9pPr marL="1792429" algn="l" defTabSz="913330" rtl="0" fontAlgn="base">
        <a:lnSpc>
          <a:spcPct val="90000"/>
        </a:lnSpc>
        <a:spcBef>
          <a:spcPct val="0"/>
        </a:spcBef>
        <a:spcAft>
          <a:spcPct val="0"/>
        </a:spcAft>
        <a:defRPr sz="5293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9pPr>
    </p:titleStyle>
    <p:bodyStyle>
      <a:lvl1pPr marL="336080" indent="-336080" algn="l" defTabSz="913330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3920" kern="1200">
          <a:solidFill>
            <a:schemeClr val="tx2"/>
          </a:solidFill>
          <a:latin typeface="+mj-lt"/>
          <a:ea typeface="ＭＳ Ｐゴシック" charset="0"/>
          <a:cs typeface="ＭＳ Ｐゴシック" charset="0"/>
        </a:defRPr>
      </a:lvl1pPr>
      <a:lvl2pPr marL="572581" indent="-236500" algn="l" defTabSz="913330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2353" kern="1200">
          <a:solidFill>
            <a:schemeClr val="tx2"/>
          </a:solidFill>
          <a:latin typeface="+mn-lt"/>
          <a:ea typeface="ＭＳ Ｐゴシック" charset="0"/>
          <a:cs typeface="+mn-cs"/>
        </a:defRPr>
      </a:lvl2pPr>
      <a:lvl3pPr marL="784187" indent="-224054" algn="l" defTabSz="913330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1961" kern="1200">
          <a:solidFill>
            <a:schemeClr val="tx2"/>
          </a:solidFill>
          <a:latin typeface="+mn-lt"/>
          <a:ea typeface="ＭＳ Ｐゴシック" charset="0"/>
          <a:cs typeface="+mn-cs"/>
        </a:defRPr>
      </a:lvl3pPr>
      <a:lvl4pPr marL="1008241" indent="-224054" algn="l" defTabSz="913330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kern="1200">
          <a:solidFill>
            <a:schemeClr val="tx2"/>
          </a:solidFill>
          <a:latin typeface="+mn-lt"/>
          <a:ea typeface="ＭＳ Ｐゴシック" charset="0"/>
          <a:cs typeface="+mn-cs"/>
        </a:defRPr>
      </a:lvl4pPr>
      <a:lvl5pPr marL="1232294" indent="-224054" algn="l" defTabSz="913330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kern="1200">
          <a:solidFill>
            <a:schemeClr val="tx2"/>
          </a:solidFill>
          <a:latin typeface="+mn-lt"/>
          <a:ea typeface="ＭＳ Ｐゴシック" charset="0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8" name="think-cell Slide" r:id="rId16" imgW="377" imgH="377" progId="TCLayout.ActiveDocument.1">
                  <p:embed/>
                </p:oleObj>
              </mc:Choice>
              <mc:Fallback>
                <p:oleObj name="think-cell Slide" r:id="rId16" imgW="377" imgH="37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078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51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269239" y="1279455"/>
            <a:ext cx="11653523" cy="2051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48212" y="6437742"/>
            <a:ext cx="3859607" cy="13386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marL="0" algn="l" defTabSz="914367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882" kern="1200" dirty="0" smtClean="0">
                <a:solidFill>
                  <a:srgbClr val="50505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67165" y="6437742"/>
            <a:ext cx="555597" cy="133860"/>
          </a:xfrm>
          <a:prstGeom prst="rect">
            <a:avLst/>
          </a:prstGeom>
        </p:spPr>
        <p:txBody>
          <a:bodyPr vert="horz" lIns="91440" tIns="0" rIns="0" bIns="0" rtlCol="0" anchor="ctr"/>
          <a:lstStyle>
            <a:lvl1pPr algn="r" defTabSz="914367" fontAlgn="auto">
              <a:spcBef>
                <a:spcPts val="0"/>
              </a:spcBef>
              <a:spcAft>
                <a:spcPts val="0"/>
              </a:spcAft>
              <a:defRPr lang="en-US" sz="882" b="0" kern="1200">
                <a:solidFill>
                  <a:srgbClr val="50505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75FAD755-3BD0-2447-A9DF-109DAABEFD99}" type="slidenum">
              <a:rPr/>
              <a:pPr>
                <a:defRPr/>
              </a:pPr>
              <a:t>‹#›</a:t>
            </a:fld>
            <a:endParaRPr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0325051" y="1906413"/>
            <a:ext cx="4214127" cy="401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780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803" r:id="rId2"/>
    <p:sldLayoutId id="2147483804" r:id="rId3"/>
    <p:sldLayoutId id="2147483805" r:id="rId4"/>
    <p:sldLayoutId id="2147483806" r:id="rId5"/>
    <p:sldLayoutId id="2147483807" r:id="rId6"/>
    <p:sldLayoutId id="2147483808" r:id="rId7"/>
    <p:sldLayoutId id="2147483809" r:id="rId8"/>
    <p:sldLayoutId id="2147483810" r:id="rId9"/>
    <p:sldLayoutId id="2147483811" r:id="rId10"/>
    <p:sldLayoutId id="2147483812" r:id="rId11"/>
    <p:sldLayoutId id="2147483813" r:id="rId12"/>
  </p:sldLayoutIdLst>
  <p:transition>
    <p:fade/>
  </p:transition>
  <p:hf hdr="0" ftr="0" dt="0"/>
  <p:txStyles>
    <p:titleStyle>
      <a:lvl1pPr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5294" kern="1200" spc="-100" dirty="0">
          <a:ln w="3175">
            <a:noFill/>
          </a:ln>
          <a:solidFill>
            <a:schemeClr val="tx2"/>
          </a:solidFill>
          <a:latin typeface="+mj-lt"/>
          <a:ea typeface="ＭＳ Ｐゴシック" charset="0"/>
          <a:cs typeface="Segoe UI" pitchFamily="34" charset="0"/>
        </a:defRPr>
      </a:lvl1pPr>
      <a:lvl2pPr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2pPr>
      <a:lvl3pPr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3pPr>
      <a:lvl4pPr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4pPr>
      <a:lvl5pPr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5pPr>
      <a:lvl6pPr marL="448193"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6pPr>
      <a:lvl7pPr marL="896386"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7pPr>
      <a:lvl8pPr marL="1344579"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8pPr>
      <a:lvl9pPr marL="1792773"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9pPr>
    </p:titleStyle>
    <p:bodyStyle>
      <a:lvl1pPr marL="336145" indent="-336145" algn="l" defTabSz="913505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3921" kern="1200">
          <a:solidFill>
            <a:schemeClr val="tx2"/>
          </a:solidFill>
          <a:latin typeface="+mj-lt"/>
          <a:ea typeface="ＭＳ Ｐゴシック" charset="0"/>
          <a:cs typeface="ＭＳ Ｐゴシック" charset="0"/>
        </a:defRPr>
      </a:lvl1pPr>
      <a:lvl2pPr marL="572691" indent="-236546" algn="l" defTabSz="913505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2353" kern="1200">
          <a:solidFill>
            <a:schemeClr val="tx2"/>
          </a:solidFill>
          <a:latin typeface="+mn-lt"/>
          <a:ea typeface="ＭＳ Ｐゴシック" charset="0"/>
          <a:cs typeface="+mn-cs"/>
        </a:defRPr>
      </a:lvl2pPr>
      <a:lvl3pPr marL="784338" indent="-224097" algn="l" defTabSz="913505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1961" kern="1200">
          <a:solidFill>
            <a:schemeClr val="tx2"/>
          </a:solidFill>
          <a:latin typeface="+mn-lt"/>
          <a:ea typeface="ＭＳ Ｐゴシック" charset="0"/>
          <a:cs typeface="+mn-cs"/>
        </a:defRPr>
      </a:lvl3pPr>
      <a:lvl4pPr marL="1008435" indent="-224097" algn="l" defTabSz="913505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kern="1200">
          <a:solidFill>
            <a:schemeClr val="tx2"/>
          </a:solidFill>
          <a:latin typeface="+mn-lt"/>
          <a:ea typeface="ＭＳ Ｐゴシック" charset="0"/>
          <a:cs typeface="+mn-cs"/>
        </a:defRPr>
      </a:lvl4pPr>
      <a:lvl5pPr marL="1232531" indent="-224097" algn="l" defTabSz="913505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kern="1200">
          <a:solidFill>
            <a:schemeClr val="tx2"/>
          </a:solidFill>
          <a:latin typeface="+mn-lt"/>
          <a:ea typeface="ＭＳ Ｐゴシック" charset="0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93">
          <p15:clr>
            <a:srgbClr val="C35EA4"/>
          </p15:clr>
        </p15:guide>
        <p15:guide id="2" pos="7565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orient="horz" pos="815">
          <p15:clr>
            <a:srgbClr val="C35EA4"/>
          </p15:clr>
        </p15:guide>
        <p15:guide id="5" orient="horz" pos="4075">
          <p15:clr>
            <a:srgbClr val="C35EA4"/>
          </p15:clr>
        </p15:guide>
        <p15:guide id="6" orient="horz" pos="763">
          <p15:clr>
            <a:srgbClr val="C35EA4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 rot="5400000">
            <a:off x="9208748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100742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24" r:id="rId1"/>
    <p:sldLayoutId id="2147483825" r:id="rId2"/>
    <p:sldLayoutId id="2147483826" r:id="rId3"/>
    <p:sldLayoutId id="2147483827" r:id="rId4"/>
    <p:sldLayoutId id="2147483828" r:id="rId5"/>
    <p:sldLayoutId id="2147483829" r:id="rId6"/>
    <p:sldLayoutId id="2147483830" r:id="rId7"/>
    <p:sldLayoutId id="2147483831" r:id="rId8"/>
    <p:sldLayoutId id="2147483832" r:id="rId9"/>
    <p:sldLayoutId id="2147483833" r:id="rId10"/>
    <p:sldLayoutId id="2147483834" r:id="rId11"/>
    <p:sldLayoutId id="2147483835" r:id="rId12"/>
    <p:sldLayoutId id="2147483836" r:id="rId13"/>
    <p:sldLayoutId id="2147483837" r:id="rId14"/>
    <p:sldLayoutId id="2147483838" r:id="rId15"/>
    <p:sldLayoutId id="2147483839" r:id="rId16"/>
    <p:sldLayoutId id="2147483840" r:id="rId17"/>
    <p:sldLayoutId id="2147483841" r:id="rId18"/>
    <p:sldLayoutId id="2147483842" r:id="rId19"/>
    <p:sldLayoutId id="2147483843" r:id="rId20"/>
    <p:sldLayoutId id="2147483844" r:id="rId21"/>
    <p:sldLayoutId id="2147483845" r:id="rId22"/>
    <p:sldLayoutId id="2147483846" r:id="rId23"/>
    <p:sldLayoutId id="2147483847" r:id="rId24"/>
    <p:sldLayoutId id="2147483848" r:id="rId25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bifurt@microsoft.com" TargetMode="External"/><Relationship Id="rId2" Type="http://schemas.openxmlformats.org/officeDocument/2006/relationships/image" Target="../media/image39.jpg"/><Relationship Id="rId1" Type="http://schemas.openxmlformats.org/officeDocument/2006/relationships/slideLayout" Target="../slideLayouts/slideLayout1.xml"/><Relationship Id="rId4" Type="http://schemas.openxmlformats.org/officeDocument/2006/relationships/hyperlink" Target="mailto:davidgri@Microsoft.com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azure/hdinsight/hdinsight-hadoop-linux-tutorial-get-started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azure/hdinsight/hdinsight-apache-spark-jupyter-spark-sql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emf"/><Relationship Id="rId13" Type="http://schemas.openxmlformats.org/officeDocument/2006/relationships/image" Target="../media/image50.emf"/><Relationship Id="rId3" Type="http://schemas.openxmlformats.org/officeDocument/2006/relationships/image" Target="../media/image40.emf"/><Relationship Id="rId7" Type="http://schemas.openxmlformats.org/officeDocument/2006/relationships/image" Target="../media/image44.emf"/><Relationship Id="rId12" Type="http://schemas.openxmlformats.org/officeDocument/2006/relationships/image" Target="../media/image49.emf"/><Relationship Id="rId17" Type="http://schemas.openxmlformats.org/officeDocument/2006/relationships/image" Target="../media/image54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53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3.emf"/><Relationship Id="rId11" Type="http://schemas.openxmlformats.org/officeDocument/2006/relationships/image" Target="../media/image48.emf"/><Relationship Id="rId5" Type="http://schemas.openxmlformats.org/officeDocument/2006/relationships/image" Target="../media/image42.emf"/><Relationship Id="rId15" Type="http://schemas.openxmlformats.org/officeDocument/2006/relationships/image" Target="../media/image52.emf"/><Relationship Id="rId10" Type="http://schemas.openxmlformats.org/officeDocument/2006/relationships/image" Target="../media/image47.emf"/><Relationship Id="rId4" Type="http://schemas.openxmlformats.org/officeDocument/2006/relationships/image" Target="../media/image41.emf"/><Relationship Id="rId9" Type="http://schemas.openxmlformats.org/officeDocument/2006/relationships/image" Target="../media/image46.emf"/><Relationship Id="rId14" Type="http://schemas.openxmlformats.org/officeDocument/2006/relationships/image" Target="../media/image51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microsoft.com/office/2007/relationships/hdphoto" Target="../media/hdphoto1.wdp"/><Relationship Id="rId18" Type="http://schemas.openxmlformats.org/officeDocument/2006/relationships/image" Target="../media/image70.emf"/><Relationship Id="rId3" Type="http://schemas.openxmlformats.org/officeDocument/2006/relationships/tags" Target="../tags/tag4.xml"/><Relationship Id="rId21" Type="http://schemas.openxmlformats.org/officeDocument/2006/relationships/image" Target="../media/image73.emf"/><Relationship Id="rId7" Type="http://schemas.openxmlformats.org/officeDocument/2006/relationships/tags" Target="../tags/tag8.xml"/><Relationship Id="rId12" Type="http://schemas.openxmlformats.org/officeDocument/2006/relationships/image" Target="../media/image69.png"/><Relationship Id="rId17" Type="http://schemas.openxmlformats.org/officeDocument/2006/relationships/image" Target="../media/image63.emf"/><Relationship Id="rId25" Type="http://schemas.openxmlformats.org/officeDocument/2006/relationships/image" Target="../media/image77.png"/><Relationship Id="rId2" Type="http://schemas.openxmlformats.org/officeDocument/2006/relationships/tags" Target="../tags/tag3.xml"/><Relationship Id="rId16" Type="http://schemas.openxmlformats.org/officeDocument/2006/relationships/image" Target="../media/image65.svg"/><Relationship Id="rId20" Type="http://schemas.openxmlformats.org/officeDocument/2006/relationships/image" Target="../media/image72.emf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image" Target="../media/image68.png"/><Relationship Id="rId24" Type="http://schemas.openxmlformats.org/officeDocument/2006/relationships/image" Target="../media/image76.gif"/><Relationship Id="rId5" Type="http://schemas.openxmlformats.org/officeDocument/2006/relationships/tags" Target="../tags/tag6.xml"/><Relationship Id="rId15" Type="http://schemas.openxmlformats.org/officeDocument/2006/relationships/image" Target="../media/image64.png"/><Relationship Id="rId23" Type="http://schemas.openxmlformats.org/officeDocument/2006/relationships/image" Target="../media/image75.emf"/><Relationship Id="rId10" Type="http://schemas.openxmlformats.org/officeDocument/2006/relationships/notesSlide" Target="../notesSlides/notesSlide16.xml"/><Relationship Id="rId19" Type="http://schemas.openxmlformats.org/officeDocument/2006/relationships/image" Target="../media/image71.emf"/><Relationship Id="rId4" Type="http://schemas.openxmlformats.org/officeDocument/2006/relationships/tags" Target="../tags/tag5.xml"/><Relationship Id="rId9" Type="http://schemas.openxmlformats.org/officeDocument/2006/relationships/slideLayout" Target="../slideLayouts/slideLayout101.xml"/><Relationship Id="rId14" Type="http://schemas.openxmlformats.org/officeDocument/2006/relationships/image" Target="../media/image66.png"/><Relationship Id="rId22" Type="http://schemas.openxmlformats.org/officeDocument/2006/relationships/image" Target="../media/image74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3" Type="http://schemas.openxmlformats.org/officeDocument/2006/relationships/image" Target="../media/image78.png"/><Relationship Id="rId7" Type="http://schemas.openxmlformats.org/officeDocument/2006/relationships/image" Target="../media/image8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1.png"/><Relationship Id="rId5" Type="http://schemas.openxmlformats.org/officeDocument/2006/relationships/image" Target="../media/image80.svg"/><Relationship Id="rId4" Type="http://schemas.openxmlformats.org/officeDocument/2006/relationships/image" Target="../media/image79.png"/><Relationship Id="rId9" Type="http://schemas.openxmlformats.org/officeDocument/2006/relationships/image" Target="../media/image8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3.png"/><Relationship Id="rId5" Type="http://schemas.openxmlformats.org/officeDocument/2006/relationships/image" Target="../media/image82.png"/><Relationship Id="rId4" Type="http://schemas.openxmlformats.org/officeDocument/2006/relationships/image" Target="../media/image84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emf"/><Relationship Id="rId7" Type="http://schemas.openxmlformats.org/officeDocument/2006/relationships/image" Target="../media/image8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7.xml"/><Relationship Id="rId6" Type="http://schemas.openxmlformats.org/officeDocument/2006/relationships/image" Target="../media/image88.emf"/><Relationship Id="rId5" Type="http://schemas.openxmlformats.org/officeDocument/2006/relationships/image" Target="../media/image87.emf"/><Relationship Id="rId4" Type="http://schemas.openxmlformats.org/officeDocument/2006/relationships/image" Target="../media/image86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53.xml"/><Relationship Id="rId5" Type="http://schemas.openxmlformats.org/officeDocument/2006/relationships/image" Target="../media/image91.png"/><Relationship Id="rId4" Type="http://schemas.openxmlformats.org/officeDocument/2006/relationships/image" Target="../media/image84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azure/data-lake-analytics/data-lake-analytics-use-interactive-tutorials" TargetMode="Externa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69.xml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3" Type="http://schemas.openxmlformats.org/officeDocument/2006/relationships/image" Target="../media/image93.png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6.png"/><Relationship Id="rId5" Type="http://schemas.openxmlformats.org/officeDocument/2006/relationships/image" Target="../media/image95.png"/><Relationship Id="rId10" Type="http://schemas.openxmlformats.org/officeDocument/2006/relationships/image" Target="../media/image98.png"/><Relationship Id="rId4" Type="http://schemas.openxmlformats.org/officeDocument/2006/relationships/image" Target="../media/image94.png"/><Relationship Id="rId9" Type="http://schemas.openxmlformats.org/officeDocument/2006/relationships/image" Target="../media/image97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emf"/><Relationship Id="rId3" Type="http://schemas.openxmlformats.org/officeDocument/2006/relationships/image" Target="../media/image54.png"/><Relationship Id="rId7" Type="http://schemas.openxmlformats.org/officeDocument/2006/relationships/image" Target="../media/image6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3.xml"/><Relationship Id="rId6" Type="http://schemas.openxmlformats.org/officeDocument/2006/relationships/image" Target="../media/image61.png"/><Relationship Id="rId11" Type="http://schemas.openxmlformats.org/officeDocument/2006/relationships/image" Target="../media/image66.png"/><Relationship Id="rId5" Type="http://schemas.openxmlformats.org/officeDocument/2006/relationships/image" Target="../media/image60.png"/><Relationship Id="rId10" Type="http://schemas.openxmlformats.org/officeDocument/2006/relationships/image" Target="../media/image65.svg"/><Relationship Id="rId4" Type="http://schemas.openxmlformats.org/officeDocument/2006/relationships/image" Target="../media/image59.png"/><Relationship Id="rId9" Type="http://schemas.openxmlformats.org/officeDocument/2006/relationships/image" Target="../media/image6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21" r="7984"/>
          <a:stretch/>
        </p:blipFill>
        <p:spPr>
          <a:xfrm>
            <a:off x="4814405" y="-479"/>
            <a:ext cx="7373112" cy="6857989"/>
          </a:xfrm>
          <a:prstGeom prst="rect">
            <a:avLst/>
          </a:prstGeom>
        </p:spPr>
      </p:pic>
      <p:sp>
        <p:nvSpPr>
          <p:cNvPr id="6" name="Freeform 8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851" y="-479"/>
            <a:ext cx="9468701" cy="6858478"/>
          </a:xfrm>
          <a:custGeom>
            <a:avLst/>
            <a:gdLst>
              <a:gd name="connsiteX0" fmla="*/ 0 w 8078051"/>
              <a:gd name="connsiteY0" fmla="*/ 0 h 5829300"/>
              <a:gd name="connsiteX1" fmla="*/ 4453793 w 8078051"/>
              <a:gd name="connsiteY1" fmla="*/ 0 h 5829300"/>
              <a:gd name="connsiteX2" fmla="*/ 5363426 w 8078051"/>
              <a:gd name="connsiteY2" fmla="*/ 0 h 5829300"/>
              <a:gd name="connsiteX3" fmla="*/ 5368184 w 8078051"/>
              <a:gd name="connsiteY3" fmla="*/ 0 h 5829300"/>
              <a:gd name="connsiteX4" fmla="*/ 8078051 w 8078051"/>
              <a:gd name="connsiteY4" fmla="*/ 5829300 h 5829300"/>
              <a:gd name="connsiteX5" fmla="*/ 1743926 w 8078051"/>
              <a:gd name="connsiteY5" fmla="*/ 5829300 h 5829300"/>
              <a:gd name="connsiteX6" fmla="*/ 1744148 w 8078051"/>
              <a:gd name="connsiteY6" fmla="*/ 5828822 h 5829300"/>
              <a:gd name="connsiteX7" fmla="*/ 0 w 8078051"/>
              <a:gd name="connsiteY7" fmla="*/ 5828822 h 5829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78051" h="5829300">
                <a:moveTo>
                  <a:pt x="0" y="0"/>
                </a:moveTo>
                <a:lnTo>
                  <a:pt x="4453793" y="0"/>
                </a:lnTo>
                <a:lnTo>
                  <a:pt x="5363426" y="0"/>
                </a:lnTo>
                <a:lnTo>
                  <a:pt x="5368184" y="0"/>
                </a:lnTo>
                <a:lnTo>
                  <a:pt x="8078051" y="5829300"/>
                </a:lnTo>
                <a:lnTo>
                  <a:pt x="1743926" y="5829300"/>
                </a:lnTo>
                <a:lnTo>
                  <a:pt x="1744148" y="5828822"/>
                </a:lnTo>
                <a:lnTo>
                  <a:pt x="0" y="5828822"/>
                </a:lnTo>
                <a:close/>
              </a:path>
            </a:pathLst>
          </a:custGeom>
          <a:solidFill>
            <a:schemeClr val="bg1">
              <a:lumMod val="85000"/>
              <a:lumOff val="1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eform 11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852" y="-479"/>
            <a:ext cx="8078052" cy="6858478"/>
          </a:xfrm>
          <a:custGeom>
            <a:avLst/>
            <a:gdLst>
              <a:gd name="connsiteX0" fmla="*/ 0 w 8078052"/>
              <a:gd name="connsiteY0" fmla="*/ 0 h 6858478"/>
              <a:gd name="connsiteX1" fmla="*/ 3829872 w 8078052"/>
              <a:gd name="connsiteY1" fmla="*/ 0 h 6858478"/>
              <a:gd name="connsiteX2" fmla="*/ 4896100 w 8078052"/>
              <a:gd name="connsiteY2" fmla="*/ 0 h 6858478"/>
              <a:gd name="connsiteX3" fmla="*/ 4901677 w 8078052"/>
              <a:gd name="connsiteY3" fmla="*/ 0 h 6858478"/>
              <a:gd name="connsiteX4" fmla="*/ 8078052 w 8078052"/>
              <a:gd name="connsiteY4" fmla="*/ 6858478 h 6858478"/>
              <a:gd name="connsiteX5" fmla="*/ 653497 w 8078052"/>
              <a:gd name="connsiteY5" fmla="*/ 6858478 h 6858478"/>
              <a:gd name="connsiteX6" fmla="*/ 653757 w 8078052"/>
              <a:gd name="connsiteY6" fmla="*/ 6857916 h 6858478"/>
              <a:gd name="connsiteX7" fmla="*/ 0 w 8078052"/>
              <a:gd name="connsiteY7" fmla="*/ 6857916 h 6858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78052" h="6858478">
                <a:moveTo>
                  <a:pt x="0" y="0"/>
                </a:moveTo>
                <a:lnTo>
                  <a:pt x="3829872" y="0"/>
                </a:lnTo>
                <a:lnTo>
                  <a:pt x="4896100" y="0"/>
                </a:lnTo>
                <a:lnTo>
                  <a:pt x="4901677" y="0"/>
                </a:lnTo>
                <a:lnTo>
                  <a:pt x="8078052" y="6858478"/>
                </a:lnTo>
                <a:lnTo>
                  <a:pt x="653497" y="6858478"/>
                </a:lnTo>
                <a:lnTo>
                  <a:pt x="653757" y="6857916"/>
                </a:lnTo>
                <a:lnTo>
                  <a:pt x="0" y="6857916"/>
                </a:lnTo>
                <a:close/>
              </a:path>
            </a:pathLst>
          </a:custGeom>
          <a:solidFill>
            <a:schemeClr val="bg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7192" y="1950976"/>
            <a:ext cx="5058370" cy="2578524"/>
          </a:xfrm>
        </p:spPr>
        <p:txBody>
          <a:bodyPr anchor="t">
            <a:normAutofit/>
          </a:bodyPr>
          <a:lstStyle/>
          <a:p>
            <a:pPr algn="l">
              <a:lnSpc>
                <a:spcPct val="80000"/>
              </a:lnSpc>
            </a:pPr>
            <a:r>
              <a:rPr lang="en-GB" sz="5000" dirty="0">
                <a:solidFill>
                  <a:srgbClr val="00B0F0"/>
                </a:solidFill>
              </a:rPr>
              <a:t>Microsoft Azure</a:t>
            </a:r>
            <a:br>
              <a:rPr lang="en-GB" sz="5000" dirty="0">
                <a:solidFill>
                  <a:srgbClr val="00B0F0"/>
                </a:solidFill>
              </a:rPr>
            </a:br>
            <a:r>
              <a:rPr lang="en-GB" sz="5000" dirty="0">
                <a:solidFill>
                  <a:srgbClr val="00B0F0"/>
                </a:solidFill>
              </a:rPr>
              <a:t>Data Masterclas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22910" y="5011831"/>
            <a:ext cx="7145209" cy="1155525"/>
          </a:xfrm>
        </p:spPr>
        <p:txBody>
          <a:bodyPr anchor="b">
            <a:noAutofit/>
          </a:bodyPr>
          <a:lstStyle/>
          <a:p>
            <a:pPr algn="l"/>
            <a:r>
              <a:rPr lang="it-IT" sz="3200" dirty="0"/>
              <a:t>Bianca Furtuna </a:t>
            </a:r>
            <a:r>
              <a:rPr lang="it-IT" sz="3200" dirty="0">
                <a:hlinkClick r:id="rId3"/>
              </a:rPr>
              <a:t>bifurt@microsoft.com</a:t>
            </a:r>
            <a:r>
              <a:rPr lang="it-IT" sz="3200" dirty="0"/>
              <a:t>  </a:t>
            </a:r>
          </a:p>
          <a:p>
            <a:pPr algn="l"/>
            <a:r>
              <a:rPr lang="en-GB" sz="3200" dirty="0"/>
              <a:t>David Gristwood </a:t>
            </a:r>
            <a:r>
              <a:rPr lang="en-GB" sz="3200" dirty="0">
                <a:hlinkClick r:id="rId4"/>
              </a:rPr>
              <a:t>davidgri@Microsoft.com</a:t>
            </a:r>
            <a:r>
              <a:rPr lang="en-GB" sz="32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416838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GB" dirty="0">
                <a:solidFill>
                  <a:srgbClr val="00B0F0"/>
                </a:solidFill>
              </a:rPr>
              <a:t>Hive</a:t>
            </a:r>
          </a:p>
        </p:txBody>
      </p:sp>
      <p:sp>
        <p:nvSpPr>
          <p:cNvPr id="5" name="Rectangle 4"/>
          <p:cNvSpPr/>
          <p:nvPr/>
        </p:nvSpPr>
        <p:spPr>
          <a:xfrm>
            <a:off x="269241" y="1189494"/>
            <a:ext cx="9605440" cy="452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353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</a:rPr>
              <a:t>A managed cloud service for building and operating data pipelines</a:t>
            </a:r>
          </a:p>
        </p:txBody>
      </p:sp>
      <p:sp>
        <p:nvSpPr>
          <p:cNvPr id="9" name="Text Placeholder 3"/>
          <p:cNvSpPr txBox="1">
            <a:spLocks/>
          </p:cNvSpPr>
          <p:nvPr/>
        </p:nvSpPr>
        <p:spPr>
          <a:xfrm>
            <a:off x="564823" y="1423296"/>
            <a:ext cx="10899862" cy="6810069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36145" marR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2800" kern="1200" spc="0" baseline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572691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6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784338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4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008435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2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32531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2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schemeClr val="tx1"/>
                </a:solidFill>
              </a:rPr>
              <a:t>SQL-like queries on data in HDFS</a:t>
            </a:r>
          </a:p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2800" dirty="0" err="1">
                <a:solidFill>
                  <a:schemeClr val="tx1"/>
                </a:solidFill>
              </a:rPr>
              <a:t>HiveQL</a:t>
            </a:r>
            <a:r>
              <a:rPr lang="en-GB" sz="2800" dirty="0">
                <a:solidFill>
                  <a:schemeClr val="tx1"/>
                </a:solidFill>
              </a:rPr>
              <a:t> = SQL-like languages</a:t>
            </a:r>
          </a:p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schemeClr val="tx1"/>
                </a:solidFill>
              </a:rPr>
              <a:t>Hive structures include well-understood database concepts such as tables, rows, columns, partitions</a:t>
            </a:r>
          </a:p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schemeClr val="tx1"/>
                </a:solidFill>
              </a:rPr>
              <a:t>Compiled into MapReduce jobs that are executed on Hadoop</a:t>
            </a:r>
          </a:p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schemeClr val="tx1"/>
                </a:solidFill>
              </a:rPr>
              <a:t>Supports custom </a:t>
            </a:r>
            <a:r>
              <a:rPr lang="en-GB" sz="2800" dirty="0" err="1">
                <a:solidFill>
                  <a:schemeClr val="tx1"/>
                </a:solidFill>
              </a:rPr>
              <a:t>serializer</a:t>
            </a:r>
            <a:r>
              <a:rPr lang="en-GB" sz="2800" dirty="0">
                <a:solidFill>
                  <a:schemeClr val="tx1"/>
                </a:solidFill>
              </a:rPr>
              <a:t>/</a:t>
            </a:r>
            <a:r>
              <a:rPr lang="en-GB" sz="2800" dirty="0" err="1">
                <a:solidFill>
                  <a:schemeClr val="tx1"/>
                </a:solidFill>
              </a:rPr>
              <a:t>deserializers</a:t>
            </a:r>
            <a:r>
              <a:rPr lang="en-GB" sz="2800" dirty="0">
                <a:solidFill>
                  <a:schemeClr val="tx1"/>
                </a:solidFill>
              </a:rPr>
              <a:t> for complex or irregularly structured data</a:t>
            </a:r>
          </a:p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US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ODBC drivers to integrate with Power BI, Tableau, </a:t>
            </a:r>
            <a:r>
              <a:rPr lang="en-US" sz="28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Qlik</a:t>
            </a:r>
            <a:r>
              <a:rPr lang="en-US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, etc.</a:t>
            </a:r>
          </a:p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endParaRPr lang="en-GB" sz="2800" dirty="0">
              <a:solidFill>
                <a:schemeClr val="tx1"/>
              </a:solidFill>
            </a:endParaRPr>
          </a:p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endParaRPr lang="en-GB" sz="2800" dirty="0">
              <a:solidFill>
                <a:schemeClr val="tx1"/>
              </a:solidFill>
            </a:endParaRPr>
          </a:p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endParaRPr lang="en-GB" sz="2800" dirty="0">
              <a:solidFill>
                <a:schemeClr val="tx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8468" y="5191060"/>
            <a:ext cx="1517333" cy="1517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7496875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GB" dirty="0">
                <a:solidFill>
                  <a:srgbClr val="00B0F0"/>
                </a:solidFill>
              </a:rPr>
              <a:t>HBase</a:t>
            </a:r>
          </a:p>
        </p:txBody>
      </p:sp>
      <p:sp>
        <p:nvSpPr>
          <p:cNvPr id="5" name="Rectangle 4"/>
          <p:cNvSpPr/>
          <p:nvPr/>
        </p:nvSpPr>
        <p:spPr>
          <a:xfrm>
            <a:off x="269241" y="1189494"/>
            <a:ext cx="9605440" cy="452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353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</a:rPr>
              <a:t>A managed cloud service for building and operating data pipelines</a:t>
            </a:r>
          </a:p>
        </p:txBody>
      </p:sp>
      <p:sp>
        <p:nvSpPr>
          <p:cNvPr id="9" name="Text Placeholder 3"/>
          <p:cNvSpPr txBox="1">
            <a:spLocks/>
          </p:cNvSpPr>
          <p:nvPr/>
        </p:nvSpPr>
        <p:spPr>
          <a:xfrm>
            <a:off x="564822" y="1637706"/>
            <a:ext cx="10835435" cy="3784113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36145" marR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2800" kern="1200" spc="0" baseline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572691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6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784338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4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008435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2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32531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2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schemeClr val="tx1"/>
                </a:solidFill>
              </a:rPr>
              <a:t>NoSQL database on data in HDFS</a:t>
            </a:r>
          </a:p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schemeClr val="tx1"/>
                </a:solidFill>
              </a:rPr>
              <a:t>random access and strong consistency for large amounts of unstructured and </a:t>
            </a:r>
            <a:r>
              <a:rPr lang="en-GB" sz="2800" dirty="0" err="1">
                <a:solidFill>
                  <a:schemeClr val="tx1"/>
                </a:solidFill>
              </a:rPr>
              <a:t>semistructured</a:t>
            </a:r>
            <a:r>
              <a:rPr lang="en-GB" sz="2800" dirty="0">
                <a:solidFill>
                  <a:schemeClr val="tx1"/>
                </a:solidFill>
              </a:rPr>
              <a:t> data in a </a:t>
            </a:r>
            <a:r>
              <a:rPr lang="en-GB" sz="2800" dirty="0" err="1">
                <a:solidFill>
                  <a:schemeClr val="tx1"/>
                </a:solidFill>
              </a:rPr>
              <a:t>schemaless</a:t>
            </a:r>
            <a:r>
              <a:rPr lang="en-GB" sz="2800" dirty="0">
                <a:solidFill>
                  <a:schemeClr val="tx1"/>
                </a:solidFill>
              </a:rPr>
              <a:t> database organized by column families</a:t>
            </a:r>
          </a:p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schemeClr val="tx1"/>
                </a:solidFill>
              </a:rPr>
              <a:t>Can be queried using Hive</a:t>
            </a:r>
          </a:p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schemeClr val="tx1"/>
                </a:solidFill>
              </a:rPr>
              <a:t>HDInsight implementation: automatic </a:t>
            </a:r>
            <a:r>
              <a:rPr lang="en-GB" sz="2800" dirty="0" err="1">
                <a:solidFill>
                  <a:schemeClr val="tx1"/>
                </a:solidFill>
              </a:rPr>
              <a:t>sharding</a:t>
            </a:r>
            <a:r>
              <a:rPr lang="en-GB" sz="2800" dirty="0">
                <a:solidFill>
                  <a:schemeClr val="tx1"/>
                </a:solidFill>
              </a:rPr>
              <a:t> of tables, strong consistency for reads and writes, and automatic failover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8468" y="5191060"/>
            <a:ext cx="1517333" cy="1517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692277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GB" dirty="0">
                <a:solidFill>
                  <a:srgbClr val="00B0F0"/>
                </a:solidFill>
              </a:rPr>
              <a:t>Storm</a:t>
            </a:r>
          </a:p>
        </p:txBody>
      </p:sp>
      <p:sp>
        <p:nvSpPr>
          <p:cNvPr id="5" name="Rectangle 4"/>
          <p:cNvSpPr/>
          <p:nvPr/>
        </p:nvSpPr>
        <p:spPr>
          <a:xfrm>
            <a:off x="269241" y="1189494"/>
            <a:ext cx="9605440" cy="452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353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</a:rPr>
              <a:t>A managed cloud service for building and operating data pipelines</a:t>
            </a:r>
          </a:p>
        </p:txBody>
      </p:sp>
      <p:sp>
        <p:nvSpPr>
          <p:cNvPr id="9" name="Text Placeholder 3"/>
          <p:cNvSpPr txBox="1">
            <a:spLocks/>
          </p:cNvSpPr>
          <p:nvPr/>
        </p:nvSpPr>
        <p:spPr>
          <a:xfrm>
            <a:off x="564822" y="1637706"/>
            <a:ext cx="11104014" cy="407906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36145" marR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2800" kern="1200" spc="0" baseline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572691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6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784338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4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008435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2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32531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2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schemeClr val="tx1"/>
                </a:solidFill>
              </a:rPr>
              <a:t>Stream Analytics for Near-Real Time processing</a:t>
            </a:r>
          </a:p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schemeClr val="tx1"/>
                </a:solidFill>
              </a:rPr>
              <a:t>Consumes millions of real-time events from a scalable event broker: Apache Kafka, Azure Event Hub</a:t>
            </a:r>
          </a:p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schemeClr val="tx1"/>
                </a:solidFill>
              </a:rPr>
              <a:t>Guarantees processing of data	</a:t>
            </a:r>
          </a:p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schemeClr val="tx1"/>
                </a:solidFill>
              </a:rPr>
              <a:t>Output to persistent stores, dashboards or devices</a:t>
            </a:r>
          </a:p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schemeClr val="tx1"/>
                </a:solidFill>
              </a:rPr>
              <a:t>HDInsight implementation: Event Hub, Azure Virtual Network, SQL Database, Blob storage, and </a:t>
            </a:r>
            <a:r>
              <a:rPr lang="en-GB" sz="2800" dirty="0" err="1">
                <a:solidFill>
                  <a:schemeClr val="tx1"/>
                </a:solidFill>
              </a:rPr>
              <a:t>DocumentDB</a:t>
            </a:r>
            <a:endParaRPr lang="en-GB" sz="2800" dirty="0">
              <a:solidFill>
                <a:schemeClr val="tx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8468" y="5191060"/>
            <a:ext cx="1517333" cy="1517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089817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GB" dirty="0">
                <a:solidFill>
                  <a:srgbClr val="00B0F0"/>
                </a:solidFill>
              </a:rPr>
              <a:t>Kafka</a:t>
            </a:r>
          </a:p>
        </p:txBody>
      </p:sp>
      <p:sp>
        <p:nvSpPr>
          <p:cNvPr id="5" name="Rectangle 4"/>
          <p:cNvSpPr/>
          <p:nvPr/>
        </p:nvSpPr>
        <p:spPr>
          <a:xfrm>
            <a:off x="269241" y="1189494"/>
            <a:ext cx="9605440" cy="452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353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</a:rPr>
              <a:t>A managed cloud service for building and operating data pipelines</a:t>
            </a:r>
          </a:p>
        </p:txBody>
      </p:sp>
      <p:sp>
        <p:nvSpPr>
          <p:cNvPr id="9" name="Text Placeholder 3"/>
          <p:cNvSpPr txBox="1">
            <a:spLocks/>
          </p:cNvSpPr>
          <p:nvPr/>
        </p:nvSpPr>
        <p:spPr>
          <a:xfrm>
            <a:off x="564822" y="1637706"/>
            <a:ext cx="10835435" cy="33034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36145" marR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2800" kern="1200" spc="0" baseline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572691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6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784338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4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008435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2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32531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2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schemeClr val="tx1"/>
                </a:solidFill>
              </a:rPr>
              <a:t>High-throughput, low-latency for real-time data</a:t>
            </a:r>
          </a:p>
          <a:p>
            <a:pPr marL="0" lvl="1" indent="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None/>
            </a:pPr>
            <a:endParaRPr lang="en-GB" sz="2800" dirty="0">
              <a:solidFill>
                <a:schemeClr val="tx1"/>
              </a:solidFill>
            </a:endParaRPr>
          </a:p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schemeClr val="tx1"/>
                </a:solidFill>
              </a:rPr>
              <a:t>Stream millions of events per second</a:t>
            </a:r>
          </a:p>
          <a:p>
            <a:pPr marL="0" lvl="1" indent="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None/>
            </a:pPr>
            <a:endParaRPr lang="en-GB" sz="2800" dirty="0">
              <a:solidFill>
                <a:schemeClr val="tx1"/>
              </a:solidFill>
            </a:endParaRPr>
          </a:p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schemeClr val="tx1"/>
                </a:solidFill>
              </a:rPr>
              <a:t>Enterprise-grade management and control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8468" y="5191060"/>
            <a:ext cx="1517333" cy="1517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2960334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</p:sp>
      <p:sp>
        <p:nvSpPr>
          <p:cNvPr id="7" name="Rectangle 6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21564" y="320040"/>
            <a:ext cx="11548872" cy="6217920"/>
          </a:xfrm>
          <a:prstGeom prst="rect">
            <a:avLst/>
          </a:prstGeom>
          <a:solidFill>
            <a:schemeClr val="tx1">
              <a:alpha val="8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cxnSp>
        <p:nvCxnSpPr>
          <p:cNvPr id="14" name="Straight Connector 7"/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055891" y="2057399"/>
            <a:ext cx="0" cy="27432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380588" y="965199"/>
            <a:ext cx="7193946" cy="4975451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5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emo – HDInsight Hadoop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177415" y="5998192"/>
            <a:ext cx="106930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GB" kern="0" dirty="0">
                <a:solidFill>
                  <a:sysClr val="windowText" lastClr="000000"/>
                </a:solidFill>
                <a:hlinkClick r:id="rId3"/>
              </a:rPr>
              <a:t>https://docs.microsoft.com/en-us/azure/hdinsight/hdinsight-hadoop-linux-tutorial-get-started</a:t>
            </a:r>
            <a:r>
              <a:rPr lang="en-GB" kern="0" dirty="0">
                <a:solidFill>
                  <a:sysClr val="windowText" lastClr="000000"/>
                </a:solidFill>
              </a:rPr>
              <a:t> </a:t>
            </a: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6103923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GB" dirty="0">
                <a:solidFill>
                  <a:srgbClr val="00B0F0"/>
                </a:solidFill>
              </a:rPr>
              <a:t>Spark</a:t>
            </a:r>
          </a:p>
        </p:txBody>
      </p:sp>
      <p:sp>
        <p:nvSpPr>
          <p:cNvPr id="5" name="Rectangle 4"/>
          <p:cNvSpPr/>
          <p:nvPr/>
        </p:nvSpPr>
        <p:spPr>
          <a:xfrm>
            <a:off x="269241" y="1189494"/>
            <a:ext cx="9605440" cy="452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353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</a:rPr>
              <a:t>A managed cloud service for building and operating data pipelines</a:t>
            </a:r>
          </a:p>
        </p:txBody>
      </p:sp>
      <p:sp>
        <p:nvSpPr>
          <p:cNvPr id="9" name="Text Placeholder 3"/>
          <p:cNvSpPr txBox="1">
            <a:spLocks/>
          </p:cNvSpPr>
          <p:nvPr/>
        </p:nvSpPr>
        <p:spPr>
          <a:xfrm>
            <a:off x="564822" y="1637706"/>
            <a:ext cx="10835435" cy="2620717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36145" marR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2800" kern="1200" spc="0" baseline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572691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6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784338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4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008435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2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32531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2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schemeClr val="tx1"/>
                </a:solidFill>
              </a:rPr>
              <a:t>Parallel processing framework with in-memory processing</a:t>
            </a:r>
          </a:p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schemeClr val="tx1"/>
                </a:solidFill>
              </a:rPr>
              <a:t>BI tool of choice (Power BI, </a:t>
            </a:r>
            <a:r>
              <a:rPr lang="en-GB" sz="2800" dirty="0" err="1">
                <a:solidFill>
                  <a:schemeClr val="tx1"/>
                </a:solidFill>
              </a:rPr>
              <a:t>Tabelau</a:t>
            </a:r>
            <a:r>
              <a:rPr lang="en-GB" sz="2800" dirty="0">
                <a:solidFill>
                  <a:schemeClr val="tx1"/>
                </a:solidFill>
              </a:rPr>
              <a:t>, </a:t>
            </a:r>
            <a:r>
              <a:rPr lang="en-GB" sz="2800" dirty="0" err="1">
                <a:solidFill>
                  <a:schemeClr val="tx1"/>
                </a:solidFill>
              </a:rPr>
              <a:t>Qlik</a:t>
            </a:r>
            <a:r>
              <a:rPr lang="en-GB" sz="2800" dirty="0">
                <a:solidFill>
                  <a:schemeClr val="tx1"/>
                </a:solidFill>
              </a:rPr>
              <a:t>, SAP) with ODBS driver</a:t>
            </a:r>
          </a:p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schemeClr val="tx1"/>
                </a:solidFill>
              </a:rPr>
              <a:t>Notebook experience (</a:t>
            </a:r>
            <a:r>
              <a:rPr lang="en-GB" sz="2800" dirty="0" err="1">
                <a:solidFill>
                  <a:schemeClr val="tx1"/>
                </a:solidFill>
              </a:rPr>
              <a:t>Jupyter</a:t>
            </a:r>
            <a:r>
              <a:rPr lang="en-GB" sz="2800" dirty="0">
                <a:solidFill>
                  <a:schemeClr val="tx1"/>
                </a:solidFill>
              </a:rPr>
              <a:t> &amp; Zeppelin)</a:t>
            </a:r>
          </a:p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endParaRPr lang="en-GB" sz="2800" dirty="0">
              <a:solidFill>
                <a:schemeClr val="tx1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2627791" y="3629226"/>
            <a:ext cx="6966586" cy="2969467"/>
            <a:chOff x="7540984" y="4602711"/>
            <a:chExt cx="4154854" cy="2255289"/>
          </a:xfrm>
        </p:grpSpPr>
        <p:grpSp>
          <p:nvGrpSpPr>
            <p:cNvPr id="16" name="Group 15"/>
            <p:cNvGrpSpPr/>
            <p:nvPr/>
          </p:nvGrpSpPr>
          <p:grpSpPr>
            <a:xfrm>
              <a:off x="7540984" y="4602711"/>
              <a:ext cx="4154854" cy="2255289"/>
              <a:chOff x="2026407" y="752030"/>
              <a:chExt cx="6109918" cy="3023460"/>
            </a:xfrm>
          </p:grpSpPr>
          <p:grpSp>
            <p:nvGrpSpPr>
              <p:cNvPr id="17" name="Group 16"/>
              <p:cNvGrpSpPr/>
              <p:nvPr/>
            </p:nvGrpSpPr>
            <p:grpSpPr>
              <a:xfrm>
                <a:off x="2026407" y="752030"/>
                <a:ext cx="6109918" cy="3023460"/>
                <a:chOff x="714058" y="3942941"/>
                <a:chExt cx="4151556" cy="1865924"/>
              </a:xfrm>
            </p:grpSpPr>
            <p:sp>
              <p:nvSpPr>
                <p:cNvPr id="19" name="Rectangle 18"/>
                <p:cNvSpPr>
                  <a:spLocks/>
                </p:cNvSpPr>
                <p:nvPr/>
              </p:nvSpPr>
              <p:spPr>
                <a:xfrm>
                  <a:off x="714058" y="5106171"/>
                  <a:ext cx="4151556" cy="702694"/>
                </a:xfrm>
                <a:prstGeom prst="rect">
                  <a:avLst/>
                </a:prstGeom>
                <a:solidFill>
                  <a:srgbClr val="000000"/>
                </a:solidFill>
                <a:ln w="9525" cmpd="sng">
                  <a:solidFill>
                    <a:srgbClr val="000000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lIns="179259" tIns="134445" rIns="179259" bIns="358519" rtlCol="0" anchor="ctr" anchorCtr="0"/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457112"/>
                  <a:endParaRPr lang="en-US" sz="1765" dirty="0">
                    <a:gradFill>
                      <a:gsLst>
                        <a:gs pos="2917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0"/>
                    </a:gradFill>
                    <a:cs typeface="Arial"/>
                  </a:endParaRPr>
                </a:p>
                <a:p>
                  <a:pPr algn="ctr" defTabSz="457112"/>
                  <a:r>
                    <a:rPr lang="en-US" sz="2400" dirty="0">
                      <a:gradFill>
                        <a:gsLst>
                          <a:gs pos="2917">
                            <a:schemeClr val="bg1"/>
                          </a:gs>
                          <a:gs pos="100000">
                            <a:schemeClr val="bg1"/>
                          </a:gs>
                        </a:gsLst>
                        <a:lin ang="5400000" scaled="0"/>
                      </a:gradFill>
                      <a:cs typeface="Arial"/>
                    </a:rPr>
                    <a:t>	     </a:t>
                  </a:r>
                  <a:r>
                    <a:rPr lang="en-US" dirty="0">
                      <a:gradFill>
                        <a:gsLst>
                          <a:gs pos="2917">
                            <a:schemeClr val="bg1"/>
                          </a:gs>
                          <a:gs pos="100000">
                            <a:schemeClr val="bg1"/>
                          </a:gs>
                        </a:gsLst>
                        <a:lin ang="5400000" scaled="0"/>
                      </a:gradFill>
                      <a:cs typeface="Arial"/>
                    </a:rPr>
                    <a:t>Core Engine</a:t>
                  </a:r>
                  <a:endParaRPr lang="en-US" sz="2400" dirty="0">
                    <a:gradFill>
                      <a:gsLst>
                        <a:gs pos="2917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0"/>
                    </a:gradFill>
                    <a:cs typeface="Arial"/>
                  </a:endParaRPr>
                </a:p>
              </p:txBody>
            </p:sp>
            <p:sp>
              <p:nvSpPr>
                <p:cNvPr id="20" name="Rounded Rectangle 37"/>
                <p:cNvSpPr>
                  <a:spLocks/>
                </p:cNvSpPr>
                <p:nvPr/>
              </p:nvSpPr>
              <p:spPr>
                <a:xfrm>
                  <a:off x="714058" y="3942941"/>
                  <a:ext cx="786040" cy="1243949"/>
                </a:xfrm>
                <a:custGeom>
                  <a:avLst/>
                  <a:gdLst>
                    <a:gd name="connsiteX0" fmla="*/ 0 w 494985"/>
                    <a:gd name="connsiteY0" fmla="*/ 28501 h 1035486"/>
                    <a:gd name="connsiteX1" fmla="*/ 28501 w 494985"/>
                    <a:gd name="connsiteY1" fmla="*/ 0 h 1035486"/>
                    <a:gd name="connsiteX2" fmla="*/ 466484 w 494985"/>
                    <a:gd name="connsiteY2" fmla="*/ 0 h 1035486"/>
                    <a:gd name="connsiteX3" fmla="*/ 494985 w 494985"/>
                    <a:gd name="connsiteY3" fmla="*/ 28501 h 1035486"/>
                    <a:gd name="connsiteX4" fmla="*/ 494985 w 494985"/>
                    <a:gd name="connsiteY4" fmla="*/ 1006985 h 1035486"/>
                    <a:gd name="connsiteX5" fmla="*/ 466484 w 494985"/>
                    <a:gd name="connsiteY5" fmla="*/ 1035486 h 1035486"/>
                    <a:gd name="connsiteX6" fmla="*/ 28501 w 494985"/>
                    <a:gd name="connsiteY6" fmla="*/ 1035486 h 1035486"/>
                    <a:gd name="connsiteX7" fmla="*/ 0 w 494985"/>
                    <a:gd name="connsiteY7" fmla="*/ 1006985 h 1035486"/>
                    <a:gd name="connsiteX8" fmla="*/ 0 w 494985"/>
                    <a:gd name="connsiteY8" fmla="*/ 28501 h 1035486"/>
                    <a:gd name="connsiteX0" fmla="*/ 0 w 494985"/>
                    <a:gd name="connsiteY0" fmla="*/ 28501 h 1100841"/>
                    <a:gd name="connsiteX1" fmla="*/ 28501 w 494985"/>
                    <a:gd name="connsiteY1" fmla="*/ 0 h 1100841"/>
                    <a:gd name="connsiteX2" fmla="*/ 466484 w 494985"/>
                    <a:gd name="connsiteY2" fmla="*/ 0 h 1100841"/>
                    <a:gd name="connsiteX3" fmla="*/ 494985 w 494985"/>
                    <a:gd name="connsiteY3" fmla="*/ 28501 h 1100841"/>
                    <a:gd name="connsiteX4" fmla="*/ 494985 w 494985"/>
                    <a:gd name="connsiteY4" fmla="*/ 1006985 h 1100841"/>
                    <a:gd name="connsiteX5" fmla="*/ 466484 w 494985"/>
                    <a:gd name="connsiteY5" fmla="*/ 1035486 h 1100841"/>
                    <a:gd name="connsiteX6" fmla="*/ 202850 w 494985"/>
                    <a:gd name="connsiteY6" fmla="*/ 1100839 h 1100841"/>
                    <a:gd name="connsiteX7" fmla="*/ 28501 w 494985"/>
                    <a:gd name="connsiteY7" fmla="*/ 1035486 h 1100841"/>
                    <a:gd name="connsiteX8" fmla="*/ 0 w 494985"/>
                    <a:gd name="connsiteY8" fmla="*/ 1006985 h 1100841"/>
                    <a:gd name="connsiteX9" fmla="*/ 0 w 494985"/>
                    <a:gd name="connsiteY9" fmla="*/ 28501 h 1100841"/>
                    <a:gd name="connsiteX0" fmla="*/ 0 w 494985"/>
                    <a:gd name="connsiteY0" fmla="*/ 28501 h 1122703"/>
                    <a:gd name="connsiteX1" fmla="*/ 28501 w 494985"/>
                    <a:gd name="connsiteY1" fmla="*/ 0 h 1122703"/>
                    <a:gd name="connsiteX2" fmla="*/ 466484 w 494985"/>
                    <a:gd name="connsiteY2" fmla="*/ 0 h 1122703"/>
                    <a:gd name="connsiteX3" fmla="*/ 494985 w 494985"/>
                    <a:gd name="connsiteY3" fmla="*/ 28501 h 1122703"/>
                    <a:gd name="connsiteX4" fmla="*/ 494985 w 494985"/>
                    <a:gd name="connsiteY4" fmla="*/ 1006985 h 1122703"/>
                    <a:gd name="connsiteX5" fmla="*/ 466484 w 494985"/>
                    <a:gd name="connsiteY5" fmla="*/ 1035486 h 1122703"/>
                    <a:gd name="connsiteX6" fmla="*/ 326675 w 494985"/>
                    <a:gd name="connsiteY6" fmla="*/ 1119889 h 1122703"/>
                    <a:gd name="connsiteX7" fmla="*/ 202850 w 494985"/>
                    <a:gd name="connsiteY7" fmla="*/ 1100839 h 1122703"/>
                    <a:gd name="connsiteX8" fmla="*/ 28501 w 494985"/>
                    <a:gd name="connsiteY8" fmla="*/ 1035486 h 1122703"/>
                    <a:gd name="connsiteX9" fmla="*/ 0 w 494985"/>
                    <a:gd name="connsiteY9" fmla="*/ 1006985 h 1122703"/>
                    <a:gd name="connsiteX10" fmla="*/ 0 w 494985"/>
                    <a:gd name="connsiteY10" fmla="*/ 28501 h 1122703"/>
                    <a:gd name="connsiteX0" fmla="*/ 0 w 494985"/>
                    <a:gd name="connsiteY0" fmla="*/ 28501 h 1120138"/>
                    <a:gd name="connsiteX1" fmla="*/ 28501 w 494985"/>
                    <a:gd name="connsiteY1" fmla="*/ 0 h 1120138"/>
                    <a:gd name="connsiteX2" fmla="*/ 466484 w 494985"/>
                    <a:gd name="connsiteY2" fmla="*/ 0 h 1120138"/>
                    <a:gd name="connsiteX3" fmla="*/ 494985 w 494985"/>
                    <a:gd name="connsiteY3" fmla="*/ 28501 h 1120138"/>
                    <a:gd name="connsiteX4" fmla="*/ 494985 w 494985"/>
                    <a:gd name="connsiteY4" fmla="*/ 1006985 h 1120138"/>
                    <a:gd name="connsiteX5" fmla="*/ 466484 w 494985"/>
                    <a:gd name="connsiteY5" fmla="*/ 1035486 h 1120138"/>
                    <a:gd name="connsiteX6" fmla="*/ 364775 w 494985"/>
                    <a:gd name="connsiteY6" fmla="*/ 1062739 h 1120138"/>
                    <a:gd name="connsiteX7" fmla="*/ 326675 w 494985"/>
                    <a:gd name="connsiteY7" fmla="*/ 1119889 h 1120138"/>
                    <a:gd name="connsiteX8" fmla="*/ 202850 w 494985"/>
                    <a:gd name="connsiteY8" fmla="*/ 1100839 h 1120138"/>
                    <a:gd name="connsiteX9" fmla="*/ 28501 w 494985"/>
                    <a:gd name="connsiteY9" fmla="*/ 1035486 h 1120138"/>
                    <a:gd name="connsiteX10" fmla="*/ 0 w 494985"/>
                    <a:gd name="connsiteY10" fmla="*/ 1006985 h 1120138"/>
                    <a:gd name="connsiteX11" fmla="*/ 0 w 494985"/>
                    <a:gd name="connsiteY11" fmla="*/ 28501 h 1120138"/>
                    <a:gd name="connsiteX0" fmla="*/ 0 w 494985"/>
                    <a:gd name="connsiteY0" fmla="*/ 28501 h 1126828"/>
                    <a:gd name="connsiteX1" fmla="*/ 28501 w 494985"/>
                    <a:gd name="connsiteY1" fmla="*/ 0 h 1126828"/>
                    <a:gd name="connsiteX2" fmla="*/ 466484 w 494985"/>
                    <a:gd name="connsiteY2" fmla="*/ 0 h 1126828"/>
                    <a:gd name="connsiteX3" fmla="*/ 494985 w 494985"/>
                    <a:gd name="connsiteY3" fmla="*/ 28501 h 1126828"/>
                    <a:gd name="connsiteX4" fmla="*/ 494985 w 494985"/>
                    <a:gd name="connsiteY4" fmla="*/ 1006985 h 1126828"/>
                    <a:gd name="connsiteX5" fmla="*/ 466484 w 494985"/>
                    <a:gd name="connsiteY5" fmla="*/ 1035486 h 1126828"/>
                    <a:gd name="connsiteX6" fmla="*/ 364775 w 494985"/>
                    <a:gd name="connsiteY6" fmla="*/ 1062739 h 1126828"/>
                    <a:gd name="connsiteX7" fmla="*/ 326675 w 494985"/>
                    <a:gd name="connsiteY7" fmla="*/ 1119889 h 1126828"/>
                    <a:gd name="connsiteX8" fmla="*/ 212375 w 494985"/>
                    <a:gd name="connsiteY8" fmla="*/ 1124651 h 1126828"/>
                    <a:gd name="connsiteX9" fmla="*/ 28501 w 494985"/>
                    <a:gd name="connsiteY9" fmla="*/ 1035486 h 1126828"/>
                    <a:gd name="connsiteX10" fmla="*/ 0 w 494985"/>
                    <a:gd name="connsiteY10" fmla="*/ 1006985 h 1126828"/>
                    <a:gd name="connsiteX11" fmla="*/ 0 w 494985"/>
                    <a:gd name="connsiteY11" fmla="*/ 28501 h 1126828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45700 w 494985"/>
                    <a:gd name="connsiteY9" fmla="*/ 1038927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45700 w 494985"/>
                    <a:gd name="connsiteY9" fmla="*/ 1038927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50463 w 494985"/>
                    <a:gd name="connsiteY9" fmla="*/ 1053215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50463 w 494985"/>
                    <a:gd name="connsiteY9" fmla="*/ 1053215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19930"/>
                    <a:gd name="connsiteX1" fmla="*/ 28501 w 494985"/>
                    <a:gd name="connsiteY1" fmla="*/ 0 h 1119930"/>
                    <a:gd name="connsiteX2" fmla="*/ 466484 w 494985"/>
                    <a:gd name="connsiteY2" fmla="*/ 0 h 1119930"/>
                    <a:gd name="connsiteX3" fmla="*/ 494985 w 494985"/>
                    <a:gd name="connsiteY3" fmla="*/ 28501 h 1119930"/>
                    <a:gd name="connsiteX4" fmla="*/ 494985 w 494985"/>
                    <a:gd name="connsiteY4" fmla="*/ 1006985 h 1119930"/>
                    <a:gd name="connsiteX5" fmla="*/ 466484 w 494985"/>
                    <a:gd name="connsiteY5" fmla="*/ 1035486 h 1119930"/>
                    <a:gd name="connsiteX6" fmla="*/ 364775 w 494985"/>
                    <a:gd name="connsiteY6" fmla="*/ 1062739 h 1119930"/>
                    <a:gd name="connsiteX7" fmla="*/ 326675 w 494985"/>
                    <a:gd name="connsiteY7" fmla="*/ 1119889 h 1119930"/>
                    <a:gd name="connsiteX8" fmla="*/ 150463 w 494985"/>
                    <a:gd name="connsiteY8" fmla="*/ 1053215 h 1119930"/>
                    <a:gd name="connsiteX9" fmla="*/ 28501 w 494985"/>
                    <a:gd name="connsiteY9" fmla="*/ 1035486 h 1119930"/>
                    <a:gd name="connsiteX10" fmla="*/ 0 w 494985"/>
                    <a:gd name="connsiteY10" fmla="*/ 1006985 h 1119930"/>
                    <a:gd name="connsiteX11" fmla="*/ 0 w 494985"/>
                    <a:gd name="connsiteY11" fmla="*/ 28501 h 1119930"/>
                    <a:gd name="connsiteX0" fmla="*/ 0 w 494985"/>
                    <a:gd name="connsiteY0" fmla="*/ 28501 h 1120193"/>
                    <a:gd name="connsiteX1" fmla="*/ 28501 w 494985"/>
                    <a:gd name="connsiteY1" fmla="*/ 0 h 1120193"/>
                    <a:gd name="connsiteX2" fmla="*/ 466484 w 494985"/>
                    <a:gd name="connsiteY2" fmla="*/ 0 h 1120193"/>
                    <a:gd name="connsiteX3" fmla="*/ 494985 w 494985"/>
                    <a:gd name="connsiteY3" fmla="*/ 28501 h 1120193"/>
                    <a:gd name="connsiteX4" fmla="*/ 494985 w 494985"/>
                    <a:gd name="connsiteY4" fmla="*/ 1006985 h 1120193"/>
                    <a:gd name="connsiteX5" fmla="*/ 466484 w 494985"/>
                    <a:gd name="connsiteY5" fmla="*/ 1035486 h 1120193"/>
                    <a:gd name="connsiteX6" fmla="*/ 364775 w 494985"/>
                    <a:gd name="connsiteY6" fmla="*/ 1062739 h 1120193"/>
                    <a:gd name="connsiteX7" fmla="*/ 326675 w 494985"/>
                    <a:gd name="connsiteY7" fmla="*/ 1119889 h 1120193"/>
                    <a:gd name="connsiteX8" fmla="*/ 28501 w 494985"/>
                    <a:gd name="connsiteY8" fmla="*/ 1035486 h 1120193"/>
                    <a:gd name="connsiteX9" fmla="*/ 0 w 494985"/>
                    <a:gd name="connsiteY9" fmla="*/ 1006985 h 1120193"/>
                    <a:gd name="connsiteX10" fmla="*/ 0 w 494985"/>
                    <a:gd name="connsiteY10" fmla="*/ 28501 h 1120193"/>
                    <a:gd name="connsiteX0" fmla="*/ 0 w 494985"/>
                    <a:gd name="connsiteY0" fmla="*/ 28501 h 1062739"/>
                    <a:gd name="connsiteX1" fmla="*/ 28501 w 494985"/>
                    <a:gd name="connsiteY1" fmla="*/ 0 h 1062739"/>
                    <a:gd name="connsiteX2" fmla="*/ 466484 w 494985"/>
                    <a:gd name="connsiteY2" fmla="*/ 0 h 1062739"/>
                    <a:gd name="connsiteX3" fmla="*/ 494985 w 494985"/>
                    <a:gd name="connsiteY3" fmla="*/ 28501 h 1062739"/>
                    <a:gd name="connsiteX4" fmla="*/ 494985 w 494985"/>
                    <a:gd name="connsiteY4" fmla="*/ 1006985 h 1062739"/>
                    <a:gd name="connsiteX5" fmla="*/ 466484 w 494985"/>
                    <a:gd name="connsiteY5" fmla="*/ 1035486 h 1062739"/>
                    <a:gd name="connsiteX6" fmla="*/ 364775 w 494985"/>
                    <a:gd name="connsiteY6" fmla="*/ 1062739 h 1062739"/>
                    <a:gd name="connsiteX7" fmla="*/ 28501 w 494985"/>
                    <a:gd name="connsiteY7" fmla="*/ 1035486 h 1062739"/>
                    <a:gd name="connsiteX8" fmla="*/ 0 w 494985"/>
                    <a:gd name="connsiteY8" fmla="*/ 1006985 h 1062739"/>
                    <a:gd name="connsiteX9" fmla="*/ 0 w 494985"/>
                    <a:gd name="connsiteY9" fmla="*/ 28501 h 1062739"/>
                    <a:gd name="connsiteX0" fmla="*/ 0 w 494985"/>
                    <a:gd name="connsiteY0" fmla="*/ 28501 h 1035486"/>
                    <a:gd name="connsiteX1" fmla="*/ 28501 w 494985"/>
                    <a:gd name="connsiteY1" fmla="*/ 0 h 1035486"/>
                    <a:gd name="connsiteX2" fmla="*/ 466484 w 494985"/>
                    <a:gd name="connsiteY2" fmla="*/ 0 h 1035486"/>
                    <a:gd name="connsiteX3" fmla="*/ 494985 w 494985"/>
                    <a:gd name="connsiteY3" fmla="*/ 28501 h 1035486"/>
                    <a:gd name="connsiteX4" fmla="*/ 494985 w 494985"/>
                    <a:gd name="connsiteY4" fmla="*/ 1006985 h 1035486"/>
                    <a:gd name="connsiteX5" fmla="*/ 466484 w 494985"/>
                    <a:gd name="connsiteY5" fmla="*/ 1035486 h 1035486"/>
                    <a:gd name="connsiteX6" fmla="*/ 28501 w 494985"/>
                    <a:gd name="connsiteY6" fmla="*/ 1035486 h 1035486"/>
                    <a:gd name="connsiteX7" fmla="*/ 0 w 494985"/>
                    <a:gd name="connsiteY7" fmla="*/ 1006985 h 1035486"/>
                    <a:gd name="connsiteX8" fmla="*/ 0 w 494985"/>
                    <a:gd name="connsiteY8" fmla="*/ 28501 h 1035486"/>
                    <a:gd name="connsiteX0" fmla="*/ 0 w 494985"/>
                    <a:gd name="connsiteY0" fmla="*/ 28501 h 1038340"/>
                    <a:gd name="connsiteX1" fmla="*/ 28501 w 494985"/>
                    <a:gd name="connsiteY1" fmla="*/ 0 h 1038340"/>
                    <a:gd name="connsiteX2" fmla="*/ 466484 w 494985"/>
                    <a:gd name="connsiteY2" fmla="*/ 0 h 1038340"/>
                    <a:gd name="connsiteX3" fmla="*/ 494985 w 494985"/>
                    <a:gd name="connsiteY3" fmla="*/ 28501 h 1038340"/>
                    <a:gd name="connsiteX4" fmla="*/ 494985 w 494985"/>
                    <a:gd name="connsiteY4" fmla="*/ 1006985 h 1038340"/>
                    <a:gd name="connsiteX5" fmla="*/ 466484 w 494985"/>
                    <a:gd name="connsiteY5" fmla="*/ 1035486 h 1038340"/>
                    <a:gd name="connsiteX6" fmla="*/ 153637 w 494985"/>
                    <a:gd name="connsiteY6" fmla="*/ 1037339 h 1038340"/>
                    <a:gd name="connsiteX7" fmla="*/ 28501 w 494985"/>
                    <a:gd name="connsiteY7" fmla="*/ 1035486 h 1038340"/>
                    <a:gd name="connsiteX8" fmla="*/ 0 w 494985"/>
                    <a:gd name="connsiteY8" fmla="*/ 1006985 h 1038340"/>
                    <a:gd name="connsiteX9" fmla="*/ 0 w 494985"/>
                    <a:gd name="connsiteY9" fmla="*/ 28501 h 1038340"/>
                    <a:gd name="connsiteX0" fmla="*/ 0 w 494985"/>
                    <a:gd name="connsiteY0" fmla="*/ 28501 h 1038241"/>
                    <a:gd name="connsiteX1" fmla="*/ 28501 w 494985"/>
                    <a:gd name="connsiteY1" fmla="*/ 0 h 1038241"/>
                    <a:gd name="connsiteX2" fmla="*/ 466484 w 494985"/>
                    <a:gd name="connsiteY2" fmla="*/ 0 h 1038241"/>
                    <a:gd name="connsiteX3" fmla="*/ 494985 w 494985"/>
                    <a:gd name="connsiteY3" fmla="*/ 28501 h 1038241"/>
                    <a:gd name="connsiteX4" fmla="*/ 494985 w 494985"/>
                    <a:gd name="connsiteY4" fmla="*/ 1006985 h 1038241"/>
                    <a:gd name="connsiteX5" fmla="*/ 466484 w 494985"/>
                    <a:gd name="connsiteY5" fmla="*/ 1035486 h 1038241"/>
                    <a:gd name="connsiteX6" fmla="*/ 274287 w 494985"/>
                    <a:gd name="connsiteY6" fmla="*/ 1037339 h 1038241"/>
                    <a:gd name="connsiteX7" fmla="*/ 153637 w 494985"/>
                    <a:gd name="connsiteY7" fmla="*/ 1037339 h 1038241"/>
                    <a:gd name="connsiteX8" fmla="*/ 28501 w 494985"/>
                    <a:gd name="connsiteY8" fmla="*/ 1035486 h 1038241"/>
                    <a:gd name="connsiteX9" fmla="*/ 0 w 494985"/>
                    <a:gd name="connsiteY9" fmla="*/ 1006985 h 1038241"/>
                    <a:gd name="connsiteX10" fmla="*/ 0 w 494985"/>
                    <a:gd name="connsiteY10" fmla="*/ 28501 h 1038241"/>
                    <a:gd name="connsiteX0" fmla="*/ 0 w 494985"/>
                    <a:gd name="connsiteY0" fmla="*/ 28501 h 1038241"/>
                    <a:gd name="connsiteX1" fmla="*/ 28501 w 494985"/>
                    <a:gd name="connsiteY1" fmla="*/ 0 h 1038241"/>
                    <a:gd name="connsiteX2" fmla="*/ 466484 w 494985"/>
                    <a:gd name="connsiteY2" fmla="*/ 0 h 1038241"/>
                    <a:gd name="connsiteX3" fmla="*/ 494985 w 494985"/>
                    <a:gd name="connsiteY3" fmla="*/ 28501 h 1038241"/>
                    <a:gd name="connsiteX4" fmla="*/ 494985 w 494985"/>
                    <a:gd name="connsiteY4" fmla="*/ 1006985 h 1038241"/>
                    <a:gd name="connsiteX5" fmla="*/ 466484 w 494985"/>
                    <a:gd name="connsiteY5" fmla="*/ 1035486 h 1038241"/>
                    <a:gd name="connsiteX6" fmla="*/ 369537 w 494985"/>
                    <a:gd name="connsiteY6" fmla="*/ 1030990 h 1038241"/>
                    <a:gd name="connsiteX7" fmla="*/ 274287 w 494985"/>
                    <a:gd name="connsiteY7" fmla="*/ 1037339 h 1038241"/>
                    <a:gd name="connsiteX8" fmla="*/ 153637 w 494985"/>
                    <a:gd name="connsiteY8" fmla="*/ 1037339 h 1038241"/>
                    <a:gd name="connsiteX9" fmla="*/ 28501 w 494985"/>
                    <a:gd name="connsiteY9" fmla="*/ 1035486 h 1038241"/>
                    <a:gd name="connsiteX10" fmla="*/ 0 w 494985"/>
                    <a:gd name="connsiteY10" fmla="*/ 1006985 h 1038241"/>
                    <a:gd name="connsiteX11" fmla="*/ 0 w 494985"/>
                    <a:gd name="connsiteY11" fmla="*/ 28501 h 1038241"/>
                    <a:gd name="connsiteX0" fmla="*/ 0 w 494985"/>
                    <a:gd name="connsiteY0" fmla="*/ 28501 h 1107189"/>
                    <a:gd name="connsiteX1" fmla="*/ 28501 w 494985"/>
                    <a:gd name="connsiteY1" fmla="*/ 0 h 1107189"/>
                    <a:gd name="connsiteX2" fmla="*/ 466484 w 494985"/>
                    <a:gd name="connsiteY2" fmla="*/ 0 h 1107189"/>
                    <a:gd name="connsiteX3" fmla="*/ 494985 w 494985"/>
                    <a:gd name="connsiteY3" fmla="*/ 28501 h 1107189"/>
                    <a:gd name="connsiteX4" fmla="*/ 494985 w 494985"/>
                    <a:gd name="connsiteY4" fmla="*/ 1006985 h 1107189"/>
                    <a:gd name="connsiteX5" fmla="*/ 466484 w 494985"/>
                    <a:gd name="connsiteY5" fmla="*/ 1035486 h 1107189"/>
                    <a:gd name="connsiteX6" fmla="*/ 369537 w 494985"/>
                    <a:gd name="connsiteY6" fmla="*/ 1030990 h 1107189"/>
                    <a:gd name="connsiteX7" fmla="*/ 274287 w 494985"/>
                    <a:gd name="connsiteY7" fmla="*/ 1037339 h 1107189"/>
                    <a:gd name="connsiteX8" fmla="*/ 159987 w 494985"/>
                    <a:gd name="connsiteY8" fmla="*/ 1107189 h 1107189"/>
                    <a:gd name="connsiteX9" fmla="*/ 28501 w 494985"/>
                    <a:gd name="connsiteY9" fmla="*/ 1035486 h 1107189"/>
                    <a:gd name="connsiteX10" fmla="*/ 0 w 494985"/>
                    <a:gd name="connsiteY10" fmla="*/ 1006985 h 1107189"/>
                    <a:gd name="connsiteX11" fmla="*/ 0 w 494985"/>
                    <a:gd name="connsiteY11" fmla="*/ 28501 h 1107189"/>
                    <a:gd name="connsiteX0" fmla="*/ 0 w 494985"/>
                    <a:gd name="connsiteY0" fmla="*/ 28501 h 1107189"/>
                    <a:gd name="connsiteX1" fmla="*/ 28501 w 494985"/>
                    <a:gd name="connsiteY1" fmla="*/ 0 h 1107189"/>
                    <a:gd name="connsiteX2" fmla="*/ 466484 w 494985"/>
                    <a:gd name="connsiteY2" fmla="*/ 0 h 1107189"/>
                    <a:gd name="connsiteX3" fmla="*/ 494985 w 494985"/>
                    <a:gd name="connsiteY3" fmla="*/ 28501 h 1107189"/>
                    <a:gd name="connsiteX4" fmla="*/ 494985 w 494985"/>
                    <a:gd name="connsiteY4" fmla="*/ 1006985 h 1107189"/>
                    <a:gd name="connsiteX5" fmla="*/ 466484 w 494985"/>
                    <a:gd name="connsiteY5" fmla="*/ 1035486 h 1107189"/>
                    <a:gd name="connsiteX6" fmla="*/ 369537 w 494985"/>
                    <a:gd name="connsiteY6" fmla="*/ 1030990 h 1107189"/>
                    <a:gd name="connsiteX7" fmla="*/ 274287 w 494985"/>
                    <a:gd name="connsiteY7" fmla="*/ 1100839 h 1107189"/>
                    <a:gd name="connsiteX8" fmla="*/ 159987 w 494985"/>
                    <a:gd name="connsiteY8" fmla="*/ 1107189 h 1107189"/>
                    <a:gd name="connsiteX9" fmla="*/ 28501 w 494985"/>
                    <a:gd name="connsiteY9" fmla="*/ 1035486 h 1107189"/>
                    <a:gd name="connsiteX10" fmla="*/ 0 w 494985"/>
                    <a:gd name="connsiteY10" fmla="*/ 1006985 h 1107189"/>
                    <a:gd name="connsiteX11" fmla="*/ 0 w 494985"/>
                    <a:gd name="connsiteY11" fmla="*/ 28501 h 110718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57605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50461 w 494985"/>
                    <a:gd name="connsiteY8" fmla="*/ 1040514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1980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1980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57"/>
                    <a:gd name="connsiteX1" fmla="*/ 28501 w 494985"/>
                    <a:gd name="connsiteY1" fmla="*/ 0 h 1100857"/>
                    <a:gd name="connsiteX2" fmla="*/ 466484 w 494985"/>
                    <a:gd name="connsiteY2" fmla="*/ 0 h 1100857"/>
                    <a:gd name="connsiteX3" fmla="*/ 494985 w 494985"/>
                    <a:gd name="connsiteY3" fmla="*/ 28501 h 1100857"/>
                    <a:gd name="connsiteX4" fmla="*/ 494985 w 494985"/>
                    <a:gd name="connsiteY4" fmla="*/ 1006985 h 1100857"/>
                    <a:gd name="connsiteX5" fmla="*/ 466484 w 494985"/>
                    <a:gd name="connsiteY5" fmla="*/ 1035486 h 1100857"/>
                    <a:gd name="connsiteX6" fmla="*/ 369537 w 494985"/>
                    <a:gd name="connsiteY6" fmla="*/ 1030990 h 1100857"/>
                    <a:gd name="connsiteX7" fmla="*/ 198087 w 494985"/>
                    <a:gd name="connsiteY7" fmla="*/ 1100839 h 1100857"/>
                    <a:gd name="connsiteX8" fmla="*/ 148080 w 494985"/>
                    <a:gd name="connsiteY8" fmla="*/ 1033370 h 1100857"/>
                    <a:gd name="connsiteX9" fmla="*/ 28501 w 494985"/>
                    <a:gd name="connsiteY9" fmla="*/ 1035486 h 1100857"/>
                    <a:gd name="connsiteX10" fmla="*/ 0 w 494985"/>
                    <a:gd name="connsiteY10" fmla="*/ 1006985 h 1100857"/>
                    <a:gd name="connsiteX11" fmla="*/ 0 w 494985"/>
                    <a:gd name="connsiteY11" fmla="*/ 28501 h 1100857"/>
                    <a:gd name="connsiteX0" fmla="*/ 0 w 494985"/>
                    <a:gd name="connsiteY0" fmla="*/ 28501 h 1101187"/>
                    <a:gd name="connsiteX1" fmla="*/ 28501 w 494985"/>
                    <a:gd name="connsiteY1" fmla="*/ 0 h 1101187"/>
                    <a:gd name="connsiteX2" fmla="*/ 466484 w 494985"/>
                    <a:gd name="connsiteY2" fmla="*/ 0 h 1101187"/>
                    <a:gd name="connsiteX3" fmla="*/ 494985 w 494985"/>
                    <a:gd name="connsiteY3" fmla="*/ 28501 h 1101187"/>
                    <a:gd name="connsiteX4" fmla="*/ 494985 w 494985"/>
                    <a:gd name="connsiteY4" fmla="*/ 1006985 h 1101187"/>
                    <a:gd name="connsiteX5" fmla="*/ 466484 w 494985"/>
                    <a:gd name="connsiteY5" fmla="*/ 1035486 h 1101187"/>
                    <a:gd name="connsiteX6" fmla="*/ 369537 w 494985"/>
                    <a:gd name="connsiteY6" fmla="*/ 1030990 h 1101187"/>
                    <a:gd name="connsiteX7" fmla="*/ 198087 w 494985"/>
                    <a:gd name="connsiteY7" fmla="*/ 1100839 h 1101187"/>
                    <a:gd name="connsiteX8" fmla="*/ 148080 w 494985"/>
                    <a:gd name="connsiteY8" fmla="*/ 1033370 h 1101187"/>
                    <a:gd name="connsiteX9" fmla="*/ 28501 w 494985"/>
                    <a:gd name="connsiteY9" fmla="*/ 1035486 h 1101187"/>
                    <a:gd name="connsiteX10" fmla="*/ 0 w 494985"/>
                    <a:gd name="connsiteY10" fmla="*/ 1006985 h 1101187"/>
                    <a:gd name="connsiteX11" fmla="*/ 0 w 494985"/>
                    <a:gd name="connsiteY11" fmla="*/ 28501 h 1101187"/>
                    <a:gd name="connsiteX0" fmla="*/ 0 w 494985"/>
                    <a:gd name="connsiteY0" fmla="*/ 28501 h 1101096"/>
                    <a:gd name="connsiteX1" fmla="*/ 28501 w 494985"/>
                    <a:gd name="connsiteY1" fmla="*/ 0 h 1101096"/>
                    <a:gd name="connsiteX2" fmla="*/ 466484 w 494985"/>
                    <a:gd name="connsiteY2" fmla="*/ 0 h 1101096"/>
                    <a:gd name="connsiteX3" fmla="*/ 494985 w 494985"/>
                    <a:gd name="connsiteY3" fmla="*/ 28501 h 1101096"/>
                    <a:gd name="connsiteX4" fmla="*/ 494985 w 494985"/>
                    <a:gd name="connsiteY4" fmla="*/ 1006985 h 1101096"/>
                    <a:gd name="connsiteX5" fmla="*/ 466484 w 494985"/>
                    <a:gd name="connsiteY5" fmla="*/ 1035486 h 1101096"/>
                    <a:gd name="connsiteX6" fmla="*/ 369537 w 494985"/>
                    <a:gd name="connsiteY6" fmla="*/ 1030990 h 1101096"/>
                    <a:gd name="connsiteX7" fmla="*/ 290956 w 494985"/>
                    <a:gd name="connsiteY7" fmla="*/ 1055596 h 1101096"/>
                    <a:gd name="connsiteX8" fmla="*/ 198087 w 494985"/>
                    <a:gd name="connsiteY8" fmla="*/ 1100839 h 1101096"/>
                    <a:gd name="connsiteX9" fmla="*/ 148080 w 494985"/>
                    <a:gd name="connsiteY9" fmla="*/ 1033370 h 1101096"/>
                    <a:gd name="connsiteX10" fmla="*/ 28501 w 494985"/>
                    <a:gd name="connsiteY10" fmla="*/ 1035486 h 1101096"/>
                    <a:gd name="connsiteX11" fmla="*/ 0 w 494985"/>
                    <a:gd name="connsiteY11" fmla="*/ 1006985 h 1101096"/>
                    <a:gd name="connsiteX12" fmla="*/ 0 w 494985"/>
                    <a:gd name="connsiteY12" fmla="*/ 28501 h 1101096"/>
                    <a:gd name="connsiteX0" fmla="*/ 0 w 494985"/>
                    <a:gd name="connsiteY0" fmla="*/ 28501 h 1105462"/>
                    <a:gd name="connsiteX1" fmla="*/ 28501 w 494985"/>
                    <a:gd name="connsiteY1" fmla="*/ 0 h 1105462"/>
                    <a:gd name="connsiteX2" fmla="*/ 466484 w 494985"/>
                    <a:gd name="connsiteY2" fmla="*/ 0 h 1105462"/>
                    <a:gd name="connsiteX3" fmla="*/ 494985 w 494985"/>
                    <a:gd name="connsiteY3" fmla="*/ 28501 h 1105462"/>
                    <a:gd name="connsiteX4" fmla="*/ 494985 w 494985"/>
                    <a:gd name="connsiteY4" fmla="*/ 1006985 h 1105462"/>
                    <a:gd name="connsiteX5" fmla="*/ 466484 w 494985"/>
                    <a:gd name="connsiteY5" fmla="*/ 1035486 h 1105462"/>
                    <a:gd name="connsiteX6" fmla="*/ 369537 w 494985"/>
                    <a:gd name="connsiteY6" fmla="*/ 1030990 h 1105462"/>
                    <a:gd name="connsiteX7" fmla="*/ 305243 w 494985"/>
                    <a:gd name="connsiteY7" fmla="*/ 1098458 h 1105462"/>
                    <a:gd name="connsiteX8" fmla="*/ 198087 w 494985"/>
                    <a:gd name="connsiteY8" fmla="*/ 1100839 h 1105462"/>
                    <a:gd name="connsiteX9" fmla="*/ 148080 w 494985"/>
                    <a:gd name="connsiteY9" fmla="*/ 1033370 h 1105462"/>
                    <a:gd name="connsiteX10" fmla="*/ 28501 w 494985"/>
                    <a:gd name="connsiteY10" fmla="*/ 1035486 h 1105462"/>
                    <a:gd name="connsiteX11" fmla="*/ 0 w 494985"/>
                    <a:gd name="connsiteY11" fmla="*/ 1006985 h 1105462"/>
                    <a:gd name="connsiteX12" fmla="*/ 0 w 494985"/>
                    <a:gd name="connsiteY12" fmla="*/ 28501 h 1105462"/>
                    <a:gd name="connsiteX0" fmla="*/ 0 w 494985"/>
                    <a:gd name="connsiteY0" fmla="*/ 28501 h 1105462"/>
                    <a:gd name="connsiteX1" fmla="*/ 28501 w 494985"/>
                    <a:gd name="connsiteY1" fmla="*/ 0 h 1105462"/>
                    <a:gd name="connsiteX2" fmla="*/ 466484 w 494985"/>
                    <a:gd name="connsiteY2" fmla="*/ 0 h 1105462"/>
                    <a:gd name="connsiteX3" fmla="*/ 494985 w 494985"/>
                    <a:gd name="connsiteY3" fmla="*/ 28501 h 1105462"/>
                    <a:gd name="connsiteX4" fmla="*/ 494985 w 494985"/>
                    <a:gd name="connsiteY4" fmla="*/ 1006985 h 1105462"/>
                    <a:gd name="connsiteX5" fmla="*/ 466484 w 494985"/>
                    <a:gd name="connsiteY5" fmla="*/ 1035486 h 1105462"/>
                    <a:gd name="connsiteX6" fmla="*/ 369537 w 494985"/>
                    <a:gd name="connsiteY6" fmla="*/ 1030990 h 1105462"/>
                    <a:gd name="connsiteX7" fmla="*/ 305243 w 494985"/>
                    <a:gd name="connsiteY7" fmla="*/ 1098458 h 1105462"/>
                    <a:gd name="connsiteX8" fmla="*/ 198087 w 494985"/>
                    <a:gd name="connsiteY8" fmla="*/ 1100839 h 1105462"/>
                    <a:gd name="connsiteX9" fmla="*/ 148080 w 494985"/>
                    <a:gd name="connsiteY9" fmla="*/ 1033370 h 1105462"/>
                    <a:gd name="connsiteX10" fmla="*/ 28501 w 494985"/>
                    <a:gd name="connsiteY10" fmla="*/ 1035486 h 1105462"/>
                    <a:gd name="connsiteX11" fmla="*/ 0 w 494985"/>
                    <a:gd name="connsiteY11" fmla="*/ 1006985 h 1105462"/>
                    <a:gd name="connsiteX12" fmla="*/ 0 w 494985"/>
                    <a:gd name="connsiteY12" fmla="*/ 28501 h 110546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48080 w 494985"/>
                    <a:gd name="connsiteY9" fmla="*/ 1033370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48080 w 494985"/>
                    <a:gd name="connsiteY9" fmla="*/ 1033370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71918 w 494985"/>
                    <a:gd name="connsiteY6" fmla="*/ 1041471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71918 w 494985"/>
                    <a:gd name="connsiteY6" fmla="*/ 1041471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71918 w 494985"/>
                    <a:gd name="connsiteY6" fmla="*/ 1041471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6321"/>
                    <a:gd name="connsiteX1" fmla="*/ 28501 w 494985"/>
                    <a:gd name="connsiteY1" fmla="*/ 0 h 1106321"/>
                    <a:gd name="connsiteX2" fmla="*/ 466484 w 494985"/>
                    <a:gd name="connsiteY2" fmla="*/ 0 h 1106321"/>
                    <a:gd name="connsiteX3" fmla="*/ 494985 w 494985"/>
                    <a:gd name="connsiteY3" fmla="*/ 28501 h 1106321"/>
                    <a:gd name="connsiteX4" fmla="*/ 494985 w 494985"/>
                    <a:gd name="connsiteY4" fmla="*/ 1006985 h 1106321"/>
                    <a:gd name="connsiteX5" fmla="*/ 466484 w 494985"/>
                    <a:gd name="connsiteY5" fmla="*/ 1035486 h 1106321"/>
                    <a:gd name="connsiteX6" fmla="*/ 371918 w 494985"/>
                    <a:gd name="connsiteY6" fmla="*/ 1041471 h 1106321"/>
                    <a:gd name="connsiteX7" fmla="*/ 305243 w 494985"/>
                    <a:gd name="connsiteY7" fmla="*/ 1106317 h 1106321"/>
                    <a:gd name="connsiteX8" fmla="*/ 198087 w 494985"/>
                    <a:gd name="connsiteY8" fmla="*/ 1100839 h 1106321"/>
                    <a:gd name="connsiteX9" fmla="*/ 150462 w 494985"/>
                    <a:gd name="connsiteY9" fmla="*/ 1038611 h 1106321"/>
                    <a:gd name="connsiteX10" fmla="*/ 28501 w 494985"/>
                    <a:gd name="connsiteY10" fmla="*/ 1035486 h 1106321"/>
                    <a:gd name="connsiteX11" fmla="*/ 0 w 494985"/>
                    <a:gd name="connsiteY11" fmla="*/ 1006985 h 1106321"/>
                    <a:gd name="connsiteX12" fmla="*/ 0 w 494985"/>
                    <a:gd name="connsiteY12" fmla="*/ 28501 h 1106321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0462 w 494985"/>
                    <a:gd name="connsiteY9" fmla="*/ 103861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79037 w 494985"/>
                    <a:gd name="connsiteY9" fmla="*/ 103599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83799 w 494985"/>
                    <a:gd name="connsiteY9" fmla="*/ 104647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83799 w 494985"/>
                    <a:gd name="connsiteY9" fmla="*/ 104647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83799 w 494985"/>
                    <a:gd name="connsiteY9" fmla="*/ 1046471 h 1102488"/>
                    <a:gd name="connsiteX10" fmla="*/ 153278 w 494985"/>
                    <a:gd name="connsiteY10" fmla="*/ 1037850 h 1102488"/>
                    <a:gd name="connsiteX11" fmla="*/ 28501 w 494985"/>
                    <a:gd name="connsiteY11" fmla="*/ 1035486 h 1102488"/>
                    <a:gd name="connsiteX12" fmla="*/ 0 w 494985"/>
                    <a:gd name="connsiteY12" fmla="*/ 1006985 h 1102488"/>
                    <a:gd name="connsiteX13" fmla="*/ 0 w 494985"/>
                    <a:gd name="connsiteY13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3278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29465 w 494985"/>
                    <a:gd name="connsiteY9" fmla="*/ 104309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29465 w 494985"/>
                    <a:gd name="connsiteY9" fmla="*/ 104309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3654"/>
                    <a:gd name="connsiteX1" fmla="*/ 28501 w 494985"/>
                    <a:gd name="connsiteY1" fmla="*/ 0 h 1103654"/>
                    <a:gd name="connsiteX2" fmla="*/ 466484 w 494985"/>
                    <a:gd name="connsiteY2" fmla="*/ 0 h 1103654"/>
                    <a:gd name="connsiteX3" fmla="*/ 494985 w 494985"/>
                    <a:gd name="connsiteY3" fmla="*/ 28501 h 1103654"/>
                    <a:gd name="connsiteX4" fmla="*/ 494985 w 494985"/>
                    <a:gd name="connsiteY4" fmla="*/ 1006985 h 1103654"/>
                    <a:gd name="connsiteX5" fmla="*/ 466484 w 494985"/>
                    <a:gd name="connsiteY5" fmla="*/ 1035486 h 1103654"/>
                    <a:gd name="connsiteX6" fmla="*/ 371918 w 494985"/>
                    <a:gd name="connsiteY6" fmla="*/ 1041471 h 1103654"/>
                    <a:gd name="connsiteX7" fmla="*/ 307624 w 494985"/>
                    <a:gd name="connsiteY7" fmla="*/ 1101077 h 1103654"/>
                    <a:gd name="connsiteX8" fmla="*/ 198087 w 494985"/>
                    <a:gd name="connsiteY8" fmla="*/ 1100839 h 1103654"/>
                    <a:gd name="connsiteX9" fmla="*/ 136609 w 494985"/>
                    <a:gd name="connsiteY9" fmla="*/ 1037850 h 1103654"/>
                    <a:gd name="connsiteX10" fmla="*/ 28501 w 494985"/>
                    <a:gd name="connsiteY10" fmla="*/ 1035486 h 1103654"/>
                    <a:gd name="connsiteX11" fmla="*/ 0 w 494985"/>
                    <a:gd name="connsiteY11" fmla="*/ 1006985 h 1103654"/>
                    <a:gd name="connsiteX12" fmla="*/ 0 w 494985"/>
                    <a:gd name="connsiteY12" fmla="*/ 28501 h 1103654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6240"/>
                    <a:gd name="connsiteX1" fmla="*/ 28501 w 494985"/>
                    <a:gd name="connsiteY1" fmla="*/ 0 h 1106240"/>
                    <a:gd name="connsiteX2" fmla="*/ 466484 w 494985"/>
                    <a:gd name="connsiteY2" fmla="*/ 0 h 1106240"/>
                    <a:gd name="connsiteX3" fmla="*/ 494985 w 494985"/>
                    <a:gd name="connsiteY3" fmla="*/ 28501 h 1106240"/>
                    <a:gd name="connsiteX4" fmla="*/ 494985 w 494985"/>
                    <a:gd name="connsiteY4" fmla="*/ 1006985 h 1106240"/>
                    <a:gd name="connsiteX5" fmla="*/ 466484 w 494985"/>
                    <a:gd name="connsiteY5" fmla="*/ 1035486 h 1106240"/>
                    <a:gd name="connsiteX6" fmla="*/ 369537 w 494985"/>
                    <a:gd name="connsiteY6" fmla="*/ 1033611 h 1106240"/>
                    <a:gd name="connsiteX7" fmla="*/ 307624 w 494985"/>
                    <a:gd name="connsiteY7" fmla="*/ 1101077 h 1106240"/>
                    <a:gd name="connsiteX8" fmla="*/ 198087 w 494985"/>
                    <a:gd name="connsiteY8" fmla="*/ 1100839 h 1106240"/>
                    <a:gd name="connsiteX9" fmla="*/ 158041 w 494985"/>
                    <a:gd name="connsiteY9" fmla="*/ 1035229 h 1106240"/>
                    <a:gd name="connsiteX10" fmla="*/ 28501 w 494985"/>
                    <a:gd name="connsiteY10" fmla="*/ 1035486 h 1106240"/>
                    <a:gd name="connsiteX11" fmla="*/ 0 w 494985"/>
                    <a:gd name="connsiteY11" fmla="*/ 1006985 h 1106240"/>
                    <a:gd name="connsiteX12" fmla="*/ 0 w 494985"/>
                    <a:gd name="connsiteY12" fmla="*/ 28501 h 1106240"/>
                    <a:gd name="connsiteX0" fmla="*/ 0 w 494985"/>
                    <a:gd name="connsiteY0" fmla="*/ 28501 h 1105659"/>
                    <a:gd name="connsiteX1" fmla="*/ 28501 w 494985"/>
                    <a:gd name="connsiteY1" fmla="*/ 0 h 1105659"/>
                    <a:gd name="connsiteX2" fmla="*/ 466484 w 494985"/>
                    <a:gd name="connsiteY2" fmla="*/ 0 h 1105659"/>
                    <a:gd name="connsiteX3" fmla="*/ 494985 w 494985"/>
                    <a:gd name="connsiteY3" fmla="*/ 28501 h 1105659"/>
                    <a:gd name="connsiteX4" fmla="*/ 494985 w 494985"/>
                    <a:gd name="connsiteY4" fmla="*/ 1006985 h 1105659"/>
                    <a:gd name="connsiteX5" fmla="*/ 466484 w 494985"/>
                    <a:gd name="connsiteY5" fmla="*/ 1035486 h 1105659"/>
                    <a:gd name="connsiteX6" fmla="*/ 371918 w 494985"/>
                    <a:gd name="connsiteY6" fmla="*/ 1041470 h 1105659"/>
                    <a:gd name="connsiteX7" fmla="*/ 307624 w 494985"/>
                    <a:gd name="connsiteY7" fmla="*/ 1101077 h 1105659"/>
                    <a:gd name="connsiteX8" fmla="*/ 198087 w 494985"/>
                    <a:gd name="connsiteY8" fmla="*/ 1100839 h 1105659"/>
                    <a:gd name="connsiteX9" fmla="*/ 158041 w 494985"/>
                    <a:gd name="connsiteY9" fmla="*/ 1035229 h 1105659"/>
                    <a:gd name="connsiteX10" fmla="*/ 28501 w 494985"/>
                    <a:gd name="connsiteY10" fmla="*/ 1035486 h 1105659"/>
                    <a:gd name="connsiteX11" fmla="*/ 0 w 494985"/>
                    <a:gd name="connsiteY11" fmla="*/ 1006985 h 1105659"/>
                    <a:gd name="connsiteX12" fmla="*/ 0 w 494985"/>
                    <a:gd name="connsiteY12" fmla="*/ 28501 h 1105659"/>
                    <a:gd name="connsiteX0" fmla="*/ 0 w 494985"/>
                    <a:gd name="connsiteY0" fmla="*/ 28501 h 1106046"/>
                    <a:gd name="connsiteX1" fmla="*/ 28501 w 494985"/>
                    <a:gd name="connsiteY1" fmla="*/ 0 h 1106046"/>
                    <a:gd name="connsiteX2" fmla="*/ 466484 w 494985"/>
                    <a:gd name="connsiteY2" fmla="*/ 0 h 1106046"/>
                    <a:gd name="connsiteX3" fmla="*/ 494985 w 494985"/>
                    <a:gd name="connsiteY3" fmla="*/ 28501 h 1106046"/>
                    <a:gd name="connsiteX4" fmla="*/ 494985 w 494985"/>
                    <a:gd name="connsiteY4" fmla="*/ 1006985 h 1106046"/>
                    <a:gd name="connsiteX5" fmla="*/ 466484 w 494985"/>
                    <a:gd name="connsiteY5" fmla="*/ 1035486 h 1106046"/>
                    <a:gd name="connsiteX6" fmla="*/ 364775 w 494985"/>
                    <a:gd name="connsiteY6" fmla="*/ 1036230 h 1106046"/>
                    <a:gd name="connsiteX7" fmla="*/ 307624 w 494985"/>
                    <a:gd name="connsiteY7" fmla="*/ 1101077 h 1106046"/>
                    <a:gd name="connsiteX8" fmla="*/ 198087 w 494985"/>
                    <a:gd name="connsiteY8" fmla="*/ 1100839 h 1106046"/>
                    <a:gd name="connsiteX9" fmla="*/ 158041 w 494985"/>
                    <a:gd name="connsiteY9" fmla="*/ 1035229 h 1106046"/>
                    <a:gd name="connsiteX10" fmla="*/ 28501 w 494985"/>
                    <a:gd name="connsiteY10" fmla="*/ 1035486 h 1106046"/>
                    <a:gd name="connsiteX11" fmla="*/ 0 w 494985"/>
                    <a:gd name="connsiteY11" fmla="*/ 1006985 h 1106046"/>
                    <a:gd name="connsiteX12" fmla="*/ 0 w 494985"/>
                    <a:gd name="connsiteY12" fmla="*/ 28501 h 1106046"/>
                    <a:gd name="connsiteX0" fmla="*/ 0 w 494985"/>
                    <a:gd name="connsiteY0" fmla="*/ 28501 h 1106046"/>
                    <a:gd name="connsiteX1" fmla="*/ 28501 w 494985"/>
                    <a:gd name="connsiteY1" fmla="*/ 0 h 1106046"/>
                    <a:gd name="connsiteX2" fmla="*/ 466484 w 494985"/>
                    <a:gd name="connsiteY2" fmla="*/ 0 h 1106046"/>
                    <a:gd name="connsiteX3" fmla="*/ 494985 w 494985"/>
                    <a:gd name="connsiteY3" fmla="*/ 28501 h 1106046"/>
                    <a:gd name="connsiteX4" fmla="*/ 494985 w 494985"/>
                    <a:gd name="connsiteY4" fmla="*/ 1006985 h 1106046"/>
                    <a:gd name="connsiteX5" fmla="*/ 466484 w 494985"/>
                    <a:gd name="connsiteY5" fmla="*/ 1035486 h 1106046"/>
                    <a:gd name="connsiteX6" fmla="*/ 364775 w 494985"/>
                    <a:gd name="connsiteY6" fmla="*/ 1036230 h 1106046"/>
                    <a:gd name="connsiteX7" fmla="*/ 307624 w 494985"/>
                    <a:gd name="connsiteY7" fmla="*/ 1101077 h 1106046"/>
                    <a:gd name="connsiteX8" fmla="*/ 198087 w 494985"/>
                    <a:gd name="connsiteY8" fmla="*/ 1100839 h 1106046"/>
                    <a:gd name="connsiteX9" fmla="*/ 158041 w 494985"/>
                    <a:gd name="connsiteY9" fmla="*/ 1035229 h 1106046"/>
                    <a:gd name="connsiteX10" fmla="*/ 28501 w 494985"/>
                    <a:gd name="connsiteY10" fmla="*/ 1035486 h 1106046"/>
                    <a:gd name="connsiteX11" fmla="*/ 0 w 494985"/>
                    <a:gd name="connsiteY11" fmla="*/ 1006985 h 1106046"/>
                    <a:gd name="connsiteX12" fmla="*/ 0 w 494985"/>
                    <a:gd name="connsiteY12" fmla="*/ 28501 h 1106046"/>
                    <a:gd name="connsiteX0" fmla="*/ 0 w 494985"/>
                    <a:gd name="connsiteY0" fmla="*/ 28501 h 1104264"/>
                    <a:gd name="connsiteX1" fmla="*/ 28501 w 494985"/>
                    <a:gd name="connsiteY1" fmla="*/ 0 h 1104264"/>
                    <a:gd name="connsiteX2" fmla="*/ 466484 w 494985"/>
                    <a:gd name="connsiteY2" fmla="*/ 0 h 1104264"/>
                    <a:gd name="connsiteX3" fmla="*/ 494985 w 494985"/>
                    <a:gd name="connsiteY3" fmla="*/ 28501 h 1104264"/>
                    <a:gd name="connsiteX4" fmla="*/ 494985 w 494985"/>
                    <a:gd name="connsiteY4" fmla="*/ 1006985 h 1104264"/>
                    <a:gd name="connsiteX5" fmla="*/ 466484 w 494985"/>
                    <a:gd name="connsiteY5" fmla="*/ 1035486 h 1104264"/>
                    <a:gd name="connsiteX6" fmla="*/ 364775 w 494985"/>
                    <a:gd name="connsiteY6" fmla="*/ 1036230 h 1104264"/>
                    <a:gd name="connsiteX7" fmla="*/ 312387 w 494985"/>
                    <a:gd name="connsiteY7" fmla="*/ 1098457 h 1104264"/>
                    <a:gd name="connsiteX8" fmla="*/ 198087 w 494985"/>
                    <a:gd name="connsiteY8" fmla="*/ 1100839 h 1104264"/>
                    <a:gd name="connsiteX9" fmla="*/ 158041 w 494985"/>
                    <a:gd name="connsiteY9" fmla="*/ 1035229 h 1104264"/>
                    <a:gd name="connsiteX10" fmla="*/ 28501 w 494985"/>
                    <a:gd name="connsiteY10" fmla="*/ 1035486 h 1104264"/>
                    <a:gd name="connsiteX11" fmla="*/ 0 w 494985"/>
                    <a:gd name="connsiteY11" fmla="*/ 1006985 h 1104264"/>
                    <a:gd name="connsiteX12" fmla="*/ 0 w 494985"/>
                    <a:gd name="connsiteY12" fmla="*/ 28501 h 1104264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4775 w 494985"/>
                    <a:gd name="connsiteY6" fmla="*/ 1036230 h 1100839"/>
                    <a:gd name="connsiteX7" fmla="*/ 312387 w 494985"/>
                    <a:gd name="connsiteY7" fmla="*/ 1098457 h 1100839"/>
                    <a:gd name="connsiteX8" fmla="*/ 198087 w 494985"/>
                    <a:gd name="connsiteY8" fmla="*/ 1100839 h 1100839"/>
                    <a:gd name="connsiteX9" fmla="*/ 158041 w 494985"/>
                    <a:gd name="connsiteY9" fmla="*/ 1035229 h 1100839"/>
                    <a:gd name="connsiteX10" fmla="*/ 28501 w 494985"/>
                    <a:gd name="connsiteY10" fmla="*/ 1035486 h 1100839"/>
                    <a:gd name="connsiteX11" fmla="*/ 0 w 494985"/>
                    <a:gd name="connsiteY11" fmla="*/ 1006985 h 1100839"/>
                    <a:gd name="connsiteX12" fmla="*/ 0 w 494985"/>
                    <a:gd name="connsiteY12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4775 w 494985"/>
                    <a:gd name="connsiteY6" fmla="*/ 1036230 h 1100839"/>
                    <a:gd name="connsiteX7" fmla="*/ 198087 w 494985"/>
                    <a:gd name="connsiteY7" fmla="*/ 1100839 h 1100839"/>
                    <a:gd name="connsiteX8" fmla="*/ 158041 w 494985"/>
                    <a:gd name="connsiteY8" fmla="*/ 1035229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4775 w 494985"/>
                    <a:gd name="connsiteY6" fmla="*/ 1036230 h 1100839"/>
                    <a:gd name="connsiteX7" fmla="*/ 289009 w 494985"/>
                    <a:gd name="connsiteY7" fmla="*/ 1064051 h 1100839"/>
                    <a:gd name="connsiteX8" fmla="*/ 198087 w 494985"/>
                    <a:gd name="connsiteY8" fmla="*/ 1100839 h 1100839"/>
                    <a:gd name="connsiteX9" fmla="*/ 158041 w 494985"/>
                    <a:gd name="connsiteY9" fmla="*/ 1035229 h 1100839"/>
                    <a:gd name="connsiteX10" fmla="*/ 28501 w 494985"/>
                    <a:gd name="connsiteY10" fmla="*/ 1035486 h 1100839"/>
                    <a:gd name="connsiteX11" fmla="*/ 0 w 494985"/>
                    <a:gd name="connsiteY11" fmla="*/ 1006985 h 1100839"/>
                    <a:gd name="connsiteX12" fmla="*/ 0 w 494985"/>
                    <a:gd name="connsiteY12" fmla="*/ 28501 h 1100839"/>
                    <a:gd name="connsiteX0" fmla="*/ 0 w 494985"/>
                    <a:gd name="connsiteY0" fmla="*/ 28501 h 1103352"/>
                    <a:gd name="connsiteX1" fmla="*/ 28501 w 494985"/>
                    <a:gd name="connsiteY1" fmla="*/ 0 h 1103352"/>
                    <a:gd name="connsiteX2" fmla="*/ 466484 w 494985"/>
                    <a:gd name="connsiteY2" fmla="*/ 0 h 1103352"/>
                    <a:gd name="connsiteX3" fmla="*/ 494985 w 494985"/>
                    <a:gd name="connsiteY3" fmla="*/ 28501 h 1103352"/>
                    <a:gd name="connsiteX4" fmla="*/ 494985 w 494985"/>
                    <a:gd name="connsiteY4" fmla="*/ 1006985 h 1103352"/>
                    <a:gd name="connsiteX5" fmla="*/ 466484 w 494985"/>
                    <a:gd name="connsiteY5" fmla="*/ 1035486 h 1103352"/>
                    <a:gd name="connsiteX6" fmla="*/ 364775 w 494985"/>
                    <a:gd name="connsiteY6" fmla="*/ 1036230 h 1103352"/>
                    <a:gd name="connsiteX7" fmla="*/ 291390 w 494985"/>
                    <a:gd name="connsiteY7" fmla="*/ 1103352 h 1103352"/>
                    <a:gd name="connsiteX8" fmla="*/ 198087 w 494985"/>
                    <a:gd name="connsiteY8" fmla="*/ 1100839 h 1103352"/>
                    <a:gd name="connsiteX9" fmla="*/ 158041 w 494985"/>
                    <a:gd name="connsiteY9" fmla="*/ 1035229 h 1103352"/>
                    <a:gd name="connsiteX10" fmla="*/ 28501 w 494985"/>
                    <a:gd name="connsiteY10" fmla="*/ 1035486 h 1103352"/>
                    <a:gd name="connsiteX11" fmla="*/ 0 w 494985"/>
                    <a:gd name="connsiteY11" fmla="*/ 1006985 h 1103352"/>
                    <a:gd name="connsiteX12" fmla="*/ 0 w 494985"/>
                    <a:gd name="connsiteY12" fmla="*/ 28501 h 1103352"/>
                    <a:gd name="connsiteX0" fmla="*/ 0 w 494985"/>
                    <a:gd name="connsiteY0" fmla="*/ 28501 h 1103352"/>
                    <a:gd name="connsiteX1" fmla="*/ 28501 w 494985"/>
                    <a:gd name="connsiteY1" fmla="*/ 0 h 1103352"/>
                    <a:gd name="connsiteX2" fmla="*/ 466484 w 494985"/>
                    <a:gd name="connsiteY2" fmla="*/ 0 h 1103352"/>
                    <a:gd name="connsiteX3" fmla="*/ 494985 w 494985"/>
                    <a:gd name="connsiteY3" fmla="*/ 28501 h 1103352"/>
                    <a:gd name="connsiteX4" fmla="*/ 494985 w 494985"/>
                    <a:gd name="connsiteY4" fmla="*/ 1006985 h 1103352"/>
                    <a:gd name="connsiteX5" fmla="*/ 466484 w 494985"/>
                    <a:gd name="connsiteY5" fmla="*/ 1035486 h 1103352"/>
                    <a:gd name="connsiteX6" fmla="*/ 352869 w 494985"/>
                    <a:gd name="connsiteY6" fmla="*/ 1036230 h 1103352"/>
                    <a:gd name="connsiteX7" fmla="*/ 291390 w 494985"/>
                    <a:gd name="connsiteY7" fmla="*/ 1103352 h 1103352"/>
                    <a:gd name="connsiteX8" fmla="*/ 198087 w 494985"/>
                    <a:gd name="connsiteY8" fmla="*/ 1100839 h 1103352"/>
                    <a:gd name="connsiteX9" fmla="*/ 158041 w 494985"/>
                    <a:gd name="connsiteY9" fmla="*/ 1035229 h 1103352"/>
                    <a:gd name="connsiteX10" fmla="*/ 28501 w 494985"/>
                    <a:gd name="connsiteY10" fmla="*/ 1035486 h 1103352"/>
                    <a:gd name="connsiteX11" fmla="*/ 0 w 494985"/>
                    <a:gd name="connsiteY11" fmla="*/ 1006985 h 1103352"/>
                    <a:gd name="connsiteX12" fmla="*/ 0 w 494985"/>
                    <a:gd name="connsiteY12" fmla="*/ 28501 h 1103352"/>
                    <a:gd name="connsiteX0" fmla="*/ 0 w 494985"/>
                    <a:gd name="connsiteY0" fmla="*/ 28501 h 1103352"/>
                    <a:gd name="connsiteX1" fmla="*/ 28501 w 494985"/>
                    <a:gd name="connsiteY1" fmla="*/ 0 h 1103352"/>
                    <a:gd name="connsiteX2" fmla="*/ 466484 w 494985"/>
                    <a:gd name="connsiteY2" fmla="*/ 0 h 1103352"/>
                    <a:gd name="connsiteX3" fmla="*/ 494985 w 494985"/>
                    <a:gd name="connsiteY3" fmla="*/ 28501 h 1103352"/>
                    <a:gd name="connsiteX4" fmla="*/ 494985 w 494985"/>
                    <a:gd name="connsiteY4" fmla="*/ 1006985 h 1103352"/>
                    <a:gd name="connsiteX5" fmla="*/ 466484 w 494985"/>
                    <a:gd name="connsiteY5" fmla="*/ 1035486 h 1103352"/>
                    <a:gd name="connsiteX6" fmla="*/ 340962 w 494985"/>
                    <a:gd name="connsiteY6" fmla="*/ 1036230 h 1103352"/>
                    <a:gd name="connsiteX7" fmla="*/ 291390 w 494985"/>
                    <a:gd name="connsiteY7" fmla="*/ 1103352 h 1103352"/>
                    <a:gd name="connsiteX8" fmla="*/ 198087 w 494985"/>
                    <a:gd name="connsiteY8" fmla="*/ 1100839 h 1103352"/>
                    <a:gd name="connsiteX9" fmla="*/ 158041 w 494985"/>
                    <a:gd name="connsiteY9" fmla="*/ 1035229 h 1103352"/>
                    <a:gd name="connsiteX10" fmla="*/ 28501 w 494985"/>
                    <a:gd name="connsiteY10" fmla="*/ 1035486 h 1103352"/>
                    <a:gd name="connsiteX11" fmla="*/ 0 w 494985"/>
                    <a:gd name="connsiteY11" fmla="*/ 1006985 h 1103352"/>
                    <a:gd name="connsiteX12" fmla="*/ 0 w 494985"/>
                    <a:gd name="connsiteY12" fmla="*/ 28501 h 1103352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1390 w 494985"/>
                    <a:gd name="connsiteY7" fmla="*/ 1103352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1390 w 494985"/>
                    <a:gd name="connsiteY7" fmla="*/ 1103352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1390 w 494985"/>
                    <a:gd name="connsiteY7" fmla="*/ 1103352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13832"/>
                    <a:gd name="connsiteX1" fmla="*/ 28501 w 494985"/>
                    <a:gd name="connsiteY1" fmla="*/ 0 h 1113832"/>
                    <a:gd name="connsiteX2" fmla="*/ 466484 w 494985"/>
                    <a:gd name="connsiteY2" fmla="*/ 0 h 1113832"/>
                    <a:gd name="connsiteX3" fmla="*/ 494985 w 494985"/>
                    <a:gd name="connsiteY3" fmla="*/ 28501 h 1113832"/>
                    <a:gd name="connsiteX4" fmla="*/ 494985 w 494985"/>
                    <a:gd name="connsiteY4" fmla="*/ 1006985 h 1113832"/>
                    <a:gd name="connsiteX5" fmla="*/ 466484 w 494985"/>
                    <a:gd name="connsiteY5" fmla="*/ 1035486 h 1113832"/>
                    <a:gd name="connsiteX6" fmla="*/ 340962 w 494985"/>
                    <a:gd name="connsiteY6" fmla="*/ 1036230 h 1113832"/>
                    <a:gd name="connsiteX7" fmla="*/ 293772 w 494985"/>
                    <a:gd name="connsiteY7" fmla="*/ 1113832 h 1113832"/>
                    <a:gd name="connsiteX8" fmla="*/ 200469 w 494985"/>
                    <a:gd name="connsiteY8" fmla="*/ 1108699 h 1113832"/>
                    <a:gd name="connsiteX9" fmla="*/ 158041 w 494985"/>
                    <a:gd name="connsiteY9" fmla="*/ 1035229 h 1113832"/>
                    <a:gd name="connsiteX10" fmla="*/ 28501 w 494985"/>
                    <a:gd name="connsiteY10" fmla="*/ 1035486 h 1113832"/>
                    <a:gd name="connsiteX11" fmla="*/ 0 w 494985"/>
                    <a:gd name="connsiteY11" fmla="*/ 1006985 h 1113832"/>
                    <a:gd name="connsiteX12" fmla="*/ 0 w 494985"/>
                    <a:gd name="connsiteY12" fmla="*/ 28501 h 1113832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305679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94985" h="1108699">
                      <a:moveTo>
                        <a:pt x="0" y="28501"/>
                      </a:moveTo>
                      <a:cubicBezTo>
                        <a:pt x="0" y="12760"/>
                        <a:pt x="12760" y="0"/>
                        <a:pt x="28501" y="0"/>
                      </a:cubicBezTo>
                      <a:lnTo>
                        <a:pt x="466484" y="0"/>
                      </a:lnTo>
                      <a:cubicBezTo>
                        <a:pt x="482225" y="0"/>
                        <a:pt x="494985" y="12760"/>
                        <a:pt x="494985" y="28501"/>
                      </a:cubicBezTo>
                      <a:lnTo>
                        <a:pt x="494985" y="1006985"/>
                      </a:lnTo>
                      <a:cubicBezTo>
                        <a:pt x="494985" y="1022726"/>
                        <a:pt x="482225" y="1035486"/>
                        <a:pt x="466484" y="1035486"/>
                      </a:cubicBezTo>
                      <a:lnTo>
                        <a:pt x="340962" y="1036230"/>
                      </a:lnTo>
                      <a:lnTo>
                        <a:pt x="305679" y="1108591"/>
                      </a:lnTo>
                      <a:lnTo>
                        <a:pt x="186182" y="1108699"/>
                      </a:lnTo>
                      <a:lnTo>
                        <a:pt x="158041" y="1035229"/>
                      </a:lnTo>
                      <a:lnTo>
                        <a:pt x="28501" y="1035486"/>
                      </a:lnTo>
                      <a:cubicBezTo>
                        <a:pt x="12760" y="1035486"/>
                        <a:pt x="0" y="1022726"/>
                        <a:pt x="0" y="1006985"/>
                      </a:cubicBezTo>
                      <a:lnTo>
                        <a:pt x="0" y="28501"/>
                      </a:lnTo>
                      <a:close/>
                    </a:path>
                  </a:pathLst>
                </a:custGeom>
                <a:solidFill>
                  <a:srgbClr val="0078D7"/>
                </a:solidFill>
                <a:ln w="9525" cmpd="sng">
                  <a:solidFill>
                    <a:srgbClr val="107C10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lIns="89630" tIns="89630" rIns="0" rtlCol="0" anchor="t"/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457112">
                    <a:lnSpc>
                      <a:spcPct val="90000"/>
                    </a:lnSpc>
                  </a:pPr>
                  <a:r>
                    <a:rPr lang="en-US" sz="2000" kern="0" dirty="0">
                      <a:gradFill>
                        <a:gsLst>
                          <a:gs pos="2917">
                            <a:schemeClr val="bg1"/>
                          </a:gs>
                          <a:gs pos="100000">
                            <a:schemeClr val="bg1"/>
                          </a:gs>
                        </a:gsLst>
                        <a:lin ang="5400000" scaled="0"/>
                      </a:gra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Spark SQL</a:t>
                  </a:r>
                  <a:endParaRPr lang="en-US" sz="1600" b="1" kern="0" dirty="0">
                    <a:gradFill>
                      <a:gsLst>
                        <a:gs pos="2917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0"/>
                    </a:gradFill>
                    <a:cs typeface="Arial"/>
                  </a:endParaRPr>
                </a:p>
              </p:txBody>
            </p:sp>
            <p:sp>
              <p:nvSpPr>
                <p:cNvPr id="21" name="Rounded Rectangle 37"/>
                <p:cNvSpPr>
                  <a:spLocks/>
                </p:cNvSpPr>
                <p:nvPr/>
              </p:nvSpPr>
              <p:spPr>
                <a:xfrm>
                  <a:off x="1531168" y="3953245"/>
                  <a:ext cx="791858" cy="1243949"/>
                </a:xfrm>
                <a:custGeom>
                  <a:avLst/>
                  <a:gdLst>
                    <a:gd name="connsiteX0" fmla="*/ 0 w 494985"/>
                    <a:gd name="connsiteY0" fmla="*/ 28501 h 1035486"/>
                    <a:gd name="connsiteX1" fmla="*/ 28501 w 494985"/>
                    <a:gd name="connsiteY1" fmla="*/ 0 h 1035486"/>
                    <a:gd name="connsiteX2" fmla="*/ 466484 w 494985"/>
                    <a:gd name="connsiteY2" fmla="*/ 0 h 1035486"/>
                    <a:gd name="connsiteX3" fmla="*/ 494985 w 494985"/>
                    <a:gd name="connsiteY3" fmla="*/ 28501 h 1035486"/>
                    <a:gd name="connsiteX4" fmla="*/ 494985 w 494985"/>
                    <a:gd name="connsiteY4" fmla="*/ 1006985 h 1035486"/>
                    <a:gd name="connsiteX5" fmla="*/ 466484 w 494985"/>
                    <a:gd name="connsiteY5" fmla="*/ 1035486 h 1035486"/>
                    <a:gd name="connsiteX6" fmla="*/ 28501 w 494985"/>
                    <a:gd name="connsiteY6" fmla="*/ 1035486 h 1035486"/>
                    <a:gd name="connsiteX7" fmla="*/ 0 w 494985"/>
                    <a:gd name="connsiteY7" fmla="*/ 1006985 h 1035486"/>
                    <a:gd name="connsiteX8" fmla="*/ 0 w 494985"/>
                    <a:gd name="connsiteY8" fmla="*/ 28501 h 1035486"/>
                    <a:gd name="connsiteX0" fmla="*/ 0 w 494985"/>
                    <a:gd name="connsiteY0" fmla="*/ 28501 h 1100841"/>
                    <a:gd name="connsiteX1" fmla="*/ 28501 w 494985"/>
                    <a:gd name="connsiteY1" fmla="*/ 0 h 1100841"/>
                    <a:gd name="connsiteX2" fmla="*/ 466484 w 494985"/>
                    <a:gd name="connsiteY2" fmla="*/ 0 h 1100841"/>
                    <a:gd name="connsiteX3" fmla="*/ 494985 w 494985"/>
                    <a:gd name="connsiteY3" fmla="*/ 28501 h 1100841"/>
                    <a:gd name="connsiteX4" fmla="*/ 494985 w 494985"/>
                    <a:gd name="connsiteY4" fmla="*/ 1006985 h 1100841"/>
                    <a:gd name="connsiteX5" fmla="*/ 466484 w 494985"/>
                    <a:gd name="connsiteY5" fmla="*/ 1035486 h 1100841"/>
                    <a:gd name="connsiteX6" fmla="*/ 202850 w 494985"/>
                    <a:gd name="connsiteY6" fmla="*/ 1100839 h 1100841"/>
                    <a:gd name="connsiteX7" fmla="*/ 28501 w 494985"/>
                    <a:gd name="connsiteY7" fmla="*/ 1035486 h 1100841"/>
                    <a:gd name="connsiteX8" fmla="*/ 0 w 494985"/>
                    <a:gd name="connsiteY8" fmla="*/ 1006985 h 1100841"/>
                    <a:gd name="connsiteX9" fmla="*/ 0 w 494985"/>
                    <a:gd name="connsiteY9" fmla="*/ 28501 h 1100841"/>
                    <a:gd name="connsiteX0" fmla="*/ 0 w 494985"/>
                    <a:gd name="connsiteY0" fmla="*/ 28501 h 1122703"/>
                    <a:gd name="connsiteX1" fmla="*/ 28501 w 494985"/>
                    <a:gd name="connsiteY1" fmla="*/ 0 h 1122703"/>
                    <a:gd name="connsiteX2" fmla="*/ 466484 w 494985"/>
                    <a:gd name="connsiteY2" fmla="*/ 0 h 1122703"/>
                    <a:gd name="connsiteX3" fmla="*/ 494985 w 494985"/>
                    <a:gd name="connsiteY3" fmla="*/ 28501 h 1122703"/>
                    <a:gd name="connsiteX4" fmla="*/ 494985 w 494985"/>
                    <a:gd name="connsiteY4" fmla="*/ 1006985 h 1122703"/>
                    <a:gd name="connsiteX5" fmla="*/ 466484 w 494985"/>
                    <a:gd name="connsiteY5" fmla="*/ 1035486 h 1122703"/>
                    <a:gd name="connsiteX6" fmla="*/ 326675 w 494985"/>
                    <a:gd name="connsiteY6" fmla="*/ 1119889 h 1122703"/>
                    <a:gd name="connsiteX7" fmla="*/ 202850 w 494985"/>
                    <a:gd name="connsiteY7" fmla="*/ 1100839 h 1122703"/>
                    <a:gd name="connsiteX8" fmla="*/ 28501 w 494985"/>
                    <a:gd name="connsiteY8" fmla="*/ 1035486 h 1122703"/>
                    <a:gd name="connsiteX9" fmla="*/ 0 w 494985"/>
                    <a:gd name="connsiteY9" fmla="*/ 1006985 h 1122703"/>
                    <a:gd name="connsiteX10" fmla="*/ 0 w 494985"/>
                    <a:gd name="connsiteY10" fmla="*/ 28501 h 1122703"/>
                    <a:gd name="connsiteX0" fmla="*/ 0 w 494985"/>
                    <a:gd name="connsiteY0" fmla="*/ 28501 h 1120138"/>
                    <a:gd name="connsiteX1" fmla="*/ 28501 w 494985"/>
                    <a:gd name="connsiteY1" fmla="*/ 0 h 1120138"/>
                    <a:gd name="connsiteX2" fmla="*/ 466484 w 494985"/>
                    <a:gd name="connsiteY2" fmla="*/ 0 h 1120138"/>
                    <a:gd name="connsiteX3" fmla="*/ 494985 w 494985"/>
                    <a:gd name="connsiteY3" fmla="*/ 28501 h 1120138"/>
                    <a:gd name="connsiteX4" fmla="*/ 494985 w 494985"/>
                    <a:gd name="connsiteY4" fmla="*/ 1006985 h 1120138"/>
                    <a:gd name="connsiteX5" fmla="*/ 466484 w 494985"/>
                    <a:gd name="connsiteY5" fmla="*/ 1035486 h 1120138"/>
                    <a:gd name="connsiteX6" fmla="*/ 364775 w 494985"/>
                    <a:gd name="connsiteY6" fmla="*/ 1062739 h 1120138"/>
                    <a:gd name="connsiteX7" fmla="*/ 326675 w 494985"/>
                    <a:gd name="connsiteY7" fmla="*/ 1119889 h 1120138"/>
                    <a:gd name="connsiteX8" fmla="*/ 202850 w 494985"/>
                    <a:gd name="connsiteY8" fmla="*/ 1100839 h 1120138"/>
                    <a:gd name="connsiteX9" fmla="*/ 28501 w 494985"/>
                    <a:gd name="connsiteY9" fmla="*/ 1035486 h 1120138"/>
                    <a:gd name="connsiteX10" fmla="*/ 0 w 494985"/>
                    <a:gd name="connsiteY10" fmla="*/ 1006985 h 1120138"/>
                    <a:gd name="connsiteX11" fmla="*/ 0 w 494985"/>
                    <a:gd name="connsiteY11" fmla="*/ 28501 h 1120138"/>
                    <a:gd name="connsiteX0" fmla="*/ 0 w 494985"/>
                    <a:gd name="connsiteY0" fmla="*/ 28501 h 1126828"/>
                    <a:gd name="connsiteX1" fmla="*/ 28501 w 494985"/>
                    <a:gd name="connsiteY1" fmla="*/ 0 h 1126828"/>
                    <a:gd name="connsiteX2" fmla="*/ 466484 w 494985"/>
                    <a:gd name="connsiteY2" fmla="*/ 0 h 1126828"/>
                    <a:gd name="connsiteX3" fmla="*/ 494985 w 494985"/>
                    <a:gd name="connsiteY3" fmla="*/ 28501 h 1126828"/>
                    <a:gd name="connsiteX4" fmla="*/ 494985 w 494985"/>
                    <a:gd name="connsiteY4" fmla="*/ 1006985 h 1126828"/>
                    <a:gd name="connsiteX5" fmla="*/ 466484 w 494985"/>
                    <a:gd name="connsiteY5" fmla="*/ 1035486 h 1126828"/>
                    <a:gd name="connsiteX6" fmla="*/ 364775 w 494985"/>
                    <a:gd name="connsiteY6" fmla="*/ 1062739 h 1126828"/>
                    <a:gd name="connsiteX7" fmla="*/ 326675 w 494985"/>
                    <a:gd name="connsiteY7" fmla="*/ 1119889 h 1126828"/>
                    <a:gd name="connsiteX8" fmla="*/ 212375 w 494985"/>
                    <a:gd name="connsiteY8" fmla="*/ 1124651 h 1126828"/>
                    <a:gd name="connsiteX9" fmla="*/ 28501 w 494985"/>
                    <a:gd name="connsiteY9" fmla="*/ 1035486 h 1126828"/>
                    <a:gd name="connsiteX10" fmla="*/ 0 w 494985"/>
                    <a:gd name="connsiteY10" fmla="*/ 1006985 h 1126828"/>
                    <a:gd name="connsiteX11" fmla="*/ 0 w 494985"/>
                    <a:gd name="connsiteY11" fmla="*/ 28501 h 1126828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45700 w 494985"/>
                    <a:gd name="connsiteY9" fmla="*/ 1038927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45700 w 494985"/>
                    <a:gd name="connsiteY9" fmla="*/ 1038927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50463 w 494985"/>
                    <a:gd name="connsiteY9" fmla="*/ 1053215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50463 w 494985"/>
                    <a:gd name="connsiteY9" fmla="*/ 1053215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19930"/>
                    <a:gd name="connsiteX1" fmla="*/ 28501 w 494985"/>
                    <a:gd name="connsiteY1" fmla="*/ 0 h 1119930"/>
                    <a:gd name="connsiteX2" fmla="*/ 466484 w 494985"/>
                    <a:gd name="connsiteY2" fmla="*/ 0 h 1119930"/>
                    <a:gd name="connsiteX3" fmla="*/ 494985 w 494985"/>
                    <a:gd name="connsiteY3" fmla="*/ 28501 h 1119930"/>
                    <a:gd name="connsiteX4" fmla="*/ 494985 w 494985"/>
                    <a:gd name="connsiteY4" fmla="*/ 1006985 h 1119930"/>
                    <a:gd name="connsiteX5" fmla="*/ 466484 w 494985"/>
                    <a:gd name="connsiteY5" fmla="*/ 1035486 h 1119930"/>
                    <a:gd name="connsiteX6" fmla="*/ 364775 w 494985"/>
                    <a:gd name="connsiteY6" fmla="*/ 1062739 h 1119930"/>
                    <a:gd name="connsiteX7" fmla="*/ 326675 w 494985"/>
                    <a:gd name="connsiteY7" fmla="*/ 1119889 h 1119930"/>
                    <a:gd name="connsiteX8" fmla="*/ 150463 w 494985"/>
                    <a:gd name="connsiteY8" fmla="*/ 1053215 h 1119930"/>
                    <a:gd name="connsiteX9" fmla="*/ 28501 w 494985"/>
                    <a:gd name="connsiteY9" fmla="*/ 1035486 h 1119930"/>
                    <a:gd name="connsiteX10" fmla="*/ 0 w 494985"/>
                    <a:gd name="connsiteY10" fmla="*/ 1006985 h 1119930"/>
                    <a:gd name="connsiteX11" fmla="*/ 0 w 494985"/>
                    <a:gd name="connsiteY11" fmla="*/ 28501 h 1119930"/>
                    <a:gd name="connsiteX0" fmla="*/ 0 w 494985"/>
                    <a:gd name="connsiteY0" fmla="*/ 28501 h 1120193"/>
                    <a:gd name="connsiteX1" fmla="*/ 28501 w 494985"/>
                    <a:gd name="connsiteY1" fmla="*/ 0 h 1120193"/>
                    <a:gd name="connsiteX2" fmla="*/ 466484 w 494985"/>
                    <a:gd name="connsiteY2" fmla="*/ 0 h 1120193"/>
                    <a:gd name="connsiteX3" fmla="*/ 494985 w 494985"/>
                    <a:gd name="connsiteY3" fmla="*/ 28501 h 1120193"/>
                    <a:gd name="connsiteX4" fmla="*/ 494985 w 494985"/>
                    <a:gd name="connsiteY4" fmla="*/ 1006985 h 1120193"/>
                    <a:gd name="connsiteX5" fmla="*/ 466484 w 494985"/>
                    <a:gd name="connsiteY5" fmla="*/ 1035486 h 1120193"/>
                    <a:gd name="connsiteX6" fmla="*/ 364775 w 494985"/>
                    <a:gd name="connsiteY6" fmla="*/ 1062739 h 1120193"/>
                    <a:gd name="connsiteX7" fmla="*/ 326675 w 494985"/>
                    <a:gd name="connsiteY7" fmla="*/ 1119889 h 1120193"/>
                    <a:gd name="connsiteX8" fmla="*/ 28501 w 494985"/>
                    <a:gd name="connsiteY8" fmla="*/ 1035486 h 1120193"/>
                    <a:gd name="connsiteX9" fmla="*/ 0 w 494985"/>
                    <a:gd name="connsiteY9" fmla="*/ 1006985 h 1120193"/>
                    <a:gd name="connsiteX10" fmla="*/ 0 w 494985"/>
                    <a:gd name="connsiteY10" fmla="*/ 28501 h 1120193"/>
                    <a:gd name="connsiteX0" fmla="*/ 0 w 494985"/>
                    <a:gd name="connsiteY0" fmla="*/ 28501 h 1062739"/>
                    <a:gd name="connsiteX1" fmla="*/ 28501 w 494985"/>
                    <a:gd name="connsiteY1" fmla="*/ 0 h 1062739"/>
                    <a:gd name="connsiteX2" fmla="*/ 466484 w 494985"/>
                    <a:gd name="connsiteY2" fmla="*/ 0 h 1062739"/>
                    <a:gd name="connsiteX3" fmla="*/ 494985 w 494985"/>
                    <a:gd name="connsiteY3" fmla="*/ 28501 h 1062739"/>
                    <a:gd name="connsiteX4" fmla="*/ 494985 w 494985"/>
                    <a:gd name="connsiteY4" fmla="*/ 1006985 h 1062739"/>
                    <a:gd name="connsiteX5" fmla="*/ 466484 w 494985"/>
                    <a:gd name="connsiteY5" fmla="*/ 1035486 h 1062739"/>
                    <a:gd name="connsiteX6" fmla="*/ 364775 w 494985"/>
                    <a:gd name="connsiteY6" fmla="*/ 1062739 h 1062739"/>
                    <a:gd name="connsiteX7" fmla="*/ 28501 w 494985"/>
                    <a:gd name="connsiteY7" fmla="*/ 1035486 h 1062739"/>
                    <a:gd name="connsiteX8" fmla="*/ 0 w 494985"/>
                    <a:gd name="connsiteY8" fmla="*/ 1006985 h 1062739"/>
                    <a:gd name="connsiteX9" fmla="*/ 0 w 494985"/>
                    <a:gd name="connsiteY9" fmla="*/ 28501 h 1062739"/>
                    <a:gd name="connsiteX0" fmla="*/ 0 w 494985"/>
                    <a:gd name="connsiteY0" fmla="*/ 28501 h 1035486"/>
                    <a:gd name="connsiteX1" fmla="*/ 28501 w 494985"/>
                    <a:gd name="connsiteY1" fmla="*/ 0 h 1035486"/>
                    <a:gd name="connsiteX2" fmla="*/ 466484 w 494985"/>
                    <a:gd name="connsiteY2" fmla="*/ 0 h 1035486"/>
                    <a:gd name="connsiteX3" fmla="*/ 494985 w 494985"/>
                    <a:gd name="connsiteY3" fmla="*/ 28501 h 1035486"/>
                    <a:gd name="connsiteX4" fmla="*/ 494985 w 494985"/>
                    <a:gd name="connsiteY4" fmla="*/ 1006985 h 1035486"/>
                    <a:gd name="connsiteX5" fmla="*/ 466484 w 494985"/>
                    <a:gd name="connsiteY5" fmla="*/ 1035486 h 1035486"/>
                    <a:gd name="connsiteX6" fmla="*/ 28501 w 494985"/>
                    <a:gd name="connsiteY6" fmla="*/ 1035486 h 1035486"/>
                    <a:gd name="connsiteX7" fmla="*/ 0 w 494985"/>
                    <a:gd name="connsiteY7" fmla="*/ 1006985 h 1035486"/>
                    <a:gd name="connsiteX8" fmla="*/ 0 w 494985"/>
                    <a:gd name="connsiteY8" fmla="*/ 28501 h 1035486"/>
                    <a:gd name="connsiteX0" fmla="*/ 0 w 494985"/>
                    <a:gd name="connsiteY0" fmla="*/ 28501 h 1038340"/>
                    <a:gd name="connsiteX1" fmla="*/ 28501 w 494985"/>
                    <a:gd name="connsiteY1" fmla="*/ 0 h 1038340"/>
                    <a:gd name="connsiteX2" fmla="*/ 466484 w 494985"/>
                    <a:gd name="connsiteY2" fmla="*/ 0 h 1038340"/>
                    <a:gd name="connsiteX3" fmla="*/ 494985 w 494985"/>
                    <a:gd name="connsiteY3" fmla="*/ 28501 h 1038340"/>
                    <a:gd name="connsiteX4" fmla="*/ 494985 w 494985"/>
                    <a:gd name="connsiteY4" fmla="*/ 1006985 h 1038340"/>
                    <a:gd name="connsiteX5" fmla="*/ 466484 w 494985"/>
                    <a:gd name="connsiteY5" fmla="*/ 1035486 h 1038340"/>
                    <a:gd name="connsiteX6" fmla="*/ 153637 w 494985"/>
                    <a:gd name="connsiteY6" fmla="*/ 1037339 h 1038340"/>
                    <a:gd name="connsiteX7" fmla="*/ 28501 w 494985"/>
                    <a:gd name="connsiteY7" fmla="*/ 1035486 h 1038340"/>
                    <a:gd name="connsiteX8" fmla="*/ 0 w 494985"/>
                    <a:gd name="connsiteY8" fmla="*/ 1006985 h 1038340"/>
                    <a:gd name="connsiteX9" fmla="*/ 0 w 494985"/>
                    <a:gd name="connsiteY9" fmla="*/ 28501 h 1038340"/>
                    <a:gd name="connsiteX0" fmla="*/ 0 w 494985"/>
                    <a:gd name="connsiteY0" fmla="*/ 28501 h 1038241"/>
                    <a:gd name="connsiteX1" fmla="*/ 28501 w 494985"/>
                    <a:gd name="connsiteY1" fmla="*/ 0 h 1038241"/>
                    <a:gd name="connsiteX2" fmla="*/ 466484 w 494985"/>
                    <a:gd name="connsiteY2" fmla="*/ 0 h 1038241"/>
                    <a:gd name="connsiteX3" fmla="*/ 494985 w 494985"/>
                    <a:gd name="connsiteY3" fmla="*/ 28501 h 1038241"/>
                    <a:gd name="connsiteX4" fmla="*/ 494985 w 494985"/>
                    <a:gd name="connsiteY4" fmla="*/ 1006985 h 1038241"/>
                    <a:gd name="connsiteX5" fmla="*/ 466484 w 494985"/>
                    <a:gd name="connsiteY5" fmla="*/ 1035486 h 1038241"/>
                    <a:gd name="connsiteX6" fmla="*/ 274287 w 494985"/>
                    <a:gd name="connsiteY6" fmla="*/ 1037339 h 1038241"/>
                    <a:gd name="connsiteX7" fmla="*/ 153637 w 494985"/>
                    <a:gd name="connsiteY7" fmla="*/ 1037339 h 1038241"/>
                    <a:gd name="connsiteX8" fmla="*/ 28501 w 494985"/>
                    <a:gd name="connsiteY8" fmla="*/ 1035486 h 1038241"/>
                    <a:gd name="connsiteX9" fmla="*/ 0 w 494985"/>
                    <a:gd name="connsiteY9" fmla="*/ 1006985 h 1038241"/>
                    <a:gd name="connsiteX10" fmla="*/ 0 w 494985"/>
                    <a:gd name="connsiteY10" fmla="*/ 28501 h 1038241"/>
                    <a:gd name="connsiteX0" fmla="*/ 0 w 494985"/>
                    <a:gd name="connsiteY0" fmla="*/ 28501 h 1038241"/>
                    <a:gd name="connsiteX1" fmla="*/ 28501 w 494985"/>
                    <a:gd name="connsiteY1" fmla="*/ 0 h 1038241"/>
                    <a:gd name="connsiteX2" fmla="*/ 466484 w 494985"/>
                    <a:gd name="connsiteY2" fmla="*/ 0 h 1038241"/>
                    <a:gd name="connsiteX3" fmla="*/ 494985 w 494985"/>
                    <a:gd name="connsiteY3" fmla="*/ 28501 h 1038241"/>
                    <a:gd name="connsiteX4" fmla="*/ 494985 w 494985"/>
                    <a:gd name="connsiteY4" fmla="*/ 1006985 h 1038241"/>
                    <a:gd name="connsiteX5" fmla="*/ 466484 w 494985"/>
                    <a:gd name="connsiteY5" fmla="*/ 1035486 h 1038241"/>
                    <a:gd name="connsiteX6" fmla="*/ 369537 w 494985"/>
                    <a:gd name="connsiteY6" fmla="*/ 1030990 h 1038241"/>
                    <a:gd name="connsiteX7" fmla="*/ 274287 w 494985"/>
                    <a:gd name="connsiteY7" fmla="*/ 1037339 h 1038241"/>
                    <a:gd name="connsiteX8" fmla="*/ 153637 w 494985"/>
                    <a:gd name="connsiteY8" fmla="*/ 1037339 h 1038241"/>
                    <a:gd name="connsiteX9" fmla="*/ 28501 w 494985"/>
                    <a:gd name="connsiteY9" fmla="*/ 1035486 h 1038241"/>
                    <a:gd name="connsiteX10" fmla="*/ 0 w 494985"/>
                    <a:gd name="connsiteY10" fmla="*/ 1006985 h 1038241"/>
                    <a:gd name="connsiteX11" fmla="*/ 0 w 494985"/>
                    <a:gd name="connsiteY11" fmla="*/ 28501 h 1038241"/>
                    <a:gd name="connsiteX0" fmla="*/ 0 w 494985"/>
                    <a:gd name="connsiteY0" fmla="*/ 28501 h 1107189"/>
                    <a:gd name="connsiteX1" fmla="*/ 28501 w 494985"/>
                    <a:gd name="connsiteY1" fmla="*/ 0 h 1107189"/>
                    <a:gd name="connsiteX2" fmla="*/ 466484 w 494985"/>
                    <a:gd name="connsiteY2" fmla="*/ 0 h 1107189"/>
                    <a:gd name="connsiteX3" fmla="*/ 494985 w 494985"/>
                    <a:gd name="connsiteY3" fmla="*/ 28501 h 1107189"/>
                    <a:gd name="connsiteX4" fmla="*/ 494985 w 494985"/>
                    <a:gd name="connsiteY4" fmla="*/ 1006985 h 1107189"/>
                    <a:gd name="connsiteX5" fmla="*/ 466484 w 494985"/>
                    <a:gd name="connsiteY5" fmla="*/ 1035486 h 1107189"/>
                    <a:gd name="connsiteX6" fmla="*/ 369537 w 494985"/>
                    <a:gd name="connsiteY6" fmla="*/ 1030990 h 1107189"/>
                    <a:gd name="connsiteX7" fmla="*/ 274287 w 494985"/>
                    <a:gd name="connsiteY7" fmla="*/ 1037339 h 1107189"/>
                    <a:gd name="connsiteX8" fmla="*/ 159987 w 494985"/>
                    <a:gd name="connsiteY8" fmla="*/ 1107189 h 1107189"/>
                    <a:gd name="connsiteX9" fmla="*/ 28501 w 494985"/>
                    <a:gd name="connsiteY9" fmla="*/ 1035486 h 1107189"/>
                    <a:gd name="connsiteX10" fmla="*/ 0 w 494985"/>
                    <a:gd name="connsiteY10" fmla="*/ 1006985 h 1107189"/>
                    <a:gd name="connsiteX11" fmla="*/ 0 w 494985"/>
                    <a:gd name="connsiteY11" fmla="*/ 28501 h 1107189"/>
                    <a:gd name="connsiteX0" fmla="*/ 0 w 494985"/>
                    <a:gd name="connsiteY0" fmla="*/ 28501 h 1107189"/>
                    <a:gd name="connsiteX1" fmla="*/ 28501 w 494985"/>
                    <a:gd name="connsiteY1" fmla="*/ 0 h 1107189"/>
                    <a:gd name="connsiteX2" fmla="*/ 466484 w 494985"/>
                    <a:gd name="connsiteY2" fmla="*/ 0 h 1107189"/>
                    <a:gd name="connsiteX3" fmla="*/ 494985 w 494985"/>
                    <a:gd name="connsiteY3" fmla="*/ 28501 h 1107189"/>
                    <a:gd name="connsiteX4" fmla="*/ 494985 w 494985"/>
                    <a:gd name="connsiteY4" fmla="*/ 1006985 h 1107189"/>
                    <a:gd name="connsiteX5" fmla="*/ 466484 w 494985"/>
                    <a:gd name="connsiteY5" fmla="*/ 1035486 h 1107189"/>
                    <a:gd name="connsiteX6" fmla="*/ 369537 w 494985"/>
                    <a:gd name="connsiteY6" fmla="*/ 1030990 h 1107189"/>
                    <a:gd name="connsiteX7" fmla="*/ 274287 w 494985"/>
                    <a:gd name="connsiteY7" fmla="*/ 1100839 h 1107189"/>
                    <a:gd name="connsiteX8" fmla="*/ 159987 w 494985"/>
                    <a:gd name="connsiteY8" fmla="*/ 1107189 h 1107189"/>
                    <a:gd name="connsiteX9" fmla="*/ 28501 w 494985"/>
                    <a:gd name="connsiteY9" fmla="*/ 1035486 h 1107189"/>
                    <a:gd name="connsiteX10" fmla="*/ 0 w 494985"/>
                    <a:gd name="connsiteY10" fmla="*/ 1006985 h 1107189"/>
                    <a:gd name="connsiteX11" fmla="*/ 0 w 494985"/>
                    <a:gd name="connsiteY11" fmla="*/ 28501 h 110718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57605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50461 w 494985"/>
                    <a:gd name="connsiteY8" fmla="*/ 1040514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1980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1980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57"/>
                    <a:gd name="connsiteX1" fmla="*/ 28501 w 494985"/>
                    <a:gd name="connsiteY1" fmla="*/ 0 h 1100857"/>
                    <a:gd name="connsiteX2" fmla="*/ 466484 w 494985"/>
                    <a:gd name="connsiteY2" fmla="*/ 0 h 1100857"/>
                    <a:gd name="connsiteX3" fmla="*/ 494985 w 494985"/>
                    <a:gd name="connsiteY3" fmla="*/ 28501 h 1100857"/>
                    <a:gd name="connsiteX4" fmla="*/ 494985 w 494985"/>
                    <a:gd name="connsiteY4" fmla="*/ 1006985 h 1100857"/>
                    <a:gd name="connsiteX5" fmla="*/ 466484 w 494985"/>
                    <a:gd name="connsiteY5" fmla="*/ 1035486 h 1100857"/>
                    <a:gd name="connsiteX6" fmla="*/ 369537 w 494985"/>
                    <a:gd name="connsiteY6" fmla="*/ 1030990 h 1100857"/>
                    <a:gd name="connsiteX7" fmla="*/ 198087 w 494985"/>
                    <a:gd name="connsiteY7" fmla="*/ 1100839 h 1100857"/>
                    <a:gd name="connsiteX8" fmla="*/ 148080 w 494985"/>
                    <a:gd name="connsiteY8" fmla="*/ 1033370 h 1100857"/>
                    <a:gd name="connsiteX9" fmla="*/ 28501 w 494985"/>
                    <a:gd name="connsiteY9" fmla="*/ 1035486 h 1100857"/>
                    <a:gd name="connsiteX10" fmla="*/ 0 w 494985"/>
                    <a:gd name="connsiteY10" fmla="*/ 1006985 h 1100857"/>
                    <a:gd name="connsiteX11" fmla="*/ 0 w 494985"/>
                    <a:gd name="connsiteY11" fmla="*/ 28501 h 1100857"/>
                    <a:gd name="connsiteX0" fmla="*/ 0 w 494985"/>
                    <a:gd name="connsiteY0" fmla="*/ 28501 h 1101187"/>
                    <a:gd name="connsiteX1" fmla="*/ 28501 w 494985"/>
                    <a:gd name="connsiteY1" fmla="*/ 0 h 1101187"/>
                    <a:gd name="connsiteX2" fmla="*/ 466484 w 494985"/>
                    <a:gd name="connsiteY2" fmla="*/ 0 h 1101187"/>
                    <a:gd name="connsiteX3" fmla="*/ 494985 w 494985"/>
                    <a:gd name="connsiteY3" fmla="*/ 28501 h 1101187"/>
                    <a:gd name="connsiteX4" fmla="*/ 494985 w 494985"/>
                    <a:gd name="connsiteY4" fmla="*/ 1006985 h 1101187"/>
                    <a:gd name="connsiteX5" fmla="*/ 466484 w 494985"/>
                    <a:gd name="connsiteY5" fmla="*/ 1035486 h 1101187"/>
                    <a:gd name="connsiteX6" fmla="*/ 369537 w 494985"/>
                    <a:gd name="connsiteY6" fmla="*/ 1030990 h 1101187"/>
                    <a:gd name="connsiteX7" fmla="*/ 198087 w 494985"/>
                    <a:gd name="connsiteY7" fmla="*/ 1100839 h 1101187"/>
                    <a:gd name="connsiteX8" fmla="*/ 148080 w 494985"/>
                    <a:gd name="connsiteY8" fmla="*/ 1033370 h 1101187"/>
                    <a:gd name="connsiteX9" fmla="*/ 28501 w 494985"/>
                    <a:gd name="connsiteY9" fmla="*/ 1035486 h 1101187"/>
                    <a:gd name="connsiteX10" fmla="*/ 0 w 494985"/>
                    <a:gd name="connsiteY10" fmla="*/ 1006985 h 1101187"/>
                    <a:gd name="connsiteX11" fmla="*/ 0 w 494985"/>
                    <a:gd name="connsiteY11" fmla="*/ 28501 h 1101187"/>
                    <a:gd name="connsiteX0" fmla="*/ 0 w 494985"/>
                    <a:gd name="connsiteY0" fmla="*/ 28501 h 1101096"/>
                    <a:gd name="connsiteX1" fmla="*/ 28501 w 494985"/>
                    <a:gd name="connsiteY1" fmla="*/ 0 h 1101096"/>
                    <a:gd name="connsiteX2" fmla="*/ 466484 w 494985"/>
                    <a:gd name="connsiteY2" fmla="*/ 0 h 1101096"/>
                    <a:gd name="connsiteX3" fmla="*/ 494985 w 494985"/>
                    <a:gd name="connsiteY3" fmla="*/ 28501 h 1101096"/>
                    <a:gd name="connsiteX4" fmla="*/ 494985 w 494985"/>
                    <a:gd name="connsiteY4" fmla="*/ 1006985 h 1101096"/>
                    <a:gd name="connsiteX5" fmla="*/ 466484 w 494985"/>
                    <a:gd name="connsiteY5" fmla="*/ 1035486 h 1101096"/>
                    <a:gd name="connsiteX6" fmla="*/ 369537 w 494985"/>
                    <a:gd name="connsiteY6" fmla="*/ 1030990 h 1101096"/>
                    <a:gd name="connsiteX7" fmla="*/ 290956 w 494985"/>
                    <a:gd name="connsiteY7" fmla="*/ 1055596 h 1101096"/>
                    <a:gd name="connsiteX8" fmla="*/ 198087 w 494985"/>
                    <a:gd name="connsiteY8" fmla="*/ 1100839 h 1101096"/>
                    <a:gd name="connsiteX9" fmla="*/ 148080 w 494985"/>
                    <a:gd name="connsiteY9" fmla="*/ 1033370 h 1101096"/>
                    <a:gd name="connsiteX10" fmla="*/ 28501 w 494985"/>
                    <a:gd name="connsiteY10" fmla="*/ 1035486 h 1101096"/>
                    <a:gd name="connsiteX11" fmla="*/ 0 w 494985"/>
                    <a:gd name="connsiteY11" fmla="*/ 1006985 h 1101096"/>
                    <a:gd name="connsiteX12" fmla="*/ 0 w 494985"/>
                    <a:gd name="connsiteY12" fmla="*/ 28501 h 1101096"/>
                    <a:gd name="connsiteX0" fmla="*/ 0 w 494985"/>
                    <a:gd name="connsiteY0" fmla="*/ 28501 h 1105462"/>
                    <a:gd name="connsiteX1" fmla="*/ 28501 w 494985"/>
                    <a:gd name="connsiteY1" fmla="*/ 0 h 1105462"/>
                    <a:gd name="connsiteX2" fmla="*/ 466484 w 494985"/>
                    <a:gd name="connsiteY2" fmla="*/ 0 h 1105462"/>
                    <a:gd name="connsiteX3" fmla="*/ 494985 w 494985"/>
                    <a:gd name="connsiteY3" fmla="*/ 28501 h 1105462"/>
                    <a:gd name="connsiteX4" fmla="*/ 494985 w 494985"/>
                    <a:gd name="connsiteY4" fmla="*/ 1006985 h 1105462"/>
                    <a:gd name="connsiteX5" fmla="*/ 466484 w 494985"/>
                    <a:gd name="connsiteY5" fmla="*/ 1035486 h 1105462"/>
                    <a:gd name="connsiteX6" fmla="*/ 369537 w 494985"/>
                    <a:gd name="connsiteY6" fmla="*/ 1030990 h 1105462"/>
                    <a:gd name="connsiteX7" fmla="*/ 305243 w 494985"/>
                    <a:gd name="connsiteY7" fmla="*/ 1098458 h 1105462"/>
                    <a:gd name="connsiteX8" fmla="*/ 198087 w 494985"/>
                    <a:gd name="connsiteY8" fmla="*/ 1100839 h 1105462"/>
                    <a:gd name="connsiteX9" fmla="*/ 148080 w 494985"/>
                    <a:gd name="connsiteY9" fmla="*/ 1033370 h 1105462"/>
                    <a:gd name="connsiteX10" fmla="*/ 28501 w 494985"/>
                    <a:gd name="connsiteY10" fmla="*/ 1035486 h 1105462"/>
                    <a:gd name="connsiteX11" fmla="*/ 0 w 494985"/>
                    <a:gd name="connsiteY11" fmla="*/ 1006985 h 1105462"/>
                    <a:gd name="connsiteX12" fmla="*/ 0 w 494985"/>
                    <a:gd name="connsiteY12" fmla="*/ 28501 h 1105462"/>
                    <a:gd name="connsiteX0" fmla="*/ 0 w 494985"/>
                    <a:gd name="connsiteY0" fmla="*/ 28501 h 1105462"/>
                    <a:gd name="connsiteX1" fmla="*/ 28501 w 494985"/>
                    <a:gd name="connsiteY1" fmla="*/ 0 h 1105462"/>
                    <a:gd name="connsiteX2" fmla="*/ 466484 w 494985"/>
                    <a:gd name="connsiteY2" fmla="*/ 0 h 1105462"/>
                    <a:gd name="connsiteX3" fmla="*/ 494985 w 494985"/>
                    <a:gd name="connsiteY3" fmla="*/ 28501 h 1105462"/>
                    <a:gd name="connsiteX4" fmla="*/ 494985 w 494985"/>
                    <a:gd name="connsiteY4" fmla="*/ 1006985 h 1105462"/>
                    <a:gd name="connsiteX5" fmla="*/ 466484 w 494985"/>
                    <a:gd name="connsiteY5" fmla="*/ 1035486 h 1105462"/>
                    <a:gd name="connsiteX6" fmla="*/ 369537 w 494985"/>
                    <a:gd name="connsiteY6" fmla="*/ 1030990 h 1105462"/>
                    <a:gd name="connsiteX7" fmla="*/ 305243 w 494985"/>
                    <a:gd name="connsiteY7" fmla="*/ 1098458 h 1105462"/>
                    <a:gd name="connsiteX8" fmla="*/ 198087 w 494985"/>
                    <a:gd name="connsiteY8" fmla="*/ 1100839 h 1105462"/>
                    <a:gd name="connsiteX9" fmla="*/ 148080 w 494985"/>
                    <a:gd name="connsiteY9" fmla="*/ 1033370 h 1105462"/>
                    <a:gd name="connsiteX10" fmla="*/ 28501 w 494985"/>
                    <a:gd name="connsiteY10" fmla="*/ 1035486 h 1105462"/>
                    <a:gd name="connsiteX11" fmla="*/ 0 w 494985"/>
                    <a:gd name="connsiteY11" fmla="*/ 1006985 h 1105462"/>
                    <a:gd name="connsiteX12" fmla="*/ 0 w 494985"/>
                    <a:gd name="connsiteY12" fmla="*/ 28501 h 110546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48080 w 494985"/>
                    <a:gd name="connsiteY9" fmla="*/ 1033370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48080 w 494985"/>
                    <a:gd name="connsiteY9" fmla="*/ 1033370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71918 w 494985"/>
                    <a:gd name="connsiteY6" fmla="*/ 1041471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71918 w 494985"/>
                    <a:gd name="connsiteY6" fmla="*/ 1041471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71918 w 494985"/>
                    <a:gd name="connsiteY6" fmla="*/ 1041471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6321"/>
                    <a:gd name="connsiteX1" fmla="*/ 28501 w 494985"/>
                    <a:gd name="connsiteY1" fmla="*/ 0 h 1106321"/>
                    <a:gd name="connsiteX2" fmla="*/ 466484 w 494985"/>
                    <a:gd name="connsiteY2" fmla="*/ 0 h 1106321"/>
                    <a:gd name="connsiteX3" fmla="*/ 494985 w 494985"/>
                    <a:gd name="connsiteY3" fmla="*/ 28501 h 1106321"/>
                    <a:gd name="connsiteX4" fmla="*/ 494985 w 494985"/>
                    <a:gd name="connsiteY4" fmla="*/ 1006985 h 1106321"/>
                    <a:gd name="connsiteX5" fmla="*/ 466484 w 494985"/>
                    <a:gd name="connsiteY5" fmla="*/ 1035486 h 1106321"/>
                    <a:gd name="connsiteX6" fmla="*/ 371918 w 494985"/>
                    <a:gd name="connsiteY6" fmla="*/ 1041471 h 1106321"/>
                    <a:gd name="connsiteX7" fmla="*/ 305243 w 494985"/>
                    <a:gd name="connsiteY7" fmla="*/ 1106317 h 1106321"/>
                    <a:gd name="connsiteX8" fmla="*/ 198087 w 494985"/>
                    <a:gd name="connsiteY8" fmla="*/ 1100839 h 1106321"/>
                    <a:gd name="connsiteX9" fmla="*/ 150462 w 494985"/>
                    <a:gd name="connsiteY9" fmla="*/ 1038611 h 1106321"/>
                    <a:gd name="connsiteX10" fmla="*/ 28501 w 494985"/>
                    <a:gd name="connsiteY10" fmla="*/ 1035486 h 1106321"/>
                    <a:gd name="connsiteX11" fmla="*/ 0 w 494985"/>
                    <a:gd name="connsiteY11" fmla="*/ 1006985 h 1106321"/>
                    <a:gd name="connsiteX12" fmla="*/ 0 w 494985"/>
                    <a:gd name="connsiteY12" fmla="*/ 28501 h 1106321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0462 w 494985"/>
                    <a:gd name="connsiteY9" fmla="*/ 103861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79037 w 494985"/>
                    <a:gd name="connsiteY9" fmla="*/ 103599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83799 w 494985"/>
                    <a:gd name="connsiteY9" fmla="*/ 104647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83799 w 494985"/>
                    <a:gd name="connsiteY9" fmla="*/ 104647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83799 w 494985"/>
                    <a:gd name="connsiteY9" fmla="*/ 1046471 h 1102488"/>
                    <a:gd name="connsiteX10" fmla="*/ 153278 w 494985"/>
                    <a:gd name="connsiteY10" fmla="*/ 1037850 h 1102488"/>
                    <a:gd name="connsiteX11" fmla="*/ 28501 w 494985"/>
                    <a:gd name="connsiteY11" fmla="*/ 1035486 h 1102488"/>
                    <a:gd name="connsiteX12" fmla="*/ 0 w 494985"/>
                    <a:gd name="connsiteY12" fmla="*/ 1006985 h 1102488"/>
                    <a:gd name="connsiteX13" fmla="*/ 0 w 494985"/>
                    <a:gd name="connsiteY13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3278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29465 w 494985"/>
                    <a:gd name="connsiteY9" fmla="*/ 104309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29465 w 494985"/>
                    <a:gd name="connsiteY9" fmla="*/ 104309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3654"/>
                    <a:gd name="connsiteX1" fmla="*/ 28501 w 494985"/>
                    <a:gd name="connsiteY1" fmla="*/ 0 h 1103654"/>
                    <a:gd name="connsiteX2" fmla="*/ 466484 w 494985"/>
                    <a:gd name="connsiteY2" fmla="*/ 0 h 1103654"/>
                    <a:gd name="connsiteX3" fmla="*/ 494985 w 494985"/>
                    <a:gd name="connsiteY3" fmla="*/ 28501 h 1103654"/>
                    <a:gd name="connsiteX4" fmla="*/ 494985 w 494985"/>
                    <a:gd name="connsiteY4" fmla="*/ 1006985 h 1103654"/>
                    <a:gd name="connsiteX5" fmla="*/ 466484 w 494985"/>
                    <a:gd name="connsiteY5" fmla="*/ 1035486 h 1103654"/>
                    <a:gd name="connsiteX6" fmla="*/ 371918 w 494985"/>
                    <a:gd name="connsiteY6" fmla="*/ 1041471 h 1103654"/>
                    <a:gd name="connsiteX7" fmla="*/ 307624 w 494985"/>
                    <a:gd name="connsiteY7" fmla="*/ 1101077 h 1103654"/>
                    <a:gd name="connsiteX8" fmla="*/ 198087 w 494985"/>
                    <a:gd name="connsiteY8" fmla="*/ 1100839 h 1103654"/>
                    <a:gd name="connsiteX9" fmla="*/ 136609 w 494985"/>
                    <a:gd name="connsiteY9" fmla="*/ 1037850 h 1103654"/>
                    <a:gd name="connsiteX10" fmla="*/ 28501 w 494985"/>
                    <a:gd name="connsiteY10" fmla="*/ 1035486 h 1103654"/>
                    <a:gd name="connsiteX11" fmla="*/ 0 w 494985"/>
                    <a:gd name="connsiteY11" fmla="*/ 1006985 h 1103654"/>
                    <a:gd name="connsiteX12" fmla="*/ 0 w 494985"/>
                    <a:gd name="connsiteY12" fmla="*/ 28501 h 1103654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6240"/>
                    <a:gd name="connsiteX1" fmla="*/ 28501 w 494985"/>
                    <a:gd name="connsiteY1" fmla="*/ 0 h 1106240"/>
                    <a:gd name="connsiteX2" fmla="*/ 466484 w 494985"/>
                    <a:gd name="connsiteY2" fmla="*/ 0 h 1106240"/>
                    <a:gd name="connsiteX3" fmla="*/ 494985 w 494985"/>
                    <a:gd name="connsiteY3" fmla="*/ 28501 h 1106240"/>
                    <a:gd name="connsiteX4" fmla="*/ 494985 w 494985"/>
                    <a:gd name="connsiteY4" fmla="*/ 1006985 h 1106240"/>
                    <a:gd name="connsiteX5" fmla="*/ 466484 w 494985"/>
                    <a:gd name="connsiteY5" fmla="*/ 1035486 h 1106240"/>
                    <a:gd name="connsiteX6" fmla="*/ 369537 w 494985"/>
                    <a:gd name="connsiteY6" fmla="*/ 1033611 h 1106240"/>
                    <a:gd name="connsiteX7" fmla="*/ 307624 w 494985"/>
                    <a:gd name="connsiteY7" fmla="*/ 1101077 h 1106240"/>
                    <a:gd name="connsiteX8" fmla="*/ 198087 w 494985"/>
                    <a:gd name="connsiteY8" fmla="*/ 1100839 h 1106240"/>
                    <a:gd name="connsiteX9" fmla="*/ 158041 w 494985"/>
                    <a:gd name="connsiteY9" fmla="*/ 1035229 h 1106240"/>
                    <a:gd name="connsiteX10" fmla="*/ 28501 w 494985"/>
                    <a:gd name="connsiteY10" fmla="*/ 1035486 h 1106240"/>
                    <a:gd name="connsiteX11" fmla="*/ 0 w 494985"/>
                    <a:gd name="connsiteY11" fmla="*/ 1006985 h 1106240"/>
                    <a:gd name="connsiteX12" fmla="*/ 0 w 494985"/>
                    <a:gd name="connsiteY12" fmla="*/ 28501 h 1106240"/>
                    <a:gd name="connsiteX0" fmla="*/ 0 w 494985"/>
                    <a:gd name="connsiteY0" fmla="*/ 28501 h 1105659"/>
                    <a:gd name="connsiteX1" fmla="*/ 28501 w 494985"/>
                    <a:gd name="connsiteY1" fmla="*/ 0 h 1105659"/>
                    <a:gd name="connsiteX2" fmla="*/ 466484 w 494985"/>
                    <a:gd name="connsiteY2" fmla="*/ 0 h 1105659"/>
                    <a:gd name="connsiteX3" fmla="*/ 494985 w 494985"/>
                    <a:gd name="connsiteY3" fmla="*/ 28501 h 1105659"/>
                    <a:gd name="connsiteX4" fmla="*/ 494985 w 494985"/>
                    <a:gd name="connsiteY4" fmla="*/ 1006985 h 1105659"/>
                    <a:gd name="connsiteX5" fmla="*/ 466484 w 494985"/>
                    <a:gd name="connsiteY5" fmla="*/ 1035486 h 1105659"/>
                    <a:gd name="connsiteX6" fmla="*/ 371918 w 494985"/>
                    <a:gd name="connsiteY6" fmla="*/ 1041470 h 1105659"/>
                    <a:gd name="connsiteX7" fmla="*/ 307624 w 494985"/>
                    <a:gd name="connsiteY7" fmla="*/ 1101077 h 1105659"/>
                    <a:gd name="connsiteX8" fmla="*/ 198087 w 494985"/>
                    <a:gd name="connsiteY8" fmla="*/ 1100839 h 1105659"/>
                    <a:gd name="connsiteX9" fmla="*/ 158041 w 494985"/>
                    <a:gd name="connsiteY9" fmla="*/ 1035229 h 1105659"/>
                    <a:gd name="connsiteX10" fmla="*/ 28501 w 494985"/>
                    <a:gd name="connsiteY10" fmla="*/ 1035486 h 1105659"/>
                    <a:gd name="connsiteX11" fmla="*/ 0 w 494985"/>
                    <a:gd name="connsiteY11" fmla="*/ 1006985 h 1105659"/>
                    <a:gd name="connsiteX12" fmla="*/ 0 w 494985"/>
                    <a:gd name="connsiteY12" fmla="*/ 28501 h 1105659"/>
                    <a:gd name="connsiteX0" fmla="*/ 0 w 494985"/>
                    <a:gd name="connsiteY0" fmla="*/ 28501 h 1106046"/>
                    <a:gd name="connsiteX1" fmla="*/ 28501 w 494985"/>
                    <a:gd name="connsiteY1" fmla="*/ 0 h 1106046"/>
                    <a:gd name="connsiteX2" fmla="*/ 466484 w 494985"/>
                    <a:gd name="connsiteY2" fmla="*/ 0 h 1106046"/>
                    <a:gd name="connsiteX3" fmla="*/ 494985 w 494985"/>
                    <a:gd name="connsiteY3" fmla="*/ 28501 h 1106046"/>
                    <a:gd name="connsiteX4" fmla="*/ 494985 w 494985"/>
                    <a:gd name="connsiteY4" fmla="*/ 1006985 h 1106046"/>
                    <a:gd name="connsiteX5" fmla="*/ 466484 w 494985"/>
                    <a:gd name="connsiteY5" fmla="*/ 1035486 h 1106046"/>
                    <a:gd name="connsiteX6" fmla="*/ 364775 w 494985"/>
                    <a:gd name="connsiteY6" fmla="*/ 1036230 h 1106046"/>
                    <a:gd name="connsiteX7" fmla="*/ 307624 w 494985"/>
                    <a:gd name="connsiteY7" fmla="*/ 1101077 h 1106046"/>
                    <a:gd name="connsiteX8" fmla="*/ 198087 w 494985"/>
                    <a:gd name="connsiteY8" fmla="*/ 1100839 h 1106046"/>
                    <a:gd name="connsiteX9" fmla="*/ 158041 w 494985"/>
                    <a:gd name="connsiteY9" fmla="*/ 1035229 h 1106046"/>
                    <a:gd name="connsiteX10" fmla="*/ 28501 w 494985"/>
                    <a:gd name="connsiteY10" fmla="*/ 1035486 h 1106046"/>
                    <a:gd name="connsiteX11" fmla="*/ 0 w 494985"/>
                    <a:gd name="connsiteY11" fmla="*/ 1006985 h 1106046"/>
                    <a:gd name="connsiteX12" fmla="*/ 0 w 494985"/>
                    <a:gd name="connsiteY12" fmla="*/ 28501 h 1106046"/>
                    <a:gd name="connsiteX0" fmla="*/ 0 w 494985"/>
                    <a:gd name="connsiteY0" fmla="*/ 28501 h 1106046"/>
                    <a:gd name="connsiteX1" fmla="*/ 28501 w 494985"/>
                    <a:gd name="connsiteY1" fmla="*/ 0 h 1106046"/>
                    <a:gd name="connsiteX2" fmla="*/ 466484 w 494985"/>
                    <a:gd name="connsiteY2" fmla="*/ 0 h 1106046"/>
                    <a:gd name="connsiteX3" fmla="*/ 494985 w 494985"/>
                    <a:gd name="connsiteY3" fmla="*/ 28501 h 1106046"/>
                    <a:gd name="connsiteX4" fmla="*/ 494985 w 494985"/>
                    <a:gd name="connsiteY4" fmla="*/ 1006985 h 1106046"/>
                    <a:gd name="connsiteX5" fmla="*/ 466484 w 494985"/>
                    <a:gd name="connsiteY5" fmla="*/ 1035486 h 1106046"/>
                    <a:gd name="connsiteX6" fmla="*/ 364775 w 494985"/>
                    <a:gd name="connsiteY6" fmla="*/ 1036230 h 1106046"/>
                    <a:gd name="connsiteX7" fmla="*/ 307624 w 494985"/>
                    <a:gd name="connsiteY7" fmla="*/ 1101077 h 1106046"/>
                    <a:gd name="connsiteX8" fmla="*/ 198087 w 494985"/>
                    <a:gd name="connsiteY8" fmla="*/ 1100839 h 1106046"/>
                    <a:gd name="connsiteX9" fmla="*/ 158041 w 494985"/>
                    <a:gd name="connsiteY9" fmla="*/ 1035229 h 1106046"/>
                    <a:gd name="connsiteX10" fmla="*/ 28501 w 494985"/>
                    <a:gd name="connsiteY10" fmla="*/ 1035486 h 1106046"/>
                    <a:gd name="connsiteX11" fmla="*/ 0 w 494985"/>
                    <a:gd name="connsiteY11" fmla="*/ 1006985 h 1106046"/>
                    <a:gd name="connsiteX12" fmla="*/ 0 w 494985"/>
                    <a:gd name="connsiteY12" fmla="*/ 28501 h 1106046"/>
                    <a:gd name="connsiteX0" fmla="*/ 0 w 494985"/>
                    <a:gd name="connsiteY0" fmla="*/ 28501 h 1104264"/>
                    <a:gd name="connsiteX1" fmla="*/ 28501 w 494985"/>
                    <a:gd name="connsiteY1" fmla="*/ 0 h 1104264"/>
                    <a:gd name="connsiteX2" fmla="*/ 466484 w 494985"/>
                    <a:gd name="connsiteY2" fmla="*/ 0 h 1104264"/>
                    <a:gd name="connsiteX3" fmla="*/ 494985 w 494985"/>
                    <a:gd name="connsiteY3" fmla="*/ 28501 h 1104264"/>
                    <a:gd name="connsiteX4" fmla="*/ 494985 w 494985"/>
                    <a:gd name="connsiteY4" fmla="*/ 1006985 h 1104264"/>
                    <a:gd name="connsiteX5" fmla="*/ 466484 w 494985"/>
                    <a:gd name="connsiteY5" fmla="*/ 1035486 h 1104264"/>
                    <a:gd name="connsiteX6" fmla="*/ 364775 w 494985"/>
                    <a:gd name="connsiteY6" fmla="*/ 1036230 h 1104264"/>
                    <a:gd name="connsiteX7" fmla="*/ 312387 w 494985"/>
                    <a:gd name="connsiteY7" fmla="*/ 1098457 h 1104264"/>
                    <a:gd name="connsiteX8" fmla="*/ 198087 w 494985"/>
                    <a:gd name="connsiteY8" fmla="*/ 1100839 h 1104264"/>
                    <a:gd name="connsiteX9" fmla="*/ 158041 w 494985"/>
                    <a:gd name="connsiteY9" fmla="*/ 1035229 h 1104264"/>
                    <a:gd name="connsiteX10" fmla="*/ 28501 w 494985"/>
                    <a:gd name="connsiteY10" fmla="*/ 1035486 h 1104264"/>
                    <a:gd name="connsiteX11" fmla="*/ 0 w 494985"/>
                    <a:gd name="connsiteY11" fmla="*/ 1006985 h 1104264"/>
                    <a:gd name="connsiteX12" fmla="*/ 0 w 494985"/>
                    <a:gd name="connsiteY12" fmla="*/ 28501 h 1104264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4775 w 494985"/>
                    <a:gd name="connsiteY6" fmla="*/ 1036230 h 1100839"/>
                    <a:gd name="connsiteX7" fmla="*/ 312387 w 494985"/>
                    <a:gd name="connsiteY7" fmla="*/ 1098457 h 1100839"/>
                    <a:gd name="connsiteX8" fmla="*/ 198087 w 494985"/>
                    <a:gd name="connsiteY8" fmla="*/ 1100839 h 1100839"/>
                    <a:gd name="connsiteX9" fmla="*/ 158041 w 494985"/>
                    <a:gd name="connsiteY9" fmla="*/ 1035229 h 1100839"/>
                    <a:gd name="connsiteX10" fmla="*/ 28501 w 494985"/>
                    <a:gd name="connsiteY10" fmla="*/ 1035486 h 1100839"/>
                    <a:gd name="connsiteX11" fmla="*/ 0 w 494985"/>
                    <a:gd name="connsiteY11" fmla="*/ 1006985 h 1100839"/>
                    <a:gd name="connsiteX12" fmla="*/ 0 w 494985"/>
                    <a:gd name="connsiteY12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4775 w 494985"/>
                    <a:gd name="connsiteY6" fmla="*/ 1036230 h 1100839"/>
                    <a:gd name="connsiteX7" fmla="*/ 198087 w 494985"/>
                    <a:gd name="connsiteY7" fmla="*/ 1100839 h 1100839"/>
                    <a:gd name="connsiteX8" fmla="*/ 158041 w 494985"/>
                    <a:gd name="connsiteY8" fmla="*/ 1035229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4775 w 494985"/>
                    <a:gd name="connsiteY6" fmla="*/ 1036230 h 1100839"/>
                    <a:gd name="connsiteX7" fmla="*/ 289009 w 494985"/>
                    <a:gd name="connsiteY7" fmla="*/ 1064051 h 1100839"/>
                    <a:gd name="connsiteX8" fmla="*/ 198087 w 494985"/>
                    <a:gd name="connsiteY8" fmla="*/ 1100839 h 1100839"/>
                    <a:gd name="connsiteX9" fmla="*/ 158041 w 494985"/>
                    <a:gd name="connsiteY9" fmla="*/ 1035229 h 1100839"/>
                    <a:gd name="connsiteX10" fmla="*/ 28501 w 494985"/>
                    <a:gd name="connsiteY10" fmla="*/ 1035486 h 1100839"/>
                    <a:gd name="connsiteX11" fmla="*/ 0 w 494985"/>
                    <a:gd name="connsiteY11" fmla="*/ 1006985 h 1100839"/>
                    <a:gd name="connsiteX12" fmla="*/ 0 w 494985"/>
                    <a:gd name="connsiteY12" fmla="*/ 28501 h 1100839"/>
                    <a:gd name="connsiteX0" fmla="*/ 0 w 494985"/>
                    <a:gd name="connsiteY0" fmla="*/ 28501 h 1103352"/>
                    <a:gd name="connsiteX1" fmla="*/ 28501 w 494985"/>
                    <a:gd name="connsiteY1" fmla="*/ 0 h 1103352"/>
                    <a:gd name="connsiteX2" fmla="*/ 466484 w 494985"/>
                    <a:gd name="connsiteY2" fmla="*/ 0 h 1103352"/>
                    <a:gd name="connsiteX3" fmla="*/ 494985 w 494985"/>
                    <a:gd name="connsiteY3" fmla="*/ 28501 h 1103352"/>
                    <a:gd name="connsiteX4" fmla="*/ 494985 w 494985"/>
                    <a:gd name="connsiteY4" fmla="*/ 1006985 h 1103352"/>
                    <a:gd name="connsiteX5" fmla="*/ 466484 w 494985"/>
                    <a:gd name="connsiteY5" fmla="*/ 1035486 h 1103352"/>
                    <a:gd name="connsiteX6" fmla="*/ 364775 w 494985"/>
                    <a:gd name="connsiteY6" fmla="*/ 1036230 h 1103352"/>
                    <a:gd name="connsiteX7" fmla="*/ 291390 w 494985"/>
                    <a:gd name="connsiteY7" fmla="*/ 1103352 h 1103352"/>
                    <a:gd name="connsiteX8" fmla="*/ 198087 w 494985"/>
                    <a:gd name="connsiteY8" fmla="*/ 1100839 h 1103352"/>
                    <a:gd name="connsiteX9" fmla="*/ 158041 w 494985"/>
                    <a:gd name="connsiteY9" fmla="*/ 1035229 h 1103352"/>
                    <a:gd name="connsiteX10" fmla="*/ 28501 w 494985"/>
                    <a:gd name="connsiteY10" fmla="*/ 1035486 h 1103352"/>
                    <a:gd name="connsiteX11" fmla="*/ 0 w 494985"/>
                    <a:gd name="connsiteY11" fmla="*/ 1006985 h 1103352"/>
                    <a:gd name="connsiteX12" fmla="*/ 0 w 494985"/>
                    <a:gd name="connsiteY12" fmla="*/ 28501 h 1103352"/>
                    <a:gd name="connsiteX0" fmla="*/ 0 w 494985"/>
                    <a:gd name="connsiteY0" fmla="*/ 28501 h 1103352"/>
                    <a:gd name="connsiteX1" fmla="*/ 28501 w 494985"/>
                    <a:gd name="connsiteY1" fmla="*/ 0 h 1103352"/>
                    <a:gd name="connsiteX2" fmla="*/ 466484 w 494985"/>
                    <a:gd name="connsiteY2" fmla="*/ 0 h 1103352"/>
                    <a:gd name="connsiteX3" fmla="*/ 494985 w 494985"/>
                    <a:gd name="connsiteY3" fmla="*/ 28501 h 1103352"/>
                    <a:gd name="connsiteX4" fmla="*/ 494985 w 494985"/>
                    <a:gd name="connsiteY4" fmla="*/ 1006985 h 1103352"/>
                    <a:gd name="connsiteX5" fmla="*/ 466484 w 494985"/>
                    <a:gd name="connsiteY5" fmla="*/ 1035486 h 1103352"/>
                    <a:gd name="connsiteX6" fmla="*/ 352869 w 494985"/>
                    <a:gd name="connsiteY6" fmla="*/ 1036230 h 1103352"/>
                    <a:gd name="connsiteX7" fmla="*/ 291390 w 494985"/>
                    <a:gd name="connsiteY7" fmla="*/ 1103352 h 1103352"/>
                    <a:gd name="connsiteX8" fmla="*/ 198087 w 494985"/>
                    <a:gd name="connsiteY8" fmla="*/ 1100839 h 1103352"/>
                    <a:gd name="connsiteX9" fmla="*/ 158041 w 494985"/>
                    <a:gd name="connsiteY9" fmla="*/ 1035229 h 1103352"/>
                    <a:gd name="connsiteX10" fmla="*/ 28501 w 494985"/>
                    <a:gd name="connsiteY10" fmla="*/ 1035486 h 1103352"/>
                    <a:gd name="connsiteX11" fmla="*/ 0 w 494985"/>
                    <a:gd name="connsiteY11" fmla="*/ 1006985 h 1103352"/>
                    <a:gd name="connsiteX12" fmla="*/ 0 w 494985"/>
                    <a:gd name="connsiteY12" fmla="*/ 28501 h 1103352"/>
                    <a:gd name="connsiteX0" fmla="*/ 0 w 494985"/>
                    <a:gd name="connsiteY0" fmla="*/ 28501 h 1103352"/>
                    <a:gd name="connsiteX1" fmla="*/ 28501 w 494985"/>
                    <a:gd name="connsiteY1" fmla="*/ 0 h 1103352"/>
                    <a:gd name="connsiteX2" fmla="*/ 466484 w 494985"/>
                    <a:gd name="connsiteY2" fmla="*/ 0 h 1103352"/>
                    <a:gd name="connsiteX3" fmla="*/ 494985 w 494985"/>
                    <a:gd name="connsiteY3" fmla="*/ 28501 h 1103352"/>
                    <a:gd name="connsiteX4" fmla="*/ 494985 w 494985"/>
                    <a:gd name="connsiteY4" fmla="*/ 1006985 h 1103352"/>
                    <a:gd name="connsiteX5" fmla="*/ 466484 w 494985"/>
                    <a:gd name="connsiteY5" fmla="*/ 1035486 h 1103352"/>
                    <a:gd name="connsiteX6" fmla="*/ 340962 w 494985"/>
                    <a:gd name="connsiteY6" fmla="*/ 1036230 h 1103352"/>
                    <a:gd name="connsiteX7" fmla="*/ 291390 w 494985"/>
                    <a:gd name="connsiteY7" fmla="*/ 1103352 h 1103352"/>
                    <a:gd name="connsiteX8" fmla="*/ 198087 w 494985"/>
                    <a:gd name="connsiteY8" fmla="*/ 1100839 h 1103352"/>
                    <a:gd name="connsiteX9" fmla="*/ 158041 w 494985"/>
                    <a:gd name="connsiteY9" fmla="*/ 1035229 h 1103352"/>
                    <a:gd name="connsiteX10" fmla="*/ 28501 w 494985"/>
                    <a:gd name="connsiteY10" fmla="*/ 1035486 h 1103352"/>
                    <a:gd name="connsiteX11" fmla="*/ 0 w 494985"/>
                    <a:gd name="connsiteY11" fmla="*/ 1006985 h 1103352"/>
                    <a:gd name="connsiteX12" fmla="*/ 0 w 494985"/>
                    <a:gd name="connsiteY12" fmla="*/ 28501 h 1103352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1390 w 494985"/>
                    <a:gd name="connsiteY7" fmla="*/ 1103352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1390 w 494985"/>
                    <a:gd name="connsiteY7" fmla="*/ 1103352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1390 w 494985"/>
                    <a:gd name="connsiteY7" fmla="*/ 1103352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13832"/>
                    <a:gd name="connsiteX1" fmla="*/ 28501 w 494985"/>
                    <a:gd name="connsiteY1" fmla="*/ 0 h 1113832"/>
                    <a:gd name="connsiteX2" fmla="*/ 466484 w 494985"/>
                    <a:gd name="connsiteY2" fmla="*/ 0 h 1113832"/>
                    <a:gd name="connsiteX3" fmla="*/ 494985 w 494985"/>
                    <a:gd name="connsiteY3" fmla="*/ 28501 h 1113832"/>
                    <a:gd name="connsiteX4" fmla="*/ 494985 w 494985"/>
                    <a:gd name="connsiteY4" fmla="*/ 1006985 h 1113832"/>
                    <a:gd name="connsiteX5" fmla="*/ 466484 w 494985"/>
                    <a:gd name="connsiteY5" fmla="*/ 1035486 h 1113832"/>
                    <a:gd name="connsiteX6" fmla="*/ 340962 w 494985"/>
                    <a:gd name="connsiteY6" fmla="*/ 1036230 h 1113832"/>
                    <a:gd name="connsiteX7" fmla="*/ 293772 w 494985"/>
                    <a:gd name="connsiteY7" fmla="*/ 1113832 h 1113832"/>
                    <a:gd name="connsiteX8" fmla="*/ 200469 w 494985"/>
                    <a:gd name="connsiteY8" fmla="*/ 1108699 h 1113832"/>
                    <a:gd name="connsiteX9" fmla="*/ 158041 w 494985"/>
                    <a:gd name="connsiteY9" fmla="*/ 1035229 h 1113832"/>
                    <a:gd name="connsiteX10" fmla="*/ 28501 w 494985"/>
                    <a:gd name="connsiteY10" fmla="*/ 1035486 h 1113832"/>
                    <a:gd name="connsiteX11" fmla="*/ 0 w 494985"/>
                    <a:gd name="connsiteY11" fmla="*/ 1006985 h 1113832"/>
                    <a:gd name="connsiteX12" fmla="*/ 0 w 494985"/>
                    <a:gd name="connsiteY12" fmla="*/ 28501 h 1113832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305679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94985" h="1108699">
                      <a:moveTo>
                        <a:pt x="0" y="28501"/>
                      </a:moveTo>
                      <a:cubicBezTo>
                        <a:pt x="0" y="12760"/>
                        <a:pt x="12760" y="0"/>
                        <a:pt x="28501" y="0"/>
                      </a:cubicBezTo>
                      <a:lnTo>
                        <a:pt x="466484" y="0"/>
                      </a:lnTo>
                      <a:cubicBezTo>
                        <a:pt x="482225" y="0"/>
                        <a:pt x="494985" y="12760"/>
                        <a:pt x="494985" y="28501"/>
                      </a:cubicBezTo>
                      <a:lnTo>
                        <a:pt x="494985" y="1006985"/>
                      </a:lnTo>
                      <a:cubicBezTo>
                        <a:pt x="494985" y="1022726"/>
                        <a:pt x="482225" y="1035486"/>
                        <a:pt x="466484" y="1035486"/>
                      </a:cubicBezTo>
                      <a:lnTo>
                        <a:pt x="340962" y="1036230"/>
                      </a:lnTo>
                      <a:lnTo>
                        <a:pt x="305679" y="1108591"/>
                      </a:lnTo>
                      <a:lnTo>
                        <a:pt x="186182" y="1108699"/>
                      </a:lnTo>
                      <a:lnTo>
                        <a:pt x="158041" y="1035229"/>
                      </a:lnTo>
                      <a:lnTo>
                        <a:pt x="28501" y="1035486"/>
                      </a:lnTo>
                      <a:cubicBezTo>
                        <a:pt x="12760" y="1035486"/>
                        <a:pt x="0" y="1022726"/>
                        <a:pt x="0" y="1006985"/>
                      </a:cubicBezTo>
                      <a:lnTo>
                        <a:pt x="0" y="28501"/>
                      </a:lnTo>
                      <a:close/>
                    </a:path>
                  </a:pathLst>
                </a:custGeom>
                <a:solidFill>
                  <a:srgbClr val="0078D7"/>
                </a:solidFill>
                <a:ln w="9525" cmpd="sng">
                  <a:solidFill>
                    <a:srgbClr val="107C10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lIns="89630" tIns="89630" rIns="0" rtlCol="0" anchor="t"/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457112">
                    <a:lnSpc>
                      <a:spcPct val="90000"/>
                    </a:lnSpc>
                  </a:pPr>
                  <a:r>
                    <a:rPr lang="en-US" sz="2000" kern="0" dirty="0">
                      <a:gradFill>
                        <a:gsLst>
                          <a:gs pos="2917">
                            <a:schemeClr val="bg1"/>
                          </a:gs>
                          <a:gs pos="100000">
                            <a:schemeClr val="bg1"/>
                          </a:gs>
                        </a:gsLst>
                        <a:lin ang="5400000" scaled="0"/>
                      </a:gra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Spark Streaming</a:t>
                  </a:r>
                  <a:endParaRPr lang="en-US" sz="1600" b="1" kern="0" dirty="0">
                    <a:gradFill>
                      <a:gsLst>
                        <a:gs pos="2917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0"/>
                    </a:gradFill>
                    <a:cs typeface="Arial"/>
                  </a:endParaRPr>
                </a:p>
              </p:txBody>
            </p:sp>
            <p:sp>
              <p:nvSpPr>
                <p:cNvPr id="22" name="Rounded Rectangle 37"/>
                <p:cNvSpPr>
                  <a:spLocks/>
                </p:cNvSpPr>
                <p:nvPr/>
              </p:nvSpPr>
              <p:spPr>
                <a:xfrm>
                  <a:off x="2371098" y="3946211"/>
                  <a:ext cx="808886" cy="1270452"/>
                </a:xfrm>
                <a:custGeom>
                  <a:avLst/>
                  <a:gdLst>
                    <a:gd name="connsiteX0" fmla="*/ 0 w 494985"/>
                    <a:gd name="connsiteY0" fmla="*/ 28501 h 1035486"/>
                    <a:gd name="connsiteX1" fmla="*/ 28501 w 494985"/>
                    <a:gd name="connsiteY1" fmla="*/ 0 h 1035486"/>
                    <a:gd name="connsiteX2" fmla="*/ 466484 w 494985"/>
                    <a:gd name="connsiteY2" fmla="*/ 0 h 1035486"/>
                    <a:gd name="connsiteX3" fmla="*/ 494985 w 494985"/>
                    <a:gd name="connsiteY3" fmla="*/ 28501 h 1035486"/>
                    <a:gd name="connsiteX4" fmla="*/ 494985 w 494985"/>
                    <a:gd name="connsiteY4" fmla="*/ 1006985 h 1035486"/>
                    <a:gd name="connsiteX5" fmla="*/ 466484 w 494985"/>
                    <a:gd name="connsiteY5" fmla="*/ 1035486 h 1035486"/>
                    <a:gd name="connsiteX6" fmla="*/ 28501 w 494985"/>
                    <a:gd name="connsiteY6" fmla="*/ 1035486 h 1035486"/>
                    <a:gd name="connsiteX7" fmla="*/ 0 w 494985"/>
                    <a:gd name="connsiteY7" fmla="*/ 1006985 h 1035486"/>
                    <a:gd name="connsiteX8" fmla="*/ 0 w 494985"/>
                    <a:gd name="connsiteY8" fmla="*/ 28501 h 1035486"/>
                    <a:gd name="connsiteX0" fmla="*/ 0 w 494985"/>
                    <a:gd name="connsiteY0" fmla="*/ 28501 h 1100841"/>
                    <a:gd name="connsiteX1" fmla="*/ 28501 w 494985"/>
                    <a:gd name="connsiteY1" fmla="*/ 0 h 1100841"/>
                    <a:gd name="connsiteX2" fmla="*/ 466484 w 494985"/>
                    <a:gd name="connsiteY2" fmla="*/ 0 h 1100841"/>
                    <a:gd name="connsiteX3" fmla="*/ 494985 w 494985"/>
                    <a:gd name="connsiteY3" fmla="*/ 28501 h 1100841"/>
                    <a:gd name="connsiteX4" fmla="*/ 494985 w 494985"/>
                    <a:gd name="connsiteY4" fmla="*/ 1006985 h 1100841"/>
                    <a:gd name="connsiteX5" fmla="*/ 466484 w 494985"/>
                    <a:gd name="connsiteY5" fmla="*/ 1035486 h 1100841"/>
                    <a:gd name="connsiteX6" fmla="*/ 202850 w 494985"/>
                    <a:gd name="connsiteY6" fmla="*/ 1100839 h 1100841"/>
                    <a:gd name="connsiteX7" fmla="*/ 28501 w 494985"/>
                    <a:gd name="connsiteY7" fmla="*/ 1035486 h 1100841"/>
                    <a:gd name="connsiteX8" fmla="*/ 0 w 494985"/>
                    <a:gd name="connsiteY8" fmla="*/ 1006985 h 1100841"/>
                    <a:gd name="connsiteX9" fmla="*/ 0 w 494985"/>
                    <a:gd name="connsiteY9" fmla="*/ 28501 h 1100841"/>
                    <a:gd name="connsiteX0" fmla="*/ 0 w 494985"/>
                    <a:gd name="connsiteY0" fmla="*/ 28501 h 1122703"/>
                    <a:gd name="connsiteX1" fmla="*/ 28501 w 494985"/>
                    <a:gd name="connsiteY1" fmla="*/ 0 h 1122703"/>
                    <a:gd name="connsiteX2" fmla="*/ 466484 w 494985"/>
                    <a:gd name="connsiteY2" fmla="*/ 0 h 1122703"/>
                    <a:gd name="connsiteX3" fmla="*/ 494985 w 494985"/>
                    <a:gd name="connsiteY3" fmla="*/ 28501 h 1122703"/>
                    <a:gd name="connsiteX4" fmla="*/ 494985 w 494985"/>
                    <a:gd name="connsiteY4" fmla="*/ 1006985 h 1122703"/>
                    <a:gd name="connsiteX5" fmla="*/ 466484 w 494985"/>
                    <a:gd name="connsiteY5" fmla="*/ 1035486 h 1122703"/>
                    <a:gd name="connsiteX6" fmla="*/ 326675 w 494985"/>
                    <a:gd name="connsiteY6" fmla="*/ 1119889 h 1122703"/>
                    <a:gd name="connsiteX7" fmla="*/ 202850 w 494985"/>
                    <a:gd name="connsiteY7" fmla="*/ 1100839 h 1122703"/>
                    <a:gd name="connsiteX8" fmla="*/ 28501 w 494985"/>
                    <a:gd name="connsiteY8" fmla="*/ 1035486 h 1122703"/>
                    <a:gd name="connsiteX9" fmla="*/ 0 w 494985"/>
                    <a:gd name="connsiteY9" fmla="*/ 1006985 h 1122703"/>
                    <a:gd name="connsiteX10" fmla="*/ 0 w 494985"/>
                    <a:gd name="connsiteY10" fmla="*/ 28501 h 1122703"/>
                    <a:gd name="connsiteX0" fmla="*/ 0 w 494985"/>
                    <a:gd name="connsiteY0" fmla="*/ 28501 h 1120138"/>
                    <a:gd name="connsiteX1" fmla="*/ 28501 w 494985"/>
                    <a:gd name="connsiteY1" fmla="*/ 0 h 1120138"/>
                    <a:gd name="connsiteX2" fmla="*/ 466484 w 494985"/>
                    <a:gd name="connsiteY2" fmla="*/ 0 h 1120138"/>
                    <a:gd name="connsiteX3" fmla="*/ 494985 w 494985"/>
                    <a:gd name="connsiteY3" fmla="*/ 28501 h 1120138"/>
                    <a:gd name="connsiteX4" fmla="*/ 494985 w 494985"/>
                    <a:gd name="connsiteY4" fmla="*/ 1006985 h 1120138"/>
                    <a:gd name="connsiteX5" fmla="*/ 466484 w 494985"/>
                    <a:gd name="connsiteY5" fmla="*/ 1035486 h 1120138"/>
                    <a:gd name="connsiteX6" fmla="*/ 364775 w 494985"/>
                    <a:gd name="connsiteY6" fmla="*/ 1062739 h 1120138"/>
                    <a:gd name="connsiteX7" fmla="*/ 326675 w 494985"/>
                    <a:gd name="connsiteY7" fmla="*/ 1119889 h 1120138"/>
                    <a:gd name="connsiteX8" fmla="*/ 202850 w 494985"/>
                    <a:gd name="connsiteY8" fmla="*/ 1100839 h 1120138"/>
                    <a:gd name="connsiteX9" fmla="*/ 28501 w 494985"/>
                    <a:gd name="connsiteY9" fmla="*/ 1035486 h 1120138"/>
                    <a:gd name="connsiteX10" fmla="*/ 0 w 494985"/>
                    <a:gd name="connsiteY10" fmla="*/ 1006985 h 1120138"/>
                    <a:gd name="connsiteX11" fmla="*/ 0 w 494985"/>
                    <a:gd name="connsiteY11" fmla="*/ 28501 h 1120138"/>
                    <a:gd name="connsiteX0" fmla="*/ 0 w 494985"/>
                    <a:gd name="connsiteY0" fmla="*/ 28501 h 1126828"/>
                    <a:gd name="connsiteX1" fmla="*/ 28501 w 494985"/>
                    <a:gd name="connsiteY1" fmla="*/ 0 h 1126828"/>
                    <a:gd name="connsiteX2" fmla="*/ 466484 w 494985"/>
                    <a:gd name="connsiteY2" fmla="*/ 0 h 1126828"/>
                    <a:gd name="connsiteX3" fmla="*/ 494985 w 494985"/>
                    <a:gd name="connsiteY3" fmla="*/ 28501 h 1126828"/>
                    <a:gd name="connsiteX4" fmla="*/ 494985 w 494985"/>
                    <a:gd name="connsiteY4" fmla="*/ 1006985 h 1126828"/>
                    <a:gd name="connsiteX5" fmla="*/ 466484 w 494985"/>
                    <a:gd name="connsiteY5" fmla="*/ 1035486 h 1126828"/>
                    <a:gd name="connsiteX6" fmla="*/ 364775 w 494985"/>
                    <a:gd name="connsiteY6" fmla="*/ 1062739 h 1126828"/>
                    <a:gd name="connsiteX7" fmla="*/ 326675 w 494985"/>
                    <a:gd name="connsiteY7" fmla="*/ 1119889 h 1126828"/>
                    <a:gd name="connsiteX8" fmla="*/ 212375 w 494985"/>
                    <a:gd name="connsiteY8" fmla="*/ 1124651 h 1126828"/>
                    <a:gd name="connsiteX9" fmla="*/ 28501 w 494985"/>
                    <a:gd name="connsiteY9" fmla="*/ 1035486 h 1126828"/>
                    <a:gd name="connsiteX10" fmla="*/ 0 w 494985"/>
                    <a:gd name="connsiteY10" fmla="*/ 1006985 h 1126828"/>
                    <a:gd name="connsiteX11" fmla="*/ 0 w 494985"/>
                    <a:gd name="connsiteY11" fmla="*/ 28501 h 1126828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45700 w 494985"/>
                    <a:gd name="connsiteY9" fmla="*/ 1038927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45700 w 494985"/>
                    <a:gd name="connsiteY9" fmla="*/ 1038927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50463 w 494985"/>
                    <a:gd name="connsiteY9" fmla="*/ 1053215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50463 w 494985"/>
                    <a:gd name="connsiteY9" fmla="*/ 1053215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19930"/>
                    <a:gd name="connsiteX1" fmla="*/ 28501 w 494985"/>
                    <a:gd name="connsiteY1" fmla="*/ 0 h 1119930"/>
                    <a:gd name="connsiteX2" fmla="*/ 466484 w 494985"/>
                    <a:gd name="connsiteY2" fmla="*/ 0 h 1119930"/>
                    <a:gd name="connsiteX3" fmla="*/ 494985 w 494985"/>
                    <a:gd name="connsiteY3" fmla="*/ 28501 h 1119930"/>
                    <a:gd name="connsiteX4" fmla="*/ 494985 w 494985"/>
                    <a:gd name="connsiteY4" fmla="*/ 1006985 h 1119930"/>
                    <a:gd name="connsiteX5" fmla="*/ 466484 w 494985"/>
                    <a:gd name="connsiteY5" fmla="*/ 1035486 h 1119930"/>
                    <a:gd name="connsiteX6" fmla="*/ 364775 w 494985"/>
                    <a:gd name="connsiteY6" fmla="*/ 1062739 h 1119930"/>
                    <a:gd name="connsiteX7" fmla="*/ 326675 w 494985"/>
                    <a:gd name="connsiteY7" fmla="*/ 1119889 h 1119930"/>
                    <a:gd name="connsiteX8" fmla="*/ 150463 w 494985"/>
                    <a:gd name="connsiteY8" fmla="*/ 1053215 h 1119930"/>
                    <a:gd name="connsiteX9" fmla="*/ 28501 w 494985"/>
                    <a:gd name="connsiteY9" fmla="*/ 1035486 h 1119930"/>
                    <a:gd name="connsiteX10" fmla="*/ 0 w 494985"/>
                    <a:gd name="connsiteY10" fmla="*/ 1006985 h 1119930"/>
                    <a:gd name="connsiteX11" fmla="*/ 0 w 494985"/>
                    <a:gd name="connsiteY11" fmla="*/ 28501 h 1119930"/>
                    <a:gd name="connsiteX0" fmla="*/ 0 w 494985"/>
                    <a:gd name="connsiteY0" fmla="*/ 28501 h 1120193"/>
                    <a:gd name="connsiteX1" fmla="*/ 28501 w 494985"/>
                    <a:gd name="connsiteY1" fmla="*/ 0 h 1120193"/>
                    <a:gd name="connsiteX2" fmla="*/ 466484 w 494985"/>
                    <a:gd name="connsiteY2" fmla="*/ 0 h 1120193"/>
                    <a:gd name="connsiteX3" fmla="*/ 494985 w 494985"/>
                    <a:gd name="connsiteY3" fmla="*/ 28501 h 1120193"/>
                    <a:gd name="connsiteX4" fmla="*/ 494985 w 494985"/>
                    <a:gd name="connsiteY4" fmla="*/ 1006985 h 1120193"/>
                    <a:gd name="connsiteX5" fmla="*/ 466484 w 494985"/>
                    <a:gd name="connsiteY5" fmla="*/ 1035486 h 1120193"/>
                    <a:gd name="connsiteX6" fmla="*/ 364775 w 494985"/>
                    <a:gd name="connsiteY6" fmla="*/ 1062739 h 1120193"/>
                    <a:gd name="connsiteX7" fmla="*/ 326675 w 494985"/>
                    <a:gd name="connsiteY7" fmla="*/ 1119889 h 1120193"/>
                    <a:gd name="connsiteX8" fmla="*/ 28501 w 494985"/>
                    <a:gd name="connsiteY8" fmla="*/ 1035486 h 1120193"/>
                    <a:gd name="connsiteX9" fmla="*/ 0 w 494985"/>
                    <a:gd name="connsiteY9" fmla="*/ 1006985 h 1120193"/>
                    <a:gd name="connsiteX10" fmla="*/ 0 w 494985"/>
                    <a:gd name="connsiteY10" fmla="*/ 28501 h 1120193"/>
                    <a:gd name="connsiteX0" fmla="*/ 0 w 494985"/>
                    <a:gd name="connsiteY0" fmla="*/ 28501 h 1062739"/>
                    <a:gd name="connsiteX1" fmla="*/ 28501 w 494985"/>
                    <a:gd name="connsiteY1" fmla="*/ 0 h 1062739"/>
                    <a:gd name="connsiteX2" fmla="*/ 466484 w 494985"/>
                    <a:gd name="connsiteY2" fmla="*/ 0 h 1062739"/>
                    <a:gd name="connsiteX3" fmla="*/ 494985 w 494985"/>
                    <a:gd name="connsiteY3" fmla="*/ 28501 h 1062739"/>
                    <a:gd name="connsiteX4" fmla="*/ 494985 w 494985"/>
                    <a:gd name="connsiteY4" fmla="*/ 1006985 h 1062739"/>
                    <a:gd name="connsiteX5" fmla="*/ 466484 w 494985"/>
                    <a:gd name="connsiteY5" fmla="*/ 1035486 h 1062739"/>
                    <a:gd name="connsiteX6" fmla="*/ 364775 w 494985"/>
                    <a:gd name="connsiteY6" fmla="*/ 1062739 h 1062739"/>
                    <a:gd name="connsiteX7" fmla="*/ 28501 w 494985"/>
                    <a:gd name="connsiteY7" fmla="*/ 1035486 h 1062739"/>
                    <a:gd name="connsiteX8" fmla="*/ 0 w 494985"/>
                    <a:gd name="connsiteY8" fmla="*/ 1006985 h 1062739"/>
                    <a:gd name="connsiteX9" fmla="*/ 0 w 494985"/>
                    <a:gd name="connsiteY9" fmla="*/ 28501 h 1062739"/>
                    <a:gd name="connsiteX0" fmla="*/ 0 w 494985"/>
                    <a:gd name="connsiteY0" fmla="*/ 28501 h 1035486"/>
                    <a:gd name="connsiteX1" fmla="*/ 28501 w 494985"/>
                    <a:gd name="connsiteY1" fmla="*/ 0 h 1035486"/>
                    <a:gd name="connsiteX2" fmla="*/ 466484 w 494985"/>
                    <a:gd name="connsiteY2" fmla="*/ 0 h 1035486"/>
                    <a:gd name="connsiteX3" fmla="*/ 494985 w 494985"/>
                    <a:gd name="connsiteY3" fmla="*/ 28501 h 1035486"/>
                    <a:gd name="connsiteX4" fmla="*/ 494985 w 494985"/>
                    <a:gd name="connsiteY4" fmla="*/ 1006985 h 1035486"/>
                    <a:gd name="connsiteX5" fmla="*/ 466484 w 494985"/>
                    <a:gd name="connsiteY5" fmla="*/ 1035486 h 1035486"/>
                    <a:gd name="connsiteX6" fmla="*/ 28501 w 494985"/>
                    <a:gd name="connsiteY6" fmla="*/ 1035486 h 1035486"/>
                    <a:gd name="connsiteX7" fmla="*/ 0 w 494985"/>
                    <a:gd name="connsiteY7" fmla="*/ 1006985 h 1035486"/>
                    <a:gd name="connsiteX8" fmla="*/ 0 w 494985"/>
                    <a:gd name="connsiteY8" fmla="*/ 28501 h 1035486"/>
                    <a:gd name="connsiteX0" fmla="*/ 0 w 494985"/>
                    <a:gd name="connsiteY0" fmla="*/ 28501 h 1038340"/>
                    <a:gd name="connsiteX1" fmla="*/ 28501 w 494985"/>
                    <a:gd name="connsiteY1" fmla="*/ 0 h 1038340"/>
                    <a:gd name="connsiteX2" fmla="*/ 466484 w 494985"/>
                    <a:gd name="connsiteY2" fmla="*/ 0 h 1038340"/>
                    <a:gd name="connsiteX3" fmla="*/ 494985 w 494985"/>
                    <a:gd name="connsiteY3" fmla="*/ 28501 h 1038340"/>
                    <a:gd name="connsiteX4" fmla="*/ 494985 w 494985"/>
                    <a:gd name="connsiteY4" fmla="*/ 1006985 h 1038340"/>
                    <a:gd name="connsiteX5" fmla="*/ 466484 w 494985"/>
                    <a:gd name="connsiteY5" fmla="*/ 1035486 h 1038340"/>
                    <a:gd name="connsiteX6" fmla="*/ 153637 w 494985"/>
                    <a:gd name="connsiteY6" fmla="*/ 1037339 h 1038340"/>
                    <a:gd name="connsiteX7" fmla="*/ 28501 w 494985"/>
                    <a:gd name="connsiteY7" fmla="*/ 1035486 h 1038340"/>
                    <a:gd name="connsiteX8" fmla="*/ 0 w 494985"/>
                    <a:gd name="connsiteY8" fmla="*/ 1006985 h 1038340"/>
                    <a:gd name="connsiteX9" fmla="*/ 0 w 494985"/>
                    <a:gd name="connsiteY9" fmla="*/ 28501 h 1038340"/>
                    <a:gd name="connsiteX0" fmla="*/ 0 w 494985"/>
                    <a:gd name="connsiteY0" fmla="*/ 28501 h 1038241"/>
                    <a:gd name="connsiteX1" fmla="*/ 28501 w 494985"/>
                    <a:gd name="connsiteY1" fmla="*/ 0 h 1038241"/>
                    <a:gd name="connsiteX2" fmla="*/ 466484 w 494985"/>
                    <a:gd name="connsiteY2" fmla="*/ 0 h 1038241"/>
                    <a:gd name="connsiteX3" fmla="*/ 494985 w 494985"/>
                    <a:gd name="connsiteY3" fmla="*/ 28501 h 1038241"/>
                    <a:gd name="connsiteX4" fmla="*/ 494985 w 494985"/>
                    <a:gd name="connsiteY4" fmla="*/ 1006985 h 1038241"/>
                    <a:gd name="connsiteX5" fmla="*/ 466484 w 494985"/>
                    <a:gd name="connsiteY5" fmla="*/ 1035486 h 1038241"/>
                    <a:gd name="connsiteX6" fmla="*/ 274287 w 494985"/>
                    <a:gd name="connsiteY6" fmla="*/ 1037339 h 1038241"/>
                    <a:gd name="connsiteX7" fmla="*/ 153637 w 494985"/>
                    <a:gd name="connsiteY7" fmla="*/ 1037339 h 1038241"/>
                    <a:gd name="connsiteX8" fmla="*/ 28501 w 494985"/>
                    <a:gd name="connsiteY8" fmla="*/ 1035486 h 1038241"/>
                    <a:gd name="connsiteX9" fmla="*/ 0 w 494985"/>
                    <a:gd name="connsiteY9" fmla="*/ 1006985 h 1038241"/>
                    <a:gd name="connsiteX10" fmla="*/ 0 w 494985"/>
                    <a:gd name="connsiteY10" fmla="*/ 28501 h 1038241"/>
                    <a:gd name="connsiteX0" fmla="*/ 0 w 494985"/>
                    <a:gd name="connsiteY0" fmla="*/ 28501 h 1038241"/>
                    <a:gd name="connsiteX1" fmla="*/ 28501 w 494985"/>
                    <a:gd name="connsiteY1" fmla="*/ 0 h 1038241"/>
                    <a:gd name="connsiteX2" fmla="*/ 466484 w 494985"/>
                    <a:gd name="connsiteY2" fmla="*/ 0 h 1038241"/>
                    <a:gd name="connsiteX3" fmla="*/ 494985 w 494985"/>
                    <a:gd name="connsiteY3" fmla="*/ 28501 h 1038241"/>
                    <a:gd name="connsiteX4" fmla="*/ 494985 w 494985"/>
                    <a:gd name="connsiteY4" fmla="*/ 1006985 h 1038241"/>
                    <a:gd name="connsiteX5" fmla="*/ 466484 w 494985"/>
                    <a:gd name="connsiteY5" fmla="*/ 1035486 h 1038241"/>
                    <a:gd name="connsiteX6" fmla="*/ 369537 w 494985"/>
                    <a:gd name="connsiteY6" fmla="*/ 1030990 h 1038241"/>
                    <a:gd name="connsiteX7" fmla="*/ 274287 w 494985"/>
                    <a:gd name="connsiteY7" fmla="*/ 1037339 h 1038241"/>
                    <a:gd name="connsiteX8" fmla="*/ 153637 w 494985"/>
                    <a:gd name="connsiteY8" fmla="*/ 1037339 h 1038241"/>
                    <a:gd name="connsiteX9" fmla="*/ 28501 w 494985"/>
                    <a:gd name="connsiteY9" fmla="*/ 1035486 h 1038241"/>
                    <a:gd name="connsiteX10" fmla="*/ 0 w 494985"/>
                    <a:gd name="connsiteY10" fmla="*/ 1006985 h 1038241"/>
                    <a:gd name="connsiteX11" fmla="*/ 0 w 494985"/>
                    <a:gd name="connsiteY11" fmla="*/ 28501 h 1038241"/>
                    <a:gd name="connsiteX0" fmla="*/ 0 w 494985"/>
                    <a:gd name="connsiteY0" fmla="*/ 28501 h 1107189"/>
                    <a:gd name="connsiteX1" fmla="*/ 28501 w 494985"/>
                    <a:gd name="connsiteY1" fmla="*/ 0 h 1107189"/>
                    <a:gd name="connsiteX2" fmla="*/ 466484 w 494985"/>
                    <a:gd name="connsiteY2" fmla="*/ 0 h 1107189"/>
                    <a:gd name="connsiteX3" fmla="*/ 494985 w 494985"/>
                    <a:gd name="connsiteY3" fmla="*/ 28501 h 1107189"/>
                    <a:gd name="connsiteX4" fmla="*/ 494985 w 494985"/>
                    <a:gd name="connsiteY4" fmla="*/ 1006985 h 1107189"/>
                    <a:gd name="connsiteX5" fmla="*/ 466484 w 494985"/>
                    <a:gd name="connsiteY5" fmla="*/ 1035486 h 1107189"/>
                    <a:gd name="connsiteX6" fmla="*/ 369537 w 494985"/>
                    <a:gd name="connsiteY6" fmla="*/ 1030990 h 1107189"/>
                    <a:gd name="connsiteX7" fmla="*/ 274287 w 494985"/>
                    <a:gd name="connsiteY7" fmla="*/ 1037339 h 1107189"/>
                    <a:gd name="connsiteX8" fmla="*/ 159987 w 494985"/>
                    <a:gd name="connsiteY8" fmla="*/ 1107189 h 1107189"/>
                    <a:gd name="connsiteX9" fmla="*/ 28501 w 494985"/>
                    <a:gd name="connsiteY9" fmla="*/ 1035486 h 1107189"/>
                    <a:gd name="connsiteX10" fmla="*/ 0 w 494985"/>
                    <a:gd name="connsiteY10" fmla="*/ 1006985 h 1107189"/>
                    <a:gd name="connsiteX11" fmla="*/ 0 w 494985"/>
                    <a:gd name="connsiteY11" fmla="*/ 28501 h 1107189"/>
                    <a:gd name="connsiteX0" fmla="*/ 0 w 494985"/>
                    <a:gd name="connsiteY0" fmla="*/ 28501 h 1107189"/>
                    <a:gd name="connsiteX1" fmla="*/ 28501 w 494985"/>
                    <a:gd name="connsiteY1" fmla="*/ 0 h 1107189"/>
                    <a:gd name="connsiteX2" fmla="*/ 466484 w 494985"/>
                    <a:gd name="connsiteY2" fmla="*/ 0 h 1107189"/>
                    <a:gd name="connsiteX3" fmla="*/ 494985 w 494985"/>
                    <a:gd name="connsiteY3" fmla="*/ 28501 h 1107189"/>
                    <a:gd name="connsiteX4" fmla="*/ 494985 w 494985"/>
                    <a:gd name="connsiteY4" fmla="*/ 1006985 h 1107189"/>
                    <a:gd name="connsiteX5" fmla="*/ 466484 w 494985"/>
                    <a:gd name="connsiteY5" fmla="*/ 1035486 h 1107189"/>
                    <a:gd name="connsiteX6" fmla="*/ 369537 w 494985"/>
                    <a:gd name="connsiteY6" fmla="*/ 1030990 h 1107189"/>
                    <a:gd name="connsiteX7" fmla="*/ 274287 w 494985"/>
                    <a:gd name="connsiteY7" fmla="*/ 1100839 h 1107189"/>
                    <a:gd name="connsiteX8" fmla="*/ 159987 w 494985"/>
                    <a:gd name="connsiteY8" fmla="*/ 1107189 h 1107189"/>
                    <a:gd name="connsiteX9" fmla="*/ 28501 w 494985"/>
                    <a:gd name="connsiteY9" fmla="*/ 1035486 h 1107189"/>
                    <a:gd name="connsiteX10" fmla="*/ 0 w 494985"/>
                    <a:gd name="connsiteY10" fmla="*/ 1006985 h 1107189"/>
                    <a:gd name="connsiteX11" fmla="*/ 0 w 494985"/>
                    <a:gd name="connsiteY11" fmla="*/ 28501 h 110718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57605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50461 w 494985"/>
                    <a:gd name="connsiteY8" fmla="*/ 1040514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1980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1980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57"/>
                    <a:gd name="connsiteX1" fmla="*/ 28501 w 494985"/>
                    <a:gd name="connsiteY1" fmla="*/ 0 h 1100857"/>
                    <a:gd name="connsiteX2" fmla="*/ 466484 w 494985"/>
                    <a:gd name="connsiteY2" fmla="*/ 0 h 1100857"/>
                    <a:gd name="connsiteX3" fmla="*/ 494985 w 494985"/>
                    <a:gd name="connsiteY3" fmla="*/ 28501 h 1100857"/>
                    <a:gd name="connsiteX4" fmla="*/ 494985 w 494985"/>
                    <a:gd name="connsiteY4" fmla="*/ 1006985 h 1100857"/>
                    <a:gd name="connsiteX5" fmla="*/ 466484 w 494985"/>
                    <a:gd name="connsiteY5" fmla="*/ 1035486 h 1100857"/>
                    <a:gd name="connsiteX6" fmla="*/ 369537 w 494985"/>
                    <a:gd name="connsiteY6" fmla="*/ 1030990 h 1100857"/>
                    <a:gd name="connsiteX7" fmla="*/ 198087 w 494985"/>
                    <a:gd name="connsiteY7" fmla="*/ 1100839 h 1100857"/>
                    <a:gd name="connsiteX8" fmla="*/ 148080 w 494985"/>
                    <a:gd name="connsiteY8" fmla="*/ 1033370 h 1100857"/>
                    <a:gd name="connsiteX9" fmla="*/ 28501 w 494985"/>
                    <a:gd name="connsiteY9" fmla="*/ 1035486 h 1100857"/>
                    <a:gd name="connsiteX10" fmla="*/ 0 w 494985"/>
                    <a:gd name="connsiteY10" fmla="*/ 1006985 h 1100857"/>
                    <a:gd name="connsiteX11" fmla="*/ 0 w 494985"/>
                    <a:gd name="connsiteY11" fmla="*/ 28501 h 1100857"/>
                    <a:gd name="connsiteX0" fmla="*/ 0 w 494985"/>
                    <a:gd name="connsiteY0" fmla="*/ 28501 h 1101187"/>
                    <a:gd name="connsiteX1" fmla="*/ 28501 w 494985"/>
                    <a:gd name="connsiteY1" fmla="*/ 0 h 1101187"/>
                    <a:gd name="connsiteX2" fmla="*/ 466484 w 494985"/>
                    <a:gd name="connsiteY2" fmla="*/ 0 h 1101187"/>
                    <a:gd name="connsiteX3" fmla="*/ 494985 w 494985"/>
                    <a:gd name="connsiteY3" fmla="*/ 28501 h 1101187"/>
                    <a:gd name="connsiteX4" fmla="*/ 494985 w 494985"/>
                    <a:gd name="connsiteY4" fmla="*/ 1006985 h 1101187"/>
                    <a:gd name="connsiteX5" fmla="*/ 466484 w 494985"/>
                    <a:gd name="connsiteY5" fmla="*/ 1035486 h 1101187"/>
                    <a:gd name="connsiteX6" fmla="*/ 369537 w 494985"/>
                    <a:gd name="connsiteY6" fmla="*/ 1030990 h 1101187"/>
                    <a:gd name="connsiteX7" fmla="*/ 198087 w 494985"/>
                    <a:gd name="connsiteY7" fmla="*/ 1100839 h 1101187"/>
                    <a:gd name="connsiteX8" fmla="*/ 148080 w 494985"/>
                    <a:gd name="connsiteY8" fmla="*/ 1033370 h 1101187"/>
                    <a:gd name="connsiteX9" fmla="*/ 28501 w 494985"/>
                    <a:gd name="connsiteY9" fmla="*/ 1035486 h 1101187"/>
                    <a:gd name="connsiteX10" fmla="*/ 0 w 494985"/>
                    <a:gd name="connsiteY10" fmla="*/ 1006985 h 1101187"/>
                    <a:gd name="connsiteX11" fmla="*/ 0 w 494985"/>
                    <a:gd name="connsiteY11" fmla="*/ 28501 h 1101187"/>
                    <a:gd name="connsiteX0" fmla="*/ 0 w 494985"/>
                    <a:gd name="connsiteY0" fmla="*/ 28501 h 1101096"/>
                    <a:gd name="connsiteX1" fmla="*/ 28501 w 494985"/>
                    <a:gd name="connsiteY1" fmla="*/ 0 h 1101096"/>
                    <a:gd name="connsiteX2" fmla="*/ 466484 w 494985"/>
                    <a:gd name="connsiteY2" fmla="*/ 0 h 1101096"/>
                    <a:gd name="connsiteX3" fmla="*/ 494985 w 494985"/>
                    <a:gd name="connsiteY3" fmla="*/ 28501 h 1101096"/>
                    <a:gd name="connsiteX4" fmla="*/ 494985 w 494985"/>
                    <a:gd name="connsiteY4" fmla="*/ 1006985 h 1101096"/>
                    <a:gd name="connsiteX5" fmla="*/ 466484 w 494985"/>
                    <a:gd name="connsiteY5" fmla="*/ 1035486 h 1101096"/>
                    <a:gd name="connsiteX6" fmla="*/ 369537 w 494985"/>
                    <a:gd name="connsiteY6" fmla="*/ 1030990 h 1101096"/>
                    <a:gd name="connsiteX7" fmla="*/ 290956 w 494985"/>
                    <a:gd name="connsiteY7" fmla="*/ 1055596 h 1101096"/>
                    <a:gd name="connsiteX8" fmla="*/ 198087 w 494985"/>
                    <a:gd name="connsiteY8" fmla="*/ 1100839 h 1101096"/>
                    <a:gd name="connsiteX9" fmla="*/ 148080 w 494985"/>
                    <a:gd name="connsiteY9" fmla="*/ 1033370 h 1101096"/>
                    <a:gd name="connsiteX10" fmla="*/ 28501 w 494985"/>
                    <a:gd name="connsiteY10" fmla="*/ 1035486 h 1101096"/>
                    <a:gd name="connsiteX11" fmla="*/ 0 w 494985"/>
                    <a:gd name="connsiteY11" fmla="*/ 1006985 h 1101096"/>
                    <a:gd name="connsiteX12" fmla="*/ 0 w 494985"/>
                    <a:gd name="connsiteY12" fmla="*/ 28501 h 1101096"/>
                    <a:gd name="connsiteX0" fmla="*/ 0 w 494985"/>
                    <a:gd name="connsiteY0" fmla="*/ 28501 h 1105462"/>
                    <a:gd name="connsiteX1" fmla="*/ 28501 w 494985"/>
                    <a:gd name="connsiteY1" fmla="*/ 0 h 1105462"/>
                    <a:gd name="connsiteX2" fmla="*/ 466484 w 494985"/>
                    <a:gd name="connsiteY2" fmla="*/ 0 h 1105462"/>
                    <a:gd name="connsiteX3" fmla="*/ 494985 w 494985"/>
                    <a:gd name="connsiteY3" fmla="*/ 28501 h 1105462"/>
                    <a:gd name="connsiteX4" fmla="*/ 494985 w 494985"/>
                    <a:gd name="connsiteY4" fmla="*/ 1006985 h 1105462"/>
                    <a:gd name="connsiteX5" fmla="*/ 466484 w 494985"/>
                    <a:gd name="connsiteY5" fmla="*/ 1035486 h 1105462"/>
                    <a:gd name="connsiteX6" fmla="*/ 369537 w 494985"/>
                    <a:gd name="connsiteY6" fmla="*/ 1030990 h 1105462"/>
                    <a:gd name="connsiteX7" fmla="*/ 305243 w 494985"/>
                    <a:gd name="connsiteY7" fmla="*/ 1098458 h 1105462"/>
                    <a:gd name="connsiteX8" fmla="*/ 198087 w 494985"/>
                    <a:gd name="connsiteY8" fmla="*/ 1100839 h 1105462"/>
                    <a:gd name="connsiteX9" fmla="*/ 148080 w 494985"/>
                    <a:gd name="connsiteY9" fmla="*/ 1033370 h 1105462"/>
                    <a:gd name="connsiteX10" fmla="*/ 28501 w 494985"/>
                    <a:gd name="connsiteY10" fmla="*/ 1035486 h 1105462"/>
                    <a:gd name="connsiteX11" fmla="*/ 0 w 494985"/>
                    <a:gd name="connsiteY11" fmla="*/ 1006985 h 1105462"/>
                    <a:gd name="connsiteX12" fmla="*/ 0 w 494985"/>
                    <a:gd name="connsiteY12" fmla="*/ 28501 h 1105462"/>
                    <a:gd name="connsiteX0" fmla="*/ 0 w 494985"/>
                    <a:gd name="connsiteY0" fmla="*/ 28501 h 1105462"/>
                    <a:gd name="connsiteX1" fmla="*/ 28501 w 494985"/>
                    <a:gd name="connsiteY1" fmla="*/ 0 h 1105462"/>
                    <a:gd name="connsiteX2" fmla="*/ 466484 w 494985"/>
                    <a:gd name="connsiteY2" fmla="*/ 0 h 1105462"/>
                    <a:gd name="connsiteX3" fmla="*/ 494985 w 494985"/>
                    <a:gd name="connsiteY3" fmla="*/ 28501 h 1105462"/>
                    <a:gd name="connsiteX4" fmla="*/ 494985 w 494985"/>
                    <a:gd name="connsiteY4" fmla="*/ 1006985 h 1105462"/>
                    <a:gd name="connsiteX5" fmla="*/ 466484 w 494985"/>
                    <a:gd name="connsiteY5" fmla="*/ 1035486 h 1105462"/>
                    <a:gd name="connsiteX6" fmla="*/ 369537 w 494985"/>
                    <a:gd name="connsiteY6" fmla="*/ 1030990 h 1105462"/>
                    <a:gd name="connsiteX7" fmla="*/ 305243 w 494985"/>
                    <a:gd name="connsiteY7" fmla="*/ 1098458 h 1105462"/>
                    <a:gd name="connsiteX8" fmla="*/ 198087 w 494985"/>
                    <a:gd name="connsiteY8" fmla="*/ 1100839 h 1105462"/>
                    <a:gd name="connsiteX9" fmla="*/ 148080 w 494985"/>
                    <a:gd name="connsiteY9" fmla="*/ 1033370 h 1105462"/>
                    <a:gd name="connsiteX10" fmla="*/ 28501 w 494985"/>
                    <a:gd name="connsiteY10" fmla="*/ 1035486 h 1105462"/>
                    <a:gd name="connsiteX11" fmla="*/ 0 w 494985"/>
                    <a:gd name="connsiteY11" fmla="*/ 1006985 h 1105462"/>
                    <a:gd name="connsiteX12" fmla="*/ 0 w 494985"/>
                    <a:gd name="connsiteY12" fmla="*/ 28501 h 110546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48080 w 494985"/>
                    <a:gd name="connsiteY9" fmla="*/ 1033370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48080 w 494985"/>
                    <a:gd name="connsiteY9" fmla="*/ 1033370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71918 w 494985"/>
                    <a:gd name="connsiteY6" fmla="*/ 1041471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71918 w 494985"/>
                    <a:gd name="connsiteY6" fmla="*/ 1041471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71918 w 494985"/>
                    <a:gd name="connsiteY6" fmla="*/ 1041471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6321"/>
                    <a:gd name="connsiteX1" fmla="*/ 28501 w 494985"/>
                    <a:gd name="connsiteY1" fmla="*/ 0 h 1106321"/>
                    <a:gd name="connsiteX2" fmla="*/ 466484 w 494985"/>
                    <a:gd name="connsiteY2" fmla="*/ 0 h 1106321"/>
                    <a:gd name="connsiteX3" fmla="*/ 494985 w 494985"/>
                    <a:gd name="connsiteY3" fmla="*/ 28501 h 1106321"/>
                    <a:gd name="connsiteX4" fmla="*/ 494985 w 494985"/>
                    <a:gd name="connsiteY4" fmla="*/ 1006985 h 1106321"/>
                    <a:gd name="connsiteX5" fmla="*/ 466484 w 494985"/>
                    <a:gd name="connsiteY5" fmla="*/ 1035486 h 1106321"/>
                    <a:gd name="connsiteX6" fmla="*/ 371918 w 494985"/>
                    <a:gd name="connsiteY6" fmla="*/ 1041471 h 1106321"/>
                    <a:gd name="connsiteX7" fmla="*/ 305243 w 494985"/>
                    <a:gd name="connsiteY7" fmla="*/ 1106317 h 1106321"/>
                    <a:gd name="connsiteX8" fmla="*/ 198087 w 494985"/>
                    <a:gd name="connsiteY8" fmla="*/ 1100839 h 1106321"/>
                    <a:gd name="connsiteX9" fmla="*/ 150462 w 494985"/>
                    <a:gd name="connsiteY9" fmla="*/ 1038611 h 1106321"/>
                    <a:gd name="connsiteX10" fmla="*/ 28501 w 494985"/>
                    <a:gd name="connsiteY10" fmla="*/ 1035486 h 1106321"/>
                    <a:gd name="connsiteX11" fmla="*/ 0 w 494985"/>
                    <a:gd name="connsiteY11" fmla="*/ 1006985 h 1106321"/>
                    <a:gd name="connsiteX12" fmla="*/ 0 w 494985"/>
                    <a:gd name="connsiteY12" fmla="*/ 28501 h 1106321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0462 w 494985"/>
                    <a:gd name="connsiteY9" fmla="*/ 103861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79037 w 494985"/>
                    <a:gd name="connsiteY9" fmla="*/ 103599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83799 w 494985"/>
                    <a:gd name="connsiteY9" fmla="*/ 104647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83799 w 494985"/>
                    <a:gd name="connsiteY9" fmla="*/ 104647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83799 w 494985"/>
                    <a:gd name="connsiteY9" fmla="*/ 1046471 h 1102488"/>
                    <a:gd name="connsiteX10" fmla="*/ 153278 w 494985"/>
                    <a:gd name="connsiteY10" fmla="*/ 1037850 h 1102488"/>
                    <a:gd name="connsiteX11" fmla="*/ 28501 w 494985"/>
                    <a:gd name="connsiteY11" fmla="*/ 1035486 h 1102488"/>
                    <a:gd name="connsiteX12" fmla="*/ 0 w 494985"/>
                    <a:gd name="connsiteY12" fmla="*/ 1006985 h 1102488"/>
                    <a:gd name="connsiteX13" fmla="*/ 0 w 494985"/>
                    <a:gd name="connsiteY13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3278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29465 w 494985"/>
                    <a:gd name="connsiteY9" fmla="*/ 104309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29465 w 494985"/>
                    <a:gd name="connsiteY9" fmla="*/ 104309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3654"/>
                    <a:gd name="connsiteX1" fmla="*/ 28501 w 494985"/>
                    <a:gd name="connsiteY1" fmla="*/ 0 h 1103654"/>
                    <a:gd name="connsiteX2" fmla="*/ 466484 w 494985"/>
                    <a:gd name="connsiteY2" fmla="*/ 0 h 1103654"/>
                    <a:gd name="connsiteX3" fmla="*/ 494985 w 494985"/>
                    <a:gd name="connsiteY3" fmla="*/ 28501 h 1103654"/>
                    <a:gd name="connsiteX4" fmla="*/ 494985 w 494985"/>
                    <a:gd name="connsiteY4" fmla="*/ 1006985 h 1103654"/>
                    <a:gd name="connsiteX5" fmla="*/ 466484 w 494985"/>
                    <a:gd name="connsiteY5" fmla="*/ 1035486 h 1103654"/>
                    <a:gd name="connsiteX6" fmla="*/ 371918 w 494985"/>
                    <a:gd name="connsiteY6" fmla="*/ 1041471 h 1103654"/>
                    <a:gd name="connsiteX7" fmla="*/ 307624 w 494985"/>
                    <a:gd name="connsiteY7" fmla="*/ 1101077 h 1103654"/>
                    <a:gd name="connsiteX8" fmla="*/ 198087 w 494985"/>
                    <a:gd name="connsiteY8" fmla="*/ 1100839 h 1103654"/>
                    <a:gd name="connsiteX9" fmla="*/ 136609 w 494985"/>
                    <a:gd name="connsiteY9" fmla="*/ 1037850 h 1103654"/>
                    <a:gd name="connsiteX10" fmla="*/ 28501 w 494985"/>
                    <a:gd name="connsiteY10" fmla="*/ 1035486 h 1103654"/>
                    <a:gd name="connsiteX11" fmla="*/ 0 w 494985"/>
                    <a:gd name="connsiteY11" fmla="*/ 1006985 h 1103654"/>
                    <a:gd name="connsiteX12" fmla="*/ 0 w 494985"/>
                    <a:gd name="connsiteY12" fmla="*/ 28501 h 1103654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6240"/>
                    <a:gd name="connsiteX1" fmla="*/ 28501 w 494985"/>
                    <a:gd name="connsiteY1" fmla="*/ 0 h 1106240"/>
                    <a:gd name="connsiteX2" fmla="*/ 466484 w 494985"/>
                    <a:gd name="connsiteY2" fmla="*/ 0 h 1106240"/>
                    <a:gd name="connsiteX3" fmla="*/ 494985 w 494985"/>
                    <a:gd name="connsiteY3" fmla="*/ 28501 h 1106240"/>
                    <a:gd name="connsiteX4" fmla="*/ 494985 w 494985"/>
                    <a:gd name="connsiteY4" fmla="*/ 1006985 h 1106240"/>
                    <a:gd name="connsiteX5" fmla="*/ 466484 w 494985"/>
                    <a:gd name="connsiteY5" fmla="*/ 1035486 h 1106240"/>
                    <a:gd name="connsiteX6" fmla="*/ 369537 w 494985"/>
                    <a:gd name="connsiteY6" fmla="*/ 1033611 h 1106240"/>
                    <a:gd name="connsiteX7" fmla="*/ 307624 w 494985"/>
                    <a:gd name="connsiteY7" fmla="*/ 1101077 h 1106240"/>
                    <a:gd name="connsiteX8" fmla="*/ 198087 w 494985"/>
                    <a:gd name="connsiteY8" fmla="*/ 1100839 h 1106240"/>
                    <a:gd name="connsiteX9" fmla="*/ 158041 w 494985"/>
                    <a:gd name="connsiteY9" fmla="*/ 1035229 h 1106240"/>
                    <a:gd name="connsiteX10" fmla="*/ 28501 w 494985"/>
                    <a:gd name="connsiteY10" fmla="*/ 1035486 h 1106240"/>
                    <a:gd name="connsiteX11" fmla="*/ 0 w 494985"/>
                    <a:gd name="connsiteY11" fmla="*/ 1006985 h 1106240"/>
                    <a:gd name="connsiteX12" fmla="*/ 0 w 494985"/>
                    <a:gd name="connsiteY12" fmla="*/ 28501 h 1106240"/>
                    <a:gd name="connsiteX0" fmla="*/ 0 w 494985"/>
                    <a:gd name="connsiteY0" fmla="*/ 28501 h 1105659"/>
                    <a:gd name="connsiteX1" fmla="*/ 28501 w 494985"/>
                    <a:gd name="connsiteY1" fmla="*/ 0 h 1105659"/>
                    <a:gd name="connsiteX2" fmla="*/ 466484 w 494985"/>
                    <a:gd name="connsiteY2" fmla="*/ 0 h 1105659"/>
                    <a:gd name="connsiteX3" fmla="*/ 494985 w 494985"/>
                    <a:gd name="connsiteY3" fmla="*/ 28501 h 1105659"/>
                    <a:gd name="connsiteX4" fmla="*/ 494985 w 494985"/>
                    <a:gd name="connsiteY4" fmla="*/ 1006985 h 1105659"/>
                    <a:gd name="connsiteX5" fmla="*/ 466484 w 494985"/>
                    <a:gd name="connsiteY5" fmla="*/ 1035486 h 1105659"/>
                    <a:gd name="connsiteX6" fmla="*/ 371918 w 494985"/>
                    <a:gd name="connsiteY6" fmla="*/ 1041470 h 1105659"/>
                    <a:gd name="connsiteX7" fmla="*/ 307624 w 494985"/>
                    <a:gd name="connsiteY7" fmla="*/ 1101077 h 1105659"/>
                    <a:gd name="connsiteX8" fmla="*/ 198087 w 494985"/>
                    <a:gd name="connsiteY8" fmla="*/ 1100839 h 1105659"/>
                    <a:gd name="connsiteX9" fmla="*/ 158041 w 494985"/>
                    <a:gd name="connsiteY9" fmla="*/ 1035229 h 1105659"/>
                    <a:gd name="connsiteX10" fmla="*/ 28501 w 494985"/>
                    <a:gd name="connsiteY10" fmla="*/ 1035486 h 1105659"/>
                    <a:gd name="connsiteX11" fmla="*/ 0 w 494985"/>
                    <a:gd name="connsiteY11" fmla="*/ 1006985 h 1105659"/>
                    <a:gd name="connsiteX12" fmla="*/ 0 w 494985"/>
                    <a:gd name="connsiteY12" fmla="*/ 28501 h 1105659"/>
                    <a:gd name="connsiteX0" fmla="*/ 0 w 494985"/>
                    <a:gd name="connsiteY0" fmla="*/ 28501 h 1106046"/>
                    <a:gd name="connsiteX1" fmla="*/ 28501 w 494985"/>
                    <a:gd name="connsiteY1" fmla="*/ 0 h 1106046"/>
                    <a:gd name="connsiteX2" fmla="*/ 466484 w 494985"/>
                    <a:gd name="connsiteY2" fmla="*/ 0 h 1106046"/>
                    <a:gd name="connsiteX3" fmla="*/ 494985 w 494985"/>
                    <a:gd name="connsiteY3" fmla="*/ 28501 h 1106046"/>
                    <a:gd name="connsiteX4" fmla="*/ 494985 w 494985"/>
                    <a:gd name="connsiteY4" fmla="*/ 1006985 h 1106046"/>
                    <a:gd name="connsiteX5" fmla="*/ 466484 w 494985"/>
                    <a:gd name="connsiteY5" fmla="*/ 1035486 h 1106046"/>
                    <a:gd name="connsiteX6" fmla="*/ 364775 w 494985"/>
                    <a:gd name="connsiteY6" fmla="*/ 1036230 h 1106046"/>
                    <a:gd name="connsiteX7" fmla="*/ 307624 w 494985"/>
                    <a:gd name="connsiteY7" fmla="*/ 1101077 h 1106046"/>
                    <a:gd name="connsiteX8" fmla="*/ 198087 w 494985"/>
                    <a:gd name="connsiteY8" fmla="*/ 1100839 h 1106046"/>
                    <a:gd name="connsiteX9" fmla="*/ 158041 w 494985"/>
                    <a:gd name="connsiteY9" fmla="*/ 1035229 h 1106046"/>
                    <a:gd name="connsiteX10" fmla="*/ 28501 w 494985"/>
                    <a:gd name="connsiteY10" fmla="*/ 1035486 h 1106046"/>
                    <a:gd name="connsiteX11" fmla="*/ 0 w 494985"/>
                    <a:gd name="connsiteY11" fmla="*/ 1006985 h 1106046"/>
                    <a:gd name="connsiteX12" fmla="*/ 0 w 494985"/>
                    <a:gd name="connsiteY12" fmla="*/ 28501 h 1106046"/>
                    <a:gd name="connsiteX0" fmla="*/ 0 w 494985"/>
                    <a:gd name="connsiteY0" fmla="*/ 28501 h 1106046"/>
                    <a:gd name="connsiteX1" fmla="*/ 28501 w 494985"/>
                    <a:gd name="connsiteY1" fmla="*/ 0 h 1106046"/>
                    <a:gd name="connsiteX2" fmla="*/ 466484 w 494985"/>
                    <a:gd name="connsiteY2" fmla="*/ 0 h 1106046"/>
                    <a:gd name="connsiteX3" fmla="*/ 494985 w 494985"/>
                    <a:gd name="connsiteY3" fmla="*/ 28501 h 1106046"/>
                    <a:gd name="connsiteX4" fmla="*/ 494985 w 494985"/>
                    <a:gd name="connsiteY4" fmla="*/ 1006985 h 1106046"/>
                    <a:gd name="connsiteX5" fmla="*/ 466484 w 494985"/>
                    <a:gd name="connsiteY5" fmla="*/ 1035486 h 1106046"/>
                    <a:gd name="connsiteX6" fmla="*/ 364775 w 494985"/>
                    <a:gd name="connsiteY6" fmla="*/ 1036230 h 1106046"/>
                    <a:gd name="connsiteX7" fmla="*/ 307624 w 494985"/>
                    <a:gd name="connsiteY7" fmla="*/ 1101077 h 1106046"/>
                    <a:gd name="connsiteX8" fmla="*/ 198087 w 494985"/>
                    <a:gd name="connsiteY8" fmla="*/ 1100839 h 1106046"/>
                    <a:gd name="connsiteX9" fmla="*/ 158041 w 494985"/>
                    <a:gd name="connsiteY9" fmla="*/ 1035229 h 1106046"/>
                    <a:gd name="connsiteX10" fmla="*/ 28501 w 494985"/>
                    <a:gd name="connsiteY10" fmla="*/ 1035486 h 1106046"/>
                    <a:gd name="connsiteX11" fmla="*/ 0 w 494985"/>
                    <a:gd name="connsiteY11" fmla="*/ 1006985 h 1106046"/>
                    <a:gd name="connsiteX12" fmla="*/ 0 w 494985"/>
                    <a:gd name="connsiteY12" fmla="*/ 28501 h 1106046"/>
                    <a:gd name="connsiteX0" fmla="*/ 0 w 494985"/>
                    <a:gd name="connsiteY0" fmla="*/ 28501 h 1104264"/>
                    <a:gd name="connsiteX1" fmla="*/ 28501 w 494985"/>
                    <a:gd name="connsiteY1" fmla="*/ 0 h 1104264"/>
                    <a:gd name="connsiteX2" fmla="*/ 466484 w 494985"/>
                    <a:gd name="connsiteY2" fmla="*/ 0 h 1104264"/>
                    <a:gd name="connsiteX3" fmla="*/ 494985 w 494985"/>
                    <a:gd name="connsiteY3" fmla="*/ 28501 h 1104264"/>
                    <a:gd name="connsiteX4" fmla="*/ 494985 w 494985"/>
                    <a:gd name="connsiteY4" fmla="*/ 1006985 h 1104264"/>
                    <a:gd name="connsiteX5" fmla="*/ 466484 w 494985"/>
                    <a:gd name="connsiteY5" fmla="*/ 1035486 h 1104264"/>
                    <a:gd name="connsiteX6" fmla="*/ 364775 w 494985"/>
                    <a:gd name="connsiteY6" fmla="*/ 1036230 h 1104264"/>
                    <a:gd name="connsiteX7" fmla="*/ 312387 w 494985"/>
                    <a:gd name="connsiteY7" fmla="*/ 1098457 h 1104264"/>
                    <a:gd name="connsiteX8" fmla="*/ 198087 w 494985"/>
                    <a:gd name="connsiteY8" fmla="*/ 1100839 h 1104264"/>
                    <a:gd name="connsiteX9" fmla="*/ 158041 w 494985"/>
                    <a:gd name="connsiteY9" fmla="*/ 1035229 h 1104264"/>
                    <a:gd name="connsiteX10" fmla="*/ 28501 w 494985"/>
                    <a:gd name="connsiteY10" fmla="*/ 1035486 h 1104264"/>
                    <a:gd name="connsiteX11" fmla="*/ 0 w 494985"/>
                    <a:gd name="connsiteY11" fmla="*/ 1006985 h 1104264"/>
                    <a:gd name="connsiteX12" fmla="*/ 0 w 494985"/>
                    <a:gd name="connsiteY12" fmla="*/ 28501 h 1104264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4775 w 494985"/>
                    <a:gd name="connsiteY6" fmla="*/ 1036230 h 1100839"/>
                    <a:gd name="connsiteX7" fmla="*/ 312387 w 494985"/>
                    <a:gd name="connsiteY7" fmla="*/ 1098457 h 1100839"/>
                    <a:gd name="connsiteX8" fmla="*/ 198087 w 494985"/>
                    <a:gd name="connsiteY8" fmla="*/ 1100839 h 1100839"/>
                    <a:gd name="connsiteX9" fmla="*/ 158041 w 494985"/>
                    <a:gd name="connsiteY9" fmla="*/ 1035229 h 1100839"/>
                    <a:gd name="connsiteX10" fmla="*/ 28501 w 494985"/>
                    <a:gd name="connsiteY10" fmla="*/ 1035486 h 1100839"/>
                    <a:gd name="connsiteX11" fmla="*/ 0 w 494985"/>
                    <a:gd name="connsiteY11" fmla="*/ 1006985 h 1100839"/>
                    <a:gd name="connsiteX12" fmla="*/ 0 w 494985"/>
                    <a:gd name="connsiteY12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4775 w 494985"/>
                    <a:gd name="connsiteY6" fmla="*/ 1036230 h 1100839"/>
                    <a:gd name="connsiteX7" fmla="*/ 198087 w 494985"/>
                    <a:gd name="connsiteY7" fmla="*/ 1100839 h 1100839"/>
                    <a:gd name="connsiteX8" fmla="*/ 158041 w 494985"/>
                    <a:gd name="connsiteY8" fmla="*/ 1035229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4775 w 494985"/>
                    <a:gd name="connsiteY6" fmla="*/ 1036230 h 1100839"/>
                    <a:gd name="connsiteX7" fmla="*/ 289009 w 494985"/>
                    <a:gd name="connsiteY7" fmla="*/ 1064051 h 1100839"/>
                    <a:gd name="connsiteX8" fmla="*/ 198087 w 494985"/>
                    <a:gd name="connsiteY8" fmla="*/ 1100839 h 1100839"/>
                    <a:gd name="connsiteX9" fmla="*/ 158041 w 494985"/>
                    <a:gd name="connsiteY9" fmla="*/ 1035229 h 1100839"/>
                    <a:gd name="connsiteX10" fmla="*/ 28501 w 494985"/>
                    <a:gd name="connsiteY10" fmla="*/ 1035486 h 1100839"/>
                    <a:gd name="connsiteX11" fmla="*/ 0 w 494985"/>
                    <a:gd name="connsiteY11" fmla="*/ 1006985 h 1100839"/>
                    <a:gd name="connsiteX12" fmla="*/ 0 w 494985"/>
                    <a:gd name="connsiteY12" fmla="*/ 28501 h 1100839"/>
                    <a:gd name="connsiteX0" fmla="*/ 0 w 494985"/>
                    <a:gd name="connsiteY0" fmla="*/ 28501 h 1103352"/>
                    <a:gd name="connsiteX1" fmla="*/ 28501 w 494985"/>
                    <a:gd name="connsiteY1" fmla="*/ 0 h 1103352"/>
                    <a:gd name="connsiteX2" fmla="*/ 466484 w 494985"/>
                    <a:gd name="connsiteY2" fmla="*/ 0 h 1103352"/>
                    <a:gd name="connsiteX3" fmla="*/ 494985 w 494985"/>
                    <a:gd name="connsiteY3" fmla="*/ 28501 h 1103352"/>
                    <a:gd name="connsiteX4" fmla="*/ 494985 w 494985"/>
                    <a:gd name="connsiteY4" fmla="*/ 1006985 h 1103352"/>
                    <a:gd name="connsiteX5" fmla="*/ 466484 w 494985"/>
                    <a:gd name="connsiteY5" fmla="*/ 1035486 h 1103352"/>
                    <a:gd name="connsiteX6" fmla="*/ 364775 w 494985"/>
                    <a:gd name="connsiteY6" fmla="*/ 1036230 h 1103352"/>
                    <a:gd name="connsiteX7" fmla="*/ 291390 w 494985"/>
                    <a:gd name="connsiteY7" fmla="*/ 1103352 h 1103352"/>
                    <a:gd name="connsiteX8" fmla="*/ 198087 w 494985"/>
                    <a:gd name="connsiteY8" fmla="*/ 1100839 h 1103352"/>
                    <a:gd name="connsiteX9" fmla="*/ 158041 w 494985"/>
                    <a:gd name="connsiteY9" fmla="*/ 1035229 h 1103352"/>
                    <a:gd name="connsiteX10" fmla="*/ 28501 w 494985"/>
                    <a:gd name="connsiteY10" fmla="*/ 1035486 h 1103352"/>
                    <a:gd name="connsiteX11" fmla="*/ 0 w 494985"/>
                    <a:gd name="connsiteY11" fmla="*/ 1006985 h 1103352"/>
                    <a:gd name="connsiteX12" fmla="*/ 0 w 494985"/>
                    <a:gd name="connsiteY12" fmla="*/ 28501 h 1103352"/>
                    <a:gd name="connsiteX0" fmla="*/ 0 w 494985"/>
                    <a:gd name="connsiteY0" fmla="*/ 28501 h 1103352"/>
                    <a:gd name="connsiteX1" fmla="*/ 28501 w 494985"/>
                    <a:gd name="connsiteY1" fmla="*/ 0 h 1103352"/>
                    <a:gd name="connsiteX2" fmla="*/ 466484 w 494985"/>
                    <a:gd name="connsiteY2" fmla="*/ 0 h 1103352"/>
                    <a:gd name="connsiteX3" fmla="*/ 494985 w 494985"/>
                    <a:gd name="connsiteY3" fmla="*/ 28501 h 1103352"/>
                    <a:gd name="connsiteX4" fmla="*/ 494985 w 494985"/>
                    <a:gd name="connsiteY4" fmla="*/ 1006985 h 1103352"/>
                    <a:gd name="connsiteX5" fmla="*/ 466484 w 494985"/>
                    <a:gd name="connsiteY5" fmla="*/ 1035486 h 1103352"/>
                    <a:gd name="connsiteX6" fmla="*/ 352869 w 494985"/>
                    <a:gd name="connsiteY6" fmla="*/ 1036230 h 1103352"/>
                    <a:gd name="connsiteX7" fmla="*/ 291390 w 494985"/>
                    <a:gd name="connsiteY7" fmla="*/ 1103352 h 1103352"/>
                    <a:gd name="connsiteX8" fmla="*/ 198087 w 494985"/>
                    <a:gd name="connsiteY8" fmla="*/ 1100839 h 1103352"/>
                    <a:gd name="connsiteX9" fmla="*/ 158041 w 494985"/>
                    <a:gd name="connsiteY9" fmla="*/ 1035229 h 1103352"/>
                    <a:gd name="connsiteX10" fmla="*/ 28501 w 494985"/>
                    <a:gd name="connsiteY10" fmla="*/ 1035486 h 1103352"/>
                    <a:gd name="connsiteX11" fmla="*/ 0 w 494985"/>
                    <a:gd name="connsiteY11" fmla="*/ 1006985 h 1103352"/>
                    <a:gd name="connsiteX12" fmla="*/ 0 w 494985"/>
                    <a:gd name="connsiteY12" fmla="*/ 28501 h 1103352"/>
                    <a:gd name="connsiteX0" fmla="*/ 0 w 494985"/>
                    <a:gd name="connsiteY0" fmla="*/ 28501 h 1103352"/>
                    <a:gd name="connsiteX1" fmla="*/ 28501 w 494985"/>
                    <a:gd name="connsiteY1" fmla="*/ 0 h 1103352"/>
                    <a:gd name="connsiteX2" fmla="*/ 466484 w 494985"/>
                    <a:gd name="connsiteY2" fmla="*/ 0 h 1103352"/>
                    <a:gd name="connsiteX3" fmla="*/ 494985 w 494985"/>
                    <a:gd name="connsiteY3" fmla="*/ 28501 h 1103352"/>
                    <a:gd name="connsiteX4" fmla="*/ 494985 w 494985"/>
                    <a:gd name="connsiteY4" fmla="*/ 1006985 h 1103352"/>
                    <a:gd name="connsiteX5" fmla="*/ 466484 w 494985"/>
                    <a:gd name="connsiteY5" fmla="*/ 1035486 h 1103352"/>
                    <a:gd name="connsiteX6" fmla="*/ 340962 w 494985"/>
                    <a:gd name="connsiteY6" fmla="*/ 1036230 h 1103352"/>
                    <a:gd name="connsiteX7" fmla="*/ 291390 w 494985"/>
                    <a:gd name="connsiteY7" fmla="*/ 1103352 h 1103352"/>
                    <a:gd name="connsiteX8" fmla="*/ 198087 w 494985"/>
                    <a:gd name="connsiteY8" fmla="*/ 1100839 h 1103352"/>
                    <a:gd name="connsiteX9" fmla="*/ 158041 w 494985"/>
                    <a:gd name="connsiteY9" fmla="*/ 1035229 h 1103352"/>
                    <a:gd name="connsiteX10" fmla="*/ 28501 w 494985"/>
                    <a:gd name="connsiteY10" fmla="*/ 1035486 h 1103352"/>
                    <a:gd name="connsiteX11" fmla="*/ 0 w 494985"/>
                    <a:gd name="connsiteY11" fmla="*/ 1006985 h 1103352"/>
                    <a:gd name="connsiteX12" fmla="*/ 0 w 494985"/>
                    <a:gd name="connsiteY12" fmla="*/ 28501 h 1103352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1390 w 494985"/>
                    <a:gd name="connsiteY7" fmla="*/ 1103352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1390 w 494985"/>
                    <a:gd name="connsiteY7" fmla="*/ 1103352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1390 w 494985"/>
                    <a:gd name="connsiteY7" fmla="*/ 1103352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13832"/>
                    <a:gd name="connsiteX1" fmla="*/ 28501 w 494985"/>
                    <a:gd name="connsiteY1" fmla="*/ 0 h 1113832"/>
                    <a:gd name="connsiteX2" fmla="*/ 466484 w 494985"/>
                    <a:gd name="connsiteY2" fmla="*/ 0 h 1113832"/>
                    <a:gd name="connsiteX3" fmla="*/ 494985 w 494985"/>
                    <a:gd name="connsiteY3" fmla="*/ 28501 h 1113832"/>
                    <a:gd name="connsiteX4" fmla="*/ 494985 w 494985"/>
                    <a:gd name="connsiteY4" fmla="*/ 1006985 h 1113832"/>
                    <a:gd name="connsiteX5" fmla="*/ 466484 w 494985"/>
                    <a:gd name="connsiteY5" fmla="*/ 1035486 h 1113832"/>
                    <a:gd name="connsiteX6" fmla="*/ 340962 w 494985"/>
                    <a:gd name="connsiteY6" fmla="*/ 1036230 h 1113832"/>
                    <a:gd name="connsiteX7" fmla="*/ 293772 w 494985"/>
                    <a:gd name="connsiteY7" fmla="*/ 1113832 h 1113832"/>
                    <a:gd name="connsiteX8" fmla="*/ 200469 w 494985"/>
                    <a:gd name="connsiteY8" fmla="*/ 1108699 h 1113832"/>
                    <a:gd name="connsiteX9" fmla="*/ 158041 w 494985"/>
                    <a:gd name="connsiteY9" fmla="*/ 1035229 h 1113832"/>
                    <a:gd name="connsiteX10" fmla="*/ 28501 w 494985"/>
                    <a:gd name="connsiteY10" fmla="*/ 1035486 h 1113832"/>
                    <a:gd name="connsiteX11" fmla="*/ 0 w 494985"/>
                    <a:gd name="connsiteY11" fmla="*/ 1006985 h 1113832"/>
                    <a:gd name="connsiteX12" fmla="*/ 0 w 494985"/>
                    <a:gd name="connsiteY12" fmla="*/ 28501 h 1113832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305679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94985" h="1108699">
                      <a:moveTo>
                        <a:pt x="0" y="28501"/>
                      </a:moveTo>
                      <a:cubicBezTo>
                        <a:pt x="0" y="12760"/>
                        <a:pt x="12760" y="0"/>
                        <a:pt x="28501" y="0"/>
                      </a:cubicBezTo>
                      <a:lnTo>
                        <a:pt x="466484" y="0"/>
                      </a:lnTo>
                      <a:cubicBezTo>
                        <a:pt x="482225" y="0"/>
                        <a:pt x="494985" y="12760"/>
                        <a:pt x="494985" y="28501"/>
                      </a:cubicBezTo>
                      <a:lnTo>
                        <a:pt x="494985" y="1006985"/>
                      </a:lnTo>
                      <a:cubicBezTo>
                        <a:pt x="494985" y="1022726"/>
                        <a:pt x="482225" y="1035486"/>
                        <a:pt x="466484" y="1035486"/>
                      </a:cubicBezTo>
                      <a:lnTo>
                        <a:pt x="340962" y="1036230"/>
                      </a:lnTo>
                      <a:lnTo>
                        <a:pt x="305679" y="1108591"/>
                      </a:lnTo>
                      <a:lnTo>
                        <a:pt x="186182" y="1108699"/>
                      </a:lnTo>
                      <a:lnTo>
                        <a:pt x="158041" y="1035229"/>
                      </a:lnTo>
                      <a:lnTo>
                        <a:pt x="28501" y="1035486"/>
                      </a:lnTo>
                      <a:cubicBezTo>
                        <a:pt x="12760" y="1035486"/>
                        <a:pt x="0" y="1022726"/>
                        <a:pt x="0" y="1006985"/>
                      </a:cubicBezTo>
                      <a:lnTo>
                        <a:pt x="0" y="28501"/>
                      </a:lnTo>
                      <a:close/>
                    </a:path>
                  </a:pathLst>
                </a:custGeom>
                <a:solidFill>
                  <a:srgbClr val="0078D7"/>
                </a:solidFill>
                <a:ln w="9525" cmpd="sng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lIns="89630" tIns="89630" rIns="0" rtlCol="0" anchor="t"/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457112">
                    <a:lnSpc>
                      <a:spcPct val="90000"/>
                    </a:lnSpc>
                  </a:pPr>
                  <a:r>
                    <a:rPr lang="en-US" sz="2000" kern="0" dirty="0" err="1">
                      <a:gradFill>
                        <a:gsLst>
                          <a:gs pos="2917">
                            <a:schemeClr val="bg1"/>
                          </a:gs>
                          <a:gs pos="100000">
                            <a:schemeClr val="bg1"/>
                          </a:gs>
                        </a:gsLst>
                        <a:lin ang="5400000" scaled="0"/>
                      </a:gra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MLlib</a:t>
                  </a:r>
                  <a:r>
                    <a:rPr lang="en-US" sz="2000" kern="0" dirty="0">
                      <a:gradFill>
                        <a:gsLst>
                          <a:gs pos="2917">
                            <a:schemeClr val="bg1"/>
                          </a:gs>
                          <a:gs pos="100000">
                            <a:schemeClr val="bg1"/>
                          </a:gs>
                        </a:gsLst>
                        <a:lin ang="5400000" scaled="0"/>
                      </a:gra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 (Machine Learning)</a:t>
                  </a:r>
                  <a:endParaRPr lang="en-US" sz="1600" b="1" kern="0" dirty="0">
                    <a:gradFill>
                      <a:gsLst>
                        <a:gs pos="2917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0"/>
                    </a:gradFill>
                    <a:cs typeface="Arial"/>
                  </a:endParaRPr>
                </a:p>
              </p:txBody>
            </p:sp>
            <p:sp>
              <p:nvSpPr>
                <p:cNvPr id="23" name="Rounded Rectangle 37"/>
                <p:cNvSpPr>
                  <a:spLocks/>
                </p:cNvSpPr>
                <p:nvPr/>
              </p:nvSpPr>
              <p:spPr>
                <a:xfrm>
                  <a:off x="3228056" y="3953245"/>
                  <a:ext cx="793188" cy="1273723"/>
                </a:xfrm>
                <a:custGeom>
                  <a:avLst/>
                  <a:gdLst>
                    <a:gd name="connsiteX0" fmla="*/ 0 w 494985"/>
                    <a:gd name="connsiteY0" fmla="*/ 28501 h 1035486"/>
                    <a:gd name="connsiteX1" fmla="*/ 28501 w 494985"/>
                    <a:gd name="connsiteY1" fmla="*/ 0 h 1035486"/>
                    <a:gd name="connsiteX2" fmla="*/ 466484 w 494985"/>
                    <a:gd name="connsiteY2" fmla="*/ 0 h 1035486"/>
                    <a:gd name="connsiteX3" fmla="*/ 494985 w 494985"/>
                    <a:gd name="connsiteY3" fmla="*/ 28501 h 1035486"/>
                    <a:gd name="connsiteX4" fmla="*/ 494985 w 494985"/>
                    <a:gd name="connsiteY4" fmla="*/ 1006985 h 1035486"/>
                    <a:gd name="connsiteX5" fmla="*/ 466484 w 494985"/>
                    <a:gd name="connsiteY5" fmla="*/ 1035486 h 1035486"/>
                    <a:gd name="connsiteX6" fmla="*/ 28501 w 494985"/>
                    <a:gd name="connsiteY6" fmla="*/ 1035486 h 1035486"/>
                    <a:gd name="connsiteX7" fmla="*/ 0 w 494985"/>
                    <a:gd name="connsiteY7" fmla="*/ 1006985 h 1035486"/>
                    <a:gd name="connsiteX8" fmla="*/ 0 w 494985"/>
                    <a:gd name="connsiteY8" fmla="*/ 28501 h 1035486"/>
                    <a:gd name="connsiteX0" fmla="*/ 0 w 494985"/>
                    <a:gd name="connsiteY0" fmla="*/ 28501 h 1100841"/>
                    <a:gd name="connsiteX1" fmla="*/ 28501 w 494985"/>
                    <a:gd name="connsiteY1" fmla="*/ 0 h 1100841"/>
                    <a:gd name="connsiteX2" fmla="*/ 466484 w 494985"/>
                    <a:gd name="connsiteY2" fmla="*/ 0 h 1100841"/>
                    <a:gd name="connsiteX3" fmla="*/ 494985 w 494985"/>
                    <a:gd name="connsiteY3" fmla="*/ 28501 h 1100841"/>
                    <a:gd name="connsiteX4" fmla="*/ 494985 w 494985"/>
                    <a:gd name="connsiteY4" fmla="*/ 1006985 h 1100841"/>
                    <a:gd name="connsiteX5" fmla="*/ 466484 w 494985"/>
                    <a:gd name="connsiteY5" fmla="*/ 1035486 h 1100841"/>
                    <a:gd name="connsiteX6" fmla="*/ 202850 w 494985"/>
                    <a:gd name="connsiteY6" fmla="*/ 1100839 h 1100841"/>
                    <a:gd name="connsiteX7" fmla="*/ 28501 w 494985"/>
                    <a:gd name="connsiteY7" fmla="*/ 1035486 h 1100841"/>
                    <a:gd name="connsiteX8" fmla="*/ 0 w 494985"/>
                    <a:gd name="connsiteY8" fmla="*/ 1006985 h 1100841"/>
                    <a:gd name="connsiteX9" fmla="*/ 0 w 494985"/>
                    <a:gd name="connsiteY9" fmla="*/ 28501 h 1100841"/>
                    <a:gd name="connsiteX0" fmla="*/ 0 w 494985"/>
                    <a:gd name="connsiteY0" fmla="*/ 28501 h 1122703"/>
                    <a:gd name="connsiteX1" fmla="*/ 28501 w 494985"/>
                    <a:gd name="connsiteY1" fmla="*/ 0 h 1122703"/>
                    <a:gd name="connsiteX2" fmla="*/ 466484 w 494985"/>
                    <a:gd name="connsiteY2" fmla="*/ 0 h 1122703"/>
                    <a:gd name="connsiteX3" fmla="*/ 494985 w 494985"/>
                    <a:gd name="connsiteY3" fmla="*/ 28501 h 1122703"/>
                    <a:gd name="connsiteX4" fmla="*/ 494985 w 494985"/>
                    <a:gd name="connsiteY4" fmla="*/ 1006985 h 1122703"/>
                    <a:gd name="connsiteX5" fmla="*/ 466484 w 494985"/>
                    <a:gd name="connsiteY5" fmla="*/ 1035486 h 1122703"/>
                    <a:gd name="connsiteX6" fmla="*/ 326675 w 494985"/>
                    <a:gd name="connsiteY6" fmla="*/ 1119889 h 1122703"/>
                    <a:gd name="connsiteX7" fmla="*/ 202850 w 494985"/>
                    <a:gd name="connsiteY7" fmla="*/ 1100839 h 1122703"/>
                    <a:gd name="connsiteX8" fmla="*/ 28501 w 494985"/>
                    <a:gd name="connsiteY8" fmla="*/ 1035486 h 1122703"/>
                    <a:gd name="connsiteX9" fmla="*/ 0 w 494985"/>
                    <a:gd name="connsiteY9" fmla="*/ 1006985 h 1122703"/>
                    <a:gd name="connsiteX10" fmla="*/ 0 w 494985"/>
                    <a:gd name="connsiteY10" fmla="*/ 28501 h 1122703"/>
                    <a:gd name="connsiteX0" fmla="*/ 0 w 494985"/>
                    <a:gd name="connsiteY0" fmla="*/ 28501 h 1120138"/>
                    <a:gd name="connsiteX1" fmla="*/ 28501 w 494985"/>
                    <a:gd name="connsiteY1" fmla="*/ 0 h 1120138"/>
                    <a:gd name="connsiteX2" fmla="*/ 466484 w 494985"/>
                    <a:gd name="connsiteY2" fmla="*/ 0 h 1120138"/>
                    <a:gd name="connsiteX3" fmla="*/ 494985 w 494985"/>
                    <a:gd name="connsiteY3" fmla="*/ 28501 h 1120138"/>
                    <a:gd name="connsiteX4" fmla="*/ 494985 w 494985"/>
                    <a:gd name="connsiteY4" fmla="*/ 1006985 h 1120138"/>
                    <a:gd name="connsiteX5" fmla="*/ 466484 w 494985"/>
                    <a:gd name="connsiteY5" fmla="*/ 1035486 h 1120138"/>
                    <a:gd name="connsiteX6" fmla="*/ 364775 w 494985"/>
                    <a:gd name="connsiteY6" fmla="*/ 1062739 h 1120138"/>
                    <a:gd name="connsiteX7" fmla="*/ 326675 w 494985"/>
                    <a:gd name="connsiteY7" fmla="*/ 1119889 h 1120138"/>
                    <a:gd name="connsiteX8" fmla="*/ 202850 w 494985"/>
                    <a:gd name="connsiteY8" fmla="*/ 1100839 h 1120138"/>
                    <a:gd name="connsiteX9" fmla="*/ 28501 w 494985"/>
                    <a:gd name="connsiteY9" fmla="*/ 1035486 h 1120138"/>
                    <a:gd name="connsiteX10" fmla="*/ 0 w 494985"/>
                    <a:gd name="connsiteY10" fmla="*/ 1006985 h 1120138"/>
                    <a:gd name="connsiteX11" fmla="*/ 0 w 494985"/>
                    <a:gd name="connsiteY11" fmla="*/ 28501 h 1120138"/>
                    <a:gd name="connsiteX0" fmla="*/ 0 w 494985"/>
                    <a:gd name="connsiteY0" fmla="*/ 28501 h 1126828"/>
                    <a:gd name="connsiteX1" fmla="*/ 28501 w 494985"/>
                    <a:gd name="connsiteY1" fmla="*/ 0 h 1126828"/>
                    <a:gd name="connsiteX2" fmla="*/ 466484 w 494985"/>
                    <a:gd name="connsiteY2" fmla="*/ 0 h 1126828"/>
                    <a:gd name="connsiteX3" fmla="*/ 494985 w 494985"/>
                    <a:gd name="connsiteY3" fmla="*/ 28501 h 1126828"/>
                    <a:gd name="connsiteX4" fmla="*/ 494985 w 494985"/>
                    <a:gd name="connsiteY4" fmla="*/ 1006985 h 1126828"/>
                    <a:gd name="connsiteX5" fmla="*/ 466484 w 494985"/>
                    <a:gd name="connsiteY5" fmla="*/ 1035486 h 1126828"/>
                    <a:gd name="connsiteX6" fmla="*/ 364775 w 494985"/>
                    <a:gd name="connsiteY6" fmla="*/ 1062739 h 1126828"/>
                    <a:gd name="connsiteX7" fmla="*/ 326675 w 494985"/>
                    <a:gd name="connsiteY7" fmla="*/ 1119889 h 1126828"/>
                    <a:gd name="connsiteX8" fmla="*/ 212375 w 494985"/>
                    <a:gd name="connsiteY8" fmla="*/ 1124651 h 1126828"/>
                    <a:gd name="connsiteX9" fmla="*/ 28501 w 494985"/>
                    <a:gd name="connsiteY9" fmla="*/ 1035486 h 1126828"/>
                    <a:gd name="connsiteX10" fmla="*/ 0 w 494985"/>
                    <a:gd name="connsiteY10" fmla="*/ 1006985 h 1126828"/>
                    <a:gd name="connsiteX11" fmla="*/ 0 w 494985"/>
                    <a:gd name="connsiteY11" fmla="*/ 28501 h 1126828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45700 w 494985"/>
                    <a:gd name="connsiteY9" fmla="*/ 1038927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45700 w 494985"/>
                    <a:gd name="connsiteY9" fmla="*/ 1038927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50463 w 494985"/>
                    <a:gd name="connsiteY9" fmla="*/ 1053215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50463 w 494985"/>
                    <a:gd name="connsiteY9" fmla="*/ 1053215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19930"/>
                    <a:gd name="connsiteX1" fmla="*/ 28501 w 494985"/>
                    <a:gd name="connsiteY1" fmla="*/ 0 h 1119930"/>
                    <a:gd name="connsiteX2" fmla="*/ 466484 w 494985"/>
                    <a:gd name="connsiteY2" fmla="*/ 0 h 1119930"/>
                    <a:gd name="connsiteX3" fmla="*/ 494985 w 494985"/>
                    <a:gd name="connsiteY3" fmla="*/ 28501 h 1119930"/>
                    <a:gd name="connsiteX4" fmla="*/ 494985 w 494985"/>
                    <a:gd name="connsiteY4" fmla="*/ 1006985 h 1119930"/>
                    <a:gd name="connsiteX5" fmla="*/ 466484 w 494985"/>
                    <a:gd name="connsiteY5" fmla="*/ 1035486 h 1119930"/>
                    <a:gd name="connsiteX6" fmla="*/ 364775 w 494985"/>
                    <a:gd name="connsiteY6" fmla="*/ 1062739 h 1119930"/>
                    <a:gd name="connsiteX7" fmla="*/ 326675 w 494985"/>
                    <a:gd name="connsiteY7" fmla="*/ 1119889 h 1119930"/>
                    <a:gd name="connsiteX8" fmla="*/ 150463 w 494985"/>
                    <a:gd name="connsiteY8" fmla="*/ 1053215 h 1119930"/>
                    <a:gd name="connsiteX9" fmla="*/ 28501 w 494985"/>
                    <a:gd name="connsiteY9" fmla="*/ 1035486 h 1119930"/>
                    <a:gd name="connsiteX10" fmla="*/ 0 w 494985"/>
                    <a:gd name="connsiteY10" fmla="*/ 1006985 h 1119930"/>
                    <a:gd name="connsiteX11" fmla="*/ 0 w 494985"/>
                    <a:gd name="connsiteY11" fmla="*/ 28501 h 1119930"/>
                    <a:gd name="connsiteX0" fmla="*/ 0 w 494985"/>
                    <a:gd name="connsiteY0" fmla="*/ 28501 h 1120193"/>
                    <a:gd name="connsiteX1" fmla="*/ 28501 w 494985"/>
                    <a:gd name="connsiteY1" fmla="*/ 0 h 1120193"/>
                    <a:gd name="connsiteX2" fmla="*/ 466484 w 494985"/>
                    <a:gd name="connsiteY2" fmla="*/ 0 h 1120193"/>
                    <a:gd name="connsiteX3" fmla="*/ 494985 w 494985"/>
                    <a:gd name="connsiteY3" fmla="*/ 28501 h 1120193"/>
                    <a:gd name="connsiteX4" fmla="*/ 494985 w 494985"/>
                    <a:gd name="connsiteY4" fmla="*/ 1006985 h 1120193"/>
                    <a:gd name="connsiteX5" fmla="*/ 466484 w 494985"/>
                    <a:gd name="connsiteY5" fmla="*/ 1035486 h 1120193"/>
                    <a:gd name="connsiteX6" fmla="*/ 364775 w 494985"/>
                    <a:gd name="connsiteY6" fmla="*/ 1062739 h 1120193"/>
                    <a:gd name="connsiteX7" fmla="*/ 326675 w 494985"/>
                    <a:gd name="connsiteY7" fmla="*/ 1119889 h 1120193"/>
                    <a:gd name="connsiteX8" fmla="*/ 28501 w 494985"/>
                    <a:gd name="connsiteY8" fmla="*/ 1035486 h 1120193"/>
                    <a:gd name="connsiteX9" fmla="*/ 0 w 494985"/>
                    <a:gd name="connsiteY9" fmla="*/ 1006985 h 1120193"/>
                    <a:gd name="connsiteX10" fmla="*/ 0 w 494985"/>
                    <a:gd name="connsiteY10" fmla="*/ 28501 h 1120193"/>
                    <a:gd name="connsiteX0" fmla="*/ 0 w 494985"/>
                    <a:gd name="connsiteY0" fmla="*/ 28501 h 1062739"/>
                    <a:gd name="connsiteX1" fmla="*/ 28501 w 494985"/>
                    <a:gd name="connsiteY1" fmla="*/ 0 h 1062739"/>
                    <a:gd name="connsiteX2" fmla="*/ 466484 w 494985"/>
                    <a:gd name="connsiteY2" fmla="*/ 0 h 1062739"/>
                    <a:gd name="connsiteX3" fmla="*/ 494985 w 494985"/>
                    <a:gd name="connsiteY3" fmla="*/ 28501 h 1062739"/>
                    <a:gd name="connsiteX4" fmla="*/ 494985 w 494985"/>
                    <a:gd name="connsiteY4" fmla="*/ 1006985 h 1062739"/>
                    <a:gd name="connsiteX5" fmla="*/ 466484 w 494985"/>
                    <a:gd name="connsiteY5" fmla="*/ 1035486 h 1062739"/>
                    <a:gd name="connsiteX6" fmla="*/ 364775 w 494985"/>
                    <a:gd name="connsiteY6" fmla="*/ 1062739 h 1062739"/>
                    <a:gd name="connsiteX7" fmla="*/ 28501 w 494985"/>
                    <a:gd name="connsiteY7" fmla="*/ 1035486 h 1062739"/>
                    <a:gd name="connsiteX8" fmla="*/ 0 w 494985"/>
                    <a:gd name="connsiteY8" fmla="*/ 1006985 h 1062739"/>
                    <a:gd name="connsiteX9" fmla="*/ 0 w 494985"/>
                    <a:gd name="connsiteY9" fmla="*/ 28501 h 1062739"/>
                    <a:gd name="connsiteX0" fmla="*/ 0 w 494985"/>
                    <a:gd name="connsiteY0" fmla="*/ 28501 h 1035486"/>
                    <a:gd name="connsiteX1" fmla="*/ 28501 w 494985"/>
                    <a:gd name="connsiteY1" fmla="*/ 0 h 1035486"/>
                    <a:gd name="connsiteX2" fmla="*/ 466484 w 494985"/>
                    <a:gd name="connsiteY2" fmla="*/ 0 h 1035486"/>
                    <a:gd name="connsiteX3" fmla="*/ 494985 w 494985"/>
                    <a:gd name="connsiteY3" fmla="*/ 28501 h 1035486"/>
                    <a:gd name="connsiteX4" fmla="*/ 494985 w 494985"/>
                    <a:gd name="connsiteY4" fmla="*/ 1006985 h 1035486"/>
                    <a:gd name="connsiteX5" fmla="*/ 466484 w 494985"/>
                    <a:gd name="connsiteY5" fmla="*/ 1035486 h 1035486"/>
                    <a:gd name="connsiteX6" fmla="*/ 28501 w 494985"/>
                    <a:gd name="connsiteY6" fmla="*/ 1035486 h 1035486"/>
                    <a:gd name="connsiteX7" fmla="*/ 0 w 494985"/>
                    <a:gd name="connsiteY7" fmla="*/ 1006985 h 1035486"/>
                    <a:gd name="connsiteX8" fmla="*/ 0 w 494985"/>
                    <a:gd name="connsiteY8" fmla="*/ 28501 h 1035486"/>
                    <a:gd name="connsiteX0" fmla="*/ 0 w 494985"/>
                    <a:gd name="connsiteY0" fmla="*/ 28501 h 1038340"/>
                    <a:gd name="connsiteX1" fmla="*/ 28501 w 494985"/>
                    <a:gd name="connsiteY1" fmla="*/ 0 h 1038340"/>
                    <a:gd name="connsiteX2" fmla="*/ 466484 w 494985"/>
                    <a:gd name="connsiteY2" fmla="*/ 0 h 1038340"/>
                    <a:gd name="connsiteX3" fmla="*/ 494985 w 494985"/>
                    <a:gd name="connsiteY3" fmla="*/ 28501 h 1038340"/>
                    <a:gd name="connsiteX4" fmla="*/ 494985 w 494985"/>
                    <a:gd name="connsiteY4" fmla="*/ 1006985 h 1038340"/>
                    <a:gd name="connsiteX5" fmla="*/ 466484 w 494985"/>
                    <a:gd name="connsiteY5" fmla="*/ 1035486 h 1038340"/>
                    <a:gd name="connsiteX6" fmla="*/ 153637 w 494985"/>
                    <a:gd name="connsiteY6" fmla="*/ 1037339 h 1038340"/>
                    <a:gd name="connsiteX7" fmla="*/ 28501 w 494985"/>
                    <a:gd name="connsiteY7" fmla="*/ 1035486 h 1038340"/>
                    <a:gd name="connsiteX8" fmla="*/ 0 w 494985"/>
                    <a:gd name="connsiteY8" fmla="*/ 1006985 h 1038340"/>
                    <a:gd name="connsiteX9" fmla="*/ 0 w 494985"/>
                    <a:gd name="connsiteY9" fmla="*/ 28501 h 1038340"/>
                    <a:gd name="connsiteX0" fmla="*/ 0 w 494985"/>
                    <a:gd name="connsiteY0" fmla="*/ 28501 h 1038241"/>
                    <a:gd name="connsiteX1" fmla="*/ 28501 w 494985"/>
                    <a:gd name="connsiteY1" fmla="*/ 0 h 1038241"/>
                    <a:gd name="connsiteX2" fmla="*/ 466484 w 494985"/>
                    <a:gd name="connsiteY2" fmla="*/ 0 h 1038241"/>
                    <a:gd name="connsiteX3" fmla="*/ 494985 w 494985"/>
                    <a:gd name="connsiteY3" fmla="*/ 28501 h 1038241"/>
                    <a:gd name="connsiteX4" fmla="*/ 494985 w 494985"/>
                    <a:gd name="connsiteY4" fmla="*/ 1006985 h 1038241"/>
                    <a:gd name="connsiteX5" fmla="*/ 466484 w 494985"/>
                    <a:gd name="connsiteY5" fmla="*/ 1035486 h 1038241"/>
                    <a:gd name="connsiteX6" fmla="*/ 274287 w 494985"/>
                    <a:gd name="connsiteY6" fmla="*/ 1037339 h 1038241"/>
                    <a:gd name="connsiteX7" fmla="*/ 153637 w 494985"/>
                    <a:gd name="connsiteY7" fmla="*/ 1037339 h 1038241"/>
                    <a:gd name="connsiteX8" fmla="*/ 28501 w 494985"/>
                    <a:gd name="connsiteY8" fmla="*/ 1035486 h 1038241"/>
                    <a:gd name="connsiteX9" fmla="*/ 0 w 494985"/>
                    <a:gd name="connsiteY9" fmla="*/ 1006985 h 1038241"/>
                    <a:gd name="connsiteX10" fmla="*/ 0 w 494985"/>
                    <a:gd name="connsiteY10" fmla="*/ 28501 h 1038241"/>
                    <a:gd name="connsiteX0" fmla="*/ 0 w 494985"/>
                    <a:gd name="connsiteY0" fmla="*/ 28501 h 1038241"/>
                    <a:gd name="connsiteX1" fmla="*/ 28501 w 494985"/>
                    <a:gd name="connsiteY1" fmla="*/ 0 h 1038241"/>
                    <a:gd name="connsiteX2" fmla="*/ 466484 w 494985"/>
                    <a:gd name="connsiteY2" fmla="*/ 0 h 1038241"/>
                    <a:gd name="connsiteX3" fmla="*/ 494985 w 494985"/>
                    <a:gd name="connsiteY3" fmla="*/ 28501 h 1038241"/>
                    <a:gd name="connsiteX4" fmla="*/ 494985 w 494985"/>
                    <a:gd name="connsiteY4" fmla="*/ 1006985 h 1038241"/>
                    <a:gd name="connsiteX5" fmla="*/ 466484 w 494985"/>
                    <a:gd name="connsiteY5" fmla="*/ 1035486 h 1038241"/>
                    <a:gd name="connsiteX6" fmla="*/ 369537 w 494985"/>
                    <a:gd name="connsiteY6" fmla="*/ 1030990 h 1038241"/>
                    <a:gd name="connsiteX7" fmla="*/ 274287 w 494985"/>
                    <a:gd name="connsiteY7" fmla="*/ 1037339 h 1038241"/>
                    <a:gd name="connsiteX8" fmla="*/ 153637 w 494985"/>
                    <a:gd name="connsiteY8" fmla="*/ 1037339 h 1038241"/>
                    <a:gd name="connsiteX9" fmla="*/ 28501 w 494985"/>
                    <a:gd name="connsiteY9" fmla="*/ 1035486 h 1038241"/>
                    <a:gd name="connsiteX10" fmla="*/ 0 w 494985"/>
                    <a:gd name="connsiteY10" fmla="*/ 1006985 h 1038241"/>
                    <a:gd name="connsiteX11" fmla="*/ 0 w 494985"/>
                    <a:gd name="connsiteY11" fmla="*/ 28501 h 1038241"/>
                    <a:gd name="connsiteX0" fmla="*/ 0 w 494985"/>
                    <a:gd name="connsiteY0" fmla="*/ 28501 h 1107189"/>
                    <a:gd name="connsiteX1" fmla="*/ 28501 w 494985"/>
                    <a:gd name="connsiteY1" fmla="*/ 0 h 1107189"/>
                    <a:gd name="connsiteX2" fmla="*/ 466484 w 494985"/>
                    <a:gd name="connsiteY2" fmla="*/ 0 h 1107189"/>
                    <a:gd name="connsiteX3" fmla="*/ 494985 w 494985"/>
                    <a:gd name="connsiteY3" fmla="*/ 28501 h 1107189"/>
                    <a:gd name="connsiteX4" fmla="*/ 494985 w 494985"/>
                    <a:gd name="connsiteY4" fmla="*/ 1006985 h 1107189"/>
                    <a:gd name="connsiteX5" fmla="*/ 466484 w 494985"/>
                    <a:gd name="connsiteY5" fmla="*/ 1035486 h 1107189"/>
                    <a:gd name="connsiteX6" fmla="*/ 369537 w 494985"/>
                    <a:gd name="connsiteY6" fmla="*/ 1030990 h 1107189"/>
                    <a:gd name="connsiteX7" fmla="*/ 274287 w 494985"/>
                    <a:gd name="connsiteY7" fmla="*/ 1037339 h 1107189"/>
                    <a:gd name="connsiteX8" fmla="*/ 159987 w 494985"/>
                    <a:gd name="connsiteY8" fmla="*/ 1107189 h 1107189"/>
                    <a:gd name="connsiteX9" fmla="*/ 28501 w 494985"/>
                    <a:gd name="connsiteY9" fmla="*/ 1035486 h 1107189"/>
                    <a:gd name="connsiteX10" fmla="*/ 0 w 494985"/>
                    <a:gd name="connsiteY10" fmla="*/ 1006985 h 1107189"/>
                    <a:gd name="connsiteX11" fmla="*/ 0 w 494985"/>
                    <a:gd name="connsiteY11" fmla="*/ 28501 h 1107189"/>
                    <a:gd name="connsiteX0" fmla="*/ 0 w 494985"/>
                    <a:gd name="connsiteY0" fmla="*/ 28501 h 1107189"/>
                    <a:gd name="connsiteX1" fmla="*/ 28501 w 494985"/>
                    <a:gd name="connsiteY1" fmla="*/ 0 h 1107189"/>
                    <a:gd name="connsiteX2" fmla="*/ 466484 w 494985"/>
                    <a:gd name="connsiteY2" fmla="*/ 0 h 1107189"/>
                    <a:gd name="connsiteX3" fmla="*/ 494985 w 494985"/>
                    <a:gd name="connsiteY3" fmla="*/ 28501 h 1107189"/>
                    <a:gd name="connsiteX4" fmla="*/ 494985 w 494985"/>
                    <a:gd name="connsiteY4" fmla="*/ 1006985 h 1107189"/>
                    <a:gd name="connsiteX5" fmla="*/ 466484 w 494985"/>
                    <a:gd name="connsiteY5" fmla="*/ 1035486 h 1107189"/>
                    <a:gd name="connsiteX6" fmla="*/ 369537 w 494985"/>
                    <a:gd name="connsiteY6" fmla="*/ 1030990 h 1107189"/>
                    <a:gd name="connsiteX7" fmla="*/ 274287 w 494985"/>
                    <a:gd name="connsiteY7" fmla="*/ 1100839 h 1107189"/>
                    <a:gd name="connsiteX8" fmla="*/ 159987 w 494985"/>
                    <a:gd name="connsiteY8" fmla="*/ 1107189 h 1107189"/>
                    <a:gd name="connsiteX9" fmla="*/ 28501 w 494985"/>
                    <a:gd name="connsiteY9" fmla="*/ 1035486 h 1107189"/>
                    <a:gd name="connsiteX10" fmla="*/ 0 w 494985"/>
                    <a:gd name="connsiteY10" fmla="*/ 1006985 h 1107189"/>
                    <a:gd name="connsiteX11" fmla="*/ 0 w 494985"/>
                    <a:gd name="connsiteY11" fmla="*/ 28501 h 110718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57605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50461 w 494985"/>
                    <a:gd name="connsiteY8" fmla="*/ 1040514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1980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1980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57"/>
                    <a:gd name="connsiteX1" fmla="*/ 28501 w 494985"/>
                    <a:gd name="connsiteY1" fmla="*/ 0 h 1100857"/>
                    <a:gd name="connsiteX2" fmla="*/ 466484 w 494985"/>
                    <a:gd name="connsiteY2" fmla="*/ 0 h 1100857"/>
                    <a:gd name="connsiteX3" fmla="*/ 494985 w 494985"/>
                    <a:gd name="connsiteY3" fmla="*/ 28501 h 1100857"/>
                    <a:gd name="connsiteX4" fmla="*/ 494985 w 494985"/>
                    <a:gd name="connsiteY4" fmla="*/ 1006985 h 1100857"/>
                    <a:gd name="connsiteX5" fmla="*/ 466484 w 494985"/>
                    <a:gd name="connsiteY5" fmla="*/ 1035486 h 1100857"/>
                    <a:gd name="connsiteX6" fmla="*/ 369537 w 494985"/>
                    <a:gd name="connsiteY6" fmla="*/ 1030990 h 1100857"/>
                    <a:gd name="connsiteX7" fmla="*/ 198087 w 494985"/>
                    <a:gd name="connsiteY7" fmla="*/ 1100839 h 1100857"/>
                    <a:gd name="connsiteX8" fmla="*/ 148080 w 494985"/>
                    <a:gd name="connsiteY8" fmla="*/ 1033370 h 1100857"/>
                    <a:gd name="connsiteX9" fmla="*/ 28501 w 494985"/>
                    <a:gd name="connsiteY9" fmla="*/ 1035486 h 1100857"/>
                    <a:gd name="connsiteX10" fmla="*/ 0 w 494985"/>
                    <a:gd name="connsiteY10" fmla="*/ 1006985 h 1100857"/>
                    <a:gd name="connsiteX11" fmla="*/ 0 w 494985"/>
                    <a:gd name="connsiteY11" fmla="*/ 28501 h 1100857"/>
                    <a:gd name="connsiteX0" fmla="*/ 0 w 494985"/>
                    <a:gd name="connsiteY0" fmla="*/ 28501 h 1101187"/>
                    <a:gd name="connsiteX1" fmla="*/ 28501 w 494985"/>
                    <a:gd name="connsiteY1" fmla="*/ 0 h 1101187"/>
                    <a:gd name="connsiteX2" fmla="*/ 466484 w 494985"/>
                    <a:gd name="connsiteY2" fmla="*/ 0 h 1101187"/>
                    <a:gd name="connsiteX3" fmla="*/ 494985 w 494985"/>
                    <a:gd name="connsiteY3" fmla="*/ 28501 h 1101187"/>
                    <a:gd name="connsiteX4" fmla="*/ 494985 w 494985"/>
                    <a:gd name="connsiteY4" fmla="*/ 1006985 h 1101187"/>
                    <a:gd name="connsiteX5" fmla="*/ 466484 w 494985"/>
                    <a:gd name="connsiteY5" fmla="*/ 1035486 h 1101187"/>
                    <a:gd name="connsiteX6" fmla="*/ 369537 w 494985"/>
                    <a:gd name="connsiteY6" fmla="*/ 1030990 h 1101187"/>
                    <a:gd name="connsiteX7" fmla="*/ 198087 w 494985"/>
                    <a:gd name="connsiteY7" fmla="*/ 1100839 h 1101187"/>
                    <a:gd name="connsiteX8" fmla="*/ 148080 w 494985"/>
                    <a:gd name="connsiteY8" fmla="*/ 1033370 h 1101187"/>
                    <a:gd name="connsiteX9" fmla="*/ 28501 w 494985"/>
                    <a:gd name="connsiteY9" fmla="*/ 1035486 h 1101187"/>
                    <a:gd name="connsiteX10" fmla="*/ 0 w 494985"/>
                    <a:gd name="connsiteY10" fmla="*/ 1006985 h 1101187"/>
                    <a:gd name="connsiteX11" fmla="*/ 0 w 494985"/>
                    <a:gd name="connsiteY11" fmla="*/ 28501 h 1101187"/>
                    <a:gd name="connsiteX0" fmla="*/ 0 w 494985"/>
                    <a:gd name="connsiteY0" fmla="*/ 28501 h 1101096"/>
                    <a:gd name="connsiteX1" fmla="*/ 28501 w 494985"/>
                    <a:gd name="connsiteY1" fmla="*/ 0 h 1101096"/>
                    <a:gd name="connsiteX2" fmla="*/ 466484 w 494985"/>
                    <a:gd name="connsiteY2" fmla="*/ 0 h 1101096"/>
                    <a:gd name="connsiteX3" fmla="*/ 494985 w 494985"/>
                    <a:gd name="connsiteY3" fmla="*/ 28501 h 1101096"/>
                    <a:gd name="connsiteX4" fmla="*/ 494985 w 494985"/>
                    <a:gd name="connsiteY4" fmla="*/ 1006985 h 1101096"/>
                    <a:gd name="connsiteX5" fmla="*/ 466484 w 494985"/>
                    <a:gd name="connsiteY5" fmla="*/ 1035486 h 1101096"/>
                    <a:gd name="connsiteX6" fmla="*/ 369537 w 494985"/>
                    <a:gd name="connsiteY6" fmla="*/ 1030990 h 1101096"/>
                    <a:gd name="connsiteX7" fmla="*/ 290956 w 494985"/>
                    <a:gd name="connsiteY7" fmla="*/ 1055596 h 1101096"/>
                    <a:gd name="connsiteX8" fmla="*/ 198087 w 494985"/>
                    <a:gd name="connsiteY8" fmla="*/ 1100839 h 1101096"/>
                    <a:gd name="connsiteX9" fmla="*/ 148080 w 494985"/>
                    <a:gd name="connsiteY9" fmla="*/ 1033370 h 1101096"/>
                    <a:gd name="connsiteX10" fmla="*/ 28501 w 494985"/>
                    <a:gd name="connsiteY10" fmla="*/ 1035486 h 1101096"/>
                    <a:gd name="connsiteX11" fmla="*/ 0 w 494985"/>
                    <a:gd name="connsiteY11" fmla="*/ 1006985 h 1101096"/>
                    <a:gd name="connsiteX12" fmla="*/ 0 w 494985"/>
                    <a:gd name="connsiteY12" fmla="*/ 28501 h 1101096"/>
                    <a:gd name="connsiteX0" fmla="*/ 0 w 494985"/>
                    <a:gd name="connsiteY0" fmla="*/ 28501 h 1105462"/>
                    <a:gd name="connsiteX1" fmla="*/ 28501 w 494985"/>
                    <a:gd name="connsiteY1" fmla="*/ 0 h 1105462"/>
                    <a:gd name="connsiteX2" fmla="*/ 466484 w 494985"/>
                    <a:gd name="connsiteY2" fmla="*/ 0 h 1105462"/>
                    <a:gd name="connsiteX3" fmla="*/ 494985 w 494985"/>
                    <a:gd name="connsiteY3" fmla="*/ 28501 h 1105462"/>
                    <a:gd name="connsiteX4" fmla="*/ 494985 w 494985"/>
                    <a:gd name="connsiteY4" fmla="*/ 1006985 h 1105462"/>
                    <a:gd name="connsiteX5" fmla="*/ 466484 w 494985"/>
                    <a:gd name="connsiteY5" fmla="*/ 1035486 h 1105462"/>
                    <a:gd name="connsiteX6" fmla="*/ 369537 w 494985"/>
                    <a:gd name="connsiteY6" fmla="*/ 1030990 h 1105462"/>
                    <a:gd name="connsiteX7" fmla="*/ 305243 w 494985"/>
                    <a:gd name="connsiteY7" fmla="*/ 1098458 h 1105462"/>
                    <a:gd name="connsiteX8" fmla="*/ 198087 w 494985"/>
                    <a:gd name="connsiteY8" fmla="*/ 1100839 h 1105462"/>
                    <a:gd name="connsiteX9" fmla="*/ 148080 w 494985"/>
                    <a:gd name="connsiteY9" fmla="*/ 1033370 h 1105462"/>
                    <a:gd name="connsiteX10" fmla="*/ 28501 w 494985"/>
                    <a:gd name="connsiteY10" fmla="*/ 1035486 h 1105462"/>
                    <a:gd name="connsiteX11" fmla="*/ 0 w 494985"/>
                    <a:gd name="connsiteY11" fmla="*/ 1006985 h 1105462"/>
                    <a:gd name="connsiteX12" fmla="*/ 0 w 494985"/>
                    <a:gd name="connsiteY12" fmla="*/ 28501 h 1105462"/>
                    <a:gd name="connsiteX0" fmla="*/ 0 w 494985"/>
                    <a:gd name="connsiteY0" fmla="*/ 28501 h 1105462"/>
                    <a:gd name="connsiteX1" fmla="*/ 28501 w 494985"/>
                    <a:gd name="connsiteY1" fmla="*/ 0 h 1105462"/>
                    <a:gd name="connsiteX2" fmla="*/ 466484 w 494985"/>
                    <a:gd name="connsiteY2" fmla="*/ 0 h 1105462"/>
                    <a:gd name="connsiteX3" fmla="*/ 494985 w 494985"/>
                    <a:gd name="connsiteY3" fmla="*/ 28501 h 1105462"/>
                    <a:gd name="connsiteX4" fmla="*/ 494985 w 494985"/>
                    <a:gd name="connsiteY4" fmla="*/ 1006985 h 1105462"/>
                    <a:gd name="connsiteX5" fmla="*/ 466484 w 494985"/>
                    <a:gd name="connsiteY5" fmla="*/ 1035486 h 1105462"/>
                    <a:gd name="connsiteX6" fmla="*/ 369537 w 494985"/>
                    <a:gd name="connsiteY6" fmla="*/ 1030990 h 1105462"/>
                    <a:gd name="connsiteX7" fmla="*/ 305243 w 494985"/>
                    <a:gd name="connsiteY7" fmla="*/ 1098458 h 1105462"/>
                    <a:gd name="connsiteX8" fmla="*/ 198087 w 494985"/>
                    <a:gd name="connsiteY8" fmla="*/ 1100839 h 1105462"/>
                    <a:gd name="connsiteX9" fmla="*/ 148080 w 494985"/>
                    <a:gd name="connsiteY9" fmla="*/ 1033370 h 1105462"/>
                    <a:gd name="connsiteX10" fmla="*/ 28501 w 494985"/>
                    <a:gd name="connsiteY10" fmla="*/ 1035486 h 1105462"/>
                    <a:gd name="connsiteX11" fmla="*/ 0 w 494985"/>
                    <a:gd name="connsiteY11" fmla="*/ 1006985 h 1105462"/>
                    <a:gd name="connsiteX12" fmla="*/ 0 w 494985"/>
                    <a:gd name="connsiteY12" fmla="*/ 28501 h 110546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48080 w 494985"/>
                    <a:gd name="connsiteY9" fmla="*/ 1033370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48080 w 494985"/>
                    <a:gd name="connsiteY9" fmla="*/ 1033370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71918 w 494985"/>
                    <a:gd name="connsiteY6" fmla="*/ 1041471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71918 w 494985"/>
                    <a:gd name="connsiteY6" fmla="*/ 1041471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71918 w 494985"/>
                    <a:gd name="connsiteY6" fmla="*/ 1041471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6321"/>
                    <a:gd name="connsiteX1" fmla="*/ 28501 w 494985"/>
                    <a:gd name="connsiteY1" fmla="*/ 0 h 1106321"/>
                    <a:gd name="connsiteX2" fmla="*/ 466484 w 494985"/>
                    <a:gd name="connsiteY2" fmla="*/ 0 h 1106321"/>
                    <a:gd name="connsiteX3" fmla="*/ 494985 w 494985"/>
                    <a:gd name="connsiteY3" fmla="*/ 28501 h 1106321"/>
                    <a:gd name="connsiteX4" fmla="*/ 494985 w 494985"/>
                    <a:gd name="connsiteY4" fmla="*/ 1006985 h 1106321"/>
                    <a:gd name="connsiteX5" fmla="*/ 466484 w 494985"/>
                    <a:gd name="connsiteY5" fmla="*/ 1035486 h 1106321"/>
                    <a:gd name="connsiteX6" fmla="*/ 371918 w 494985"/>
                    <a:gd name="connsiteY6" fmla="*/ 1041471 h 1106321"/>
                    <a:gd name="connsiteX7" fmla="*/ 305243 w 494985"/>
                    <a:gd name="connsiteY7" fmla="*/ 1106317 h 1106321"/>
                    <a:gd name="connsiteX8" fmla="*/ 198087 w 494985"/>
                    <a:gd name="connsiteY8" fmla="*/ 1100839 h 1106321"/>
                    <a:gd name="connsiteX9" fmla="*/ 150462 w 494985"/>
                    <a:gd name="connsiteY9" fmla="*/ 1038611 h 1106321"/>
                    <a:gd name="connsiteX10" fmla="*/ 28501 w 494985"/>
                    <a:gd name="connsiteY10" fmla="*/ 1035486 h 1106321"/>
                    <a:gd name="connsiteX11" fmla="*/ 0 w 494985"/>
                    <a:gd name="connsiteY11" fmla="*/ 1006985 h 1106321"/>
                    <a:gd name="connsiteX12" fmla="*/ 0 w 494985"/>
                    <a:gd name="connsiteY12" fmla="*/ 28501 h 1106321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0462 w 494985"/>
                    <a:gd name="connsiteY9" fmla="*/ 103861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79037 w 494985"/>
                    <a:gd name="connsiteY9" fmla="*/ 103599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83799 w 494985"/>
                    <a:gd name="connsiteY9" fmla="*/ 104647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83799 w 494985"/>
                    <a:gd name="connsiteY9" fmla="*/ 104647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83799 w 494985"/>
                    <a:gd name="connsiteY9" fmla="*/ 1046471 h 1102488"/>
                    <a:gd name="connsiteX10" fmla="*/ 153278 w 494985"/>
                    <a:gd name="connsiteY10" fmla="*/ 1037850 h 1102488"/>
                    <a:gd name="connsiteX11" fmla="*/ 28501 w 494985"/>
                    <a:gd name="connsiteY11" fmla="*/ 1035486 h 1102488"/>
                    <a:gd name="connsiteX12" fmla="*/ 0 w 494985"/>
                    <a:gd name="connsiteY12" fmla="*/ 1006985 h 1102488"/>
                    <a:gd name="connsiteX13" fmla="*/ 0 w 494985"/>
                    <a:gd name="connsiteY13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3278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29465 w 494985"/>
                    <a:gd name="connsiteY9" fmla="*/ 104309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29465 w 494985"/>
                    <a:gd name="connsiteY9" fmla="*/ 104309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3654"/>
                    <a:gd name="connsiteX1" fmla="*/ 28501 w 494985"/>
                    <a:gd name="connsiteY1" fmla="*/ 0 h 1103654"/>
                    <a:gd name="connsiteX2" fmla="*/ 466484 w 494985"/>
                    <a:gd name="connsiteY2" fmla="*/ 0 h 1103654"/>
                    <a:gd name="connsiteX3" fmla="*/ 494985 w 494985"/>
                    <a:gd name="connsiteY3" fmla="*/ 28501 h 1103654"/>
                    <a:gd name="connsiteX4" fmla="*/ 494985 w 494985"/>
                    <a:gd name="connsiteY4" fmla="*/ 1006985 h 1103654"/>
                    <a:gd name="connsiteX5" fmla="*/ 466484 w 494985"/>
                    <a:gd name="connsiteY5" fmla="*/ 1035486 h 1103654"/>
                    <a:gd name="connsiteX6" fmla="*/ 371918 w 494985"/>
                    <a:gd name="connsiteY6" fmla="*/ 1041471 h 1103654"/>
                    <a:gd name="connsiteX7" fmla="*/ 307624 w 494985"/>
                    <a:gd name="connsiteY7" fmla="*/ 1101077 h 1103654"/>
                    <a:gd name="connsiteX8" fmla="*/ 198087 w 494985"/>
                    <a:gd name="connsiteY8" fmla="*/ 1100839 h 1103654"/>
                    <a:gd name="connsiteX9" fmla="*/ 136609 w 494985"/>
                    <a:gd name="connsiteY9" fmla="*/ 1037850 h 1103654"/>
                    <a:gd name="connsiteX10" fmla="*/ 28501 w 494985"/>
                    <a:gd name="connsiteY10" fmla="*/ 1035486 h 1103654"/>
                    <a:gd name="connsiteX11" fmla="*/ 0 w 494985"/>
                    <a:gd name="connsiteY11" fmla="*/ 1006985 h 1103654"/>
                    <a:gd name="connsiteX12" fmla="*/ 0 w 494985"/>
                    <a:gd name="connsiteY12" fmla="*/ 28501 h 1103654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6240"/>
                    <a:gd name="connsiteX1" fmla="*/ 28501 w 494985"/>
                    <a:gd name="connsiteY1" fmla="*/ 0 h 1106240"/>
                    <a:gd name="connsiteX2" fmla="*/ 466484 w 494985"/>
                    <a:gd name="connsiteY2" fmla="*/ 0 h 1106240"/>
                    <a:gd name="connsiteX3" fmla="*/ 494985 w 494985"/>
                    <a:gd name="connsiteY3" fmla="*/ 28501 h 1106240"/>
                    <a:gd name="connsiteX4" fmla="*/ 494985 w 494985"/>
                    <a:gd name="connsiteY4" fmla="*/ 1006985 h 1106240"/>
                    <a:gd name="connsiteX5" fmla="*/ 466484 w 494985"/>
                    <a:gd name="connsiteY5" fmla="*/ 1035486 h 1106240"/>
                    <a:gd name="connsiteX6" fmla="*/ 369537 w 494985"/>
                    <a:gd name="connsiteY6" fmla="*/ 1033611 h 1106240"/>
                    <a:gd name="connsiteX7" fmla="*/ 307624 w 494985"/>
                    <a:gd name="connsiteY7" fmla="*/ 1101077 h 1106240"/>
                    <a:gd name="connsiteX8" fmla="*/ 198087 w 494985"/>
                    <a:gd name="connsiteY8" fmla="*/ 1100839 h 1106240"/>
                    <a:gd name="connsiteX9" fmla="*/ 158041 w 494985"/>
                    <a:gd name="connsiteY9" fmla="*/ 1035229 h 1106240"/>
                    <a:gd name="connsiteX10" fmla="*/ 28501 w 494985"/>
                    <a:gd name="connsiteY10" fmla="*/ 1035486 h 1106240"/>
                    <a:gd name="connsiteX11" fmla="*/ 0 w 494985"/>
                    <a:gd name="connsiteY11" fmla="*/ 1006985 h 1106240"/>
                    <a:gd name="connsiteX12" fmla="*/ 0 w 494985"/>
                    <a:gd name="connsiteY12" fmla="*/ 28501 h 1106240"/>
                    <a:gd name="connsiteX0" fmla="*/ 0 w 494985"/>
                    <a:gd name="connsiteY0" fmla="*/ 28501 h 1105659"/>
                    <a:gd name="connsiteX1" fmla="*/ 28501 w 494985"/>
                    <a:gd name="connsiteY1" fmla="*/ 0 h 1105659"/>
                    <a:gd name="connsiteX2" fmla="*/ 466484 w 494985"/>
                    <a:gd name="connsiteY2" fmla="*/ 0 h 1105659"/>
                    <a:gd name="connsiteX3" fmla="*/ 494985 w 494985"/>
                    <a:gd name="connsiteY3" fmla="*/ 28501 h 1105659"/>
                    <a:gd name="connsiteX4" fmla="*/ 494985 w 494985"/>
                    <a:gd name="connsiteY4" fmla="*/ 1006985 h 1105659"/>
                    <a:gd name="connsiteX5" fmla="*/ 466484 w 494985"/>
                    <a:gd name="connsiteY5" fmla="*/ 1035486 h 1105659"/>
                    <a:gd name="connsiteX6" fmla="*/ 371918 w 494985"/>
                    <a:gd name="connsiteY6" fmla="*/ 1041470 h 1105659"/>
                    <a:gd name="connsiteX7" fmla="*/ 307624 w 494985"/>
                    <a:gd name="connsiteY7" fmla="*/ 1101077 h 1105659"/>
                    <a:gd name="connsiteX8" fmla="*/ 198087 w 494985"/>
                    <a:gd name="connsiteY8" fmla="*/ 1100839 h 1105659"/>
                    <a:gd name="connsiteX9" fmla="*/ 158041 w 494985"/>
                    <a:gd name="connsiteY9" fmla="*/ 1035229 h 1105659"/>
                    <a:gd name="connsiteX10" fmla="*/ 28501 w 494985"/>
                    <a:gd name="connsiteY10" fmla="*/ 1035486 h 1105659"/>
                    <a:gd name="connsiteX11" fmla="*/ 0 w 494985"/>
                    <a:gd name="connsiteY11" fmla="*/ 1006985 h 1105659"/>
                    <a:gd name="connsiteX12" fmla="*/ 0 w 494985"/>
                    <a:gd name="connsiteY12" fmla="*/ 28501 h 1105659"/>
                    <a:gd name="connsiteX0" fmla="*/ 0 w 494985"/>
                    <a:gd name="connsiteY0" fmla="*/ 28501 h 1106046"/>
                    <a:gd name="connsiteX1" fmla="*/ 28501 w 494985"/>
                    <a:gd name="connsiteY1" fmla="*/ 0 h 1106046"/>
                    <a:gd name="connsiteX2" fmla="*/ 466484 w 494985"/>
                    <a:gd name="connsiteY2" fmla="*/ 0 h 1106046"/>
                    <a:gd name="connsiteX3" fmla="*/ 494985 w 494985"/>
                    <a:gd name="connsiteY3" fmla="*/ 28501 h 1106046"/>
                    <a:gd name="connsiteX4" fmla="*/ 494985 w 494985"/>
                    <a:gd name="connsiteY4" fmla="*/ 1006985 h 1106046"/>
                    <a:gd name="connsiteX5" fmla="*/ 466484 w 494985"/>
                    <a:gd name="connsiteY5" fmla="*/ 1035486 h 1106046"/>
                    <a:gd name="connsiteX6" fmla="*/ 364775 w 494985"/>
                    <a:gd name="connsiteY6" fmla="*/ 1036230 h 1106046"/>
                    <a:gd name="connsiteX7" fmla="*/ 307624 w 494985"/>
                    <a:gd name="connsiteY7" fmla="*/ 1101077 h 1106046"/>
                    <a:gd name="connsiteX8" fmla="*/ 198087 w 494985"/>
                    <a:gd name="connsiteY8" fmla="*/ 1100839 h 1106046"/>
                    <a:gd name="connsiteX9" fmla="*/ 158041 w 494985"/>
                    <a:gd name="connsiteY9" fmla="*/ 1035229 h 1106046"/>
                    <a:gd name="connsiteX10" fmla="*/ 28501 w 494985"/>
                    <a:gd name="connsiteY10" fmla="*/ 1035486 h 1106046"/>
                    <a:gd name="connsiteX11" fmla="*/ 0 w 494985"/>
                    <a:gd name="connsiteY11" fmla="*/ 1006985 h 1106046"/>
                    <a:gd name="connsiteX12" fmla="*/ 0 w 494985"/>
                    <a:gd name="connsiteY12" fmla="*/ 28501 h 1106046"/>
                    <a:gd name="connsiteX0" fmla="*/ 0 w 494985"/>
                    <a:gd name="connsiteY0" fmla="*/ 28501 h 1106046"/>
                    <a:gd name="connsiteX1" fmla="*/ 28501 w 494985"/>
                    <a:gd name="connsiteY1" fmla="*/ 0 h 1106046"/>
                    <a:gd name="connsiteX2" fmla="*/ 466484 w 494985"/>
                    <a:gd name="connsiteY2" fmla="*/ 0 h 1106046"/>
                    <a:gd name="connsiteX3" fmla="*/ 494985 w 494985"/>
                    <a:gd name="connsiteY3" fmla="*/ 28501 h 1106046"/>
                    <a:gd name="connsiteX4" fmla="*/ 494985 w 494985"/>
                    <a:gd name="connsiteY4" fmla="*/ 1006985 h 1106046"/>
                    <a:gd name="connsiteX5" fmla="*/ 466484 w 494985"/>
                    <a:gd name="connsiteY5" fmla="*/ 1035486 h 1106046"/>
                    <a:gd name="connsiteX6" fmla="*/ 364775 w 494985"/>
                    <a:gd name="connsiteY6" fmla="*/ 1036230 h 1106046"/>
                    <a:gd name="connsiteX7" fmla="*/ 307624 w 494985"/>
                    <a:gd name="connsiteY7" fmla="*/ 1101077 h 1106046"/>
                    <a:gd name="connsiteX8" fmla="*/ 198087 w 494985"/>
                    <a:gd name="connsiteY8" fmla="*/ 1100839 h 1106046"/>
                    <a:gd name="connsiteX9" fmla="*/ 158041 w 494985"/>
                    <a:gd name="connsiteY9" fmla="*/ 1035229 h 1106046"/>
                    <a:gd name="connsiteX10" fmla="*/ 28501 w 494985"/>
                    <a:gd name="connsiteY10" fmla="*/ 1035486 h 1106046"/>
                    <a:gd name="connsiteX11" fmla="*/ 0 w 494985"/>
                    <a:gd name="connsiteY11" fmla="*/ 1006985 h 1106046"/>
                    <a:gd name="connsiteX12" fmla="*/ 0 w 494985"/>
                    <a:gd name="connsiteY12" fmla="*/ 28501 h 1106046"/>
                    <a:gd name="connsiteX0" fmla="*/ 0 w 494985"/>
                    <a:gd name="connsiteY0" fmla="*/ 28501 h 1104264"/>
                    <a:gd name="connsiteX1" fmla="*/ 28501 w 494985"/>
                    <a:gd name="connsiteY1" fmla="*/ 0 h 1104264"/>
                    <a:gd name="connsiteX2" fmla="*/ 466484 w 494985"/>
                    <a:gd name="connsiteY2" fmla="*/ 0 h 1104264"/>
                    <a:gd name="connsiteX3" fmla="*/ 494985 w 494985"/>
                    <a:gd name="connsiteY3" fmla="*/ 28501 h 1104264"/>
                    <a:gd name="connsiteX4" fmla="*/ 494985 w 494985"/>
                    <a:gd name="connsiteY4" fmla="*/ 1006985 h 1104264"/>
                    <a:gd name="connsiteX5" fmla="*/ 466484 w 494985"/>
                    <a:gd name="connsiteY5" fmla="*/ 1035486 h 1104264"/>
                    <a:gd name="connsiteX6" fmla="*/ 364775 w 494985"/>
                    <a:gd name="connsiteY6" fmla="*/ 1036230 h 1104264"/>
                    <a:gd name="connsiteX7" fmla="*/ 312387 w 494985"/>
                    <a:gd name="connsiteY7" fmla="*/ 1098457 h 1104264"/>
                    <a:gd name="connsiteX8" fmla="*/ 198087 w 494985"/>
                    <a:gd name="connsiteY8" fmla="*/ 1100839 h 1104264"/>
                    <a:gd name="connsiteX9" fmla="*/ 158041 w 494985"/>
                    <a:gd name="connsiteY9" fmla="*/ 1035229 h 1104264"/>
                    <a:gd name="connsiteX10" fmla="*/ 28501 w 494985"/>
                    <a:gd name="connsiteY10" fmla="*/ 1035486 h 1104264"/>
                    <a:gd name="connsiteX11" fmla="*/ 0 w 494985"/>
                    <a:gd name="connsiteY11" fmla="*/ 1006985 h 1104264"/>
                    <a:gd name="connsiteX12" fmla="*/ 0 w 494985"/>
                    <a:gd name="connsiteY12" fmla="*/ 28501 h 1104264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4775 w 494985"/>
                    <a:gd name="connsiteY6" fmla="*/ 1036230 h 1100839"/>
                    <a:gd name="connsiteX7" fmla="*/ 312387 w 494985"/>
                    <a:gd name="connsiteY7" fmla="*/ 1098457 h 1100839"/>
                    <a:gd name="connsiteX8" fmla="*/ 198087 w 494985"/>
                    <a:gd name="connsiteY8" fmla="*/ 1100839 h 1100839"/>
                    <a:gd name="connsiteX9" fmla="*/ 158041 w 494985"/>
                    <a:gd name="connsiteY9" fmla="*/ 1035229 h 1100839"/>
                    <a:gd name="connsiteX10" fmla="*/ 28501 w 494985"/>
                    <a:gd name="connsiteY10" fmla="*/ 1035486 h 1100839"/>
                    <a:gd name="connsiteX11" fmla="*/ 0 w 494985"/>
                    <a:gd name="connsiteY11" fmla="*/ 1006985 h 1100839"/>
                    <a:gd name="connsiteX12" fmla="*/ 0 w 494985"/>
                    <a:gd name="connsiteY12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4775 w 494985"/>
                    <a:gd name="connsiteY6" fmla="*/ 1036230 h 1100839"/>
                    <a:gd name="connsiteX7" fmla="*/ 198087 w 494985"/>
                    <a:gd name="connsiteY7" fmla="*/ 1100839 h 1100839"/>
                    <a:gd name="connsiteX8" fmla="*/ 158041 w 494985"/>
                    <a:gd name="connsiteY8" fmla="*/ 1035229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4775 w 494985"/>
                    <a:gd name="connsiteY6" fmla="*/ 1036230 h 1100839"/>
                    <a:gd name="connsiteX7" fmla="*/ 289009 w 494985"/>
                    <a:gd name="connsiteY7" fmla="*/ 1064051 h 1100839"/>
                    <a:gd name="connsiteX8" fmla="*/ 198087 w 494985"/>
                    <a:gd name="connsiteY8" fmla="*/ 1100839 h 1100839"/>
                    <a:gd name="connsiteX9" fmla="*/ 158041 w 494985"/>
                    <a:gd name="connsiteY9" fmla="*/ 1035229 h 1100839"/>
                    <a:gd name="connsiteX10" fmla="*/ 28501 w 494985"/>
                    <a:gd name="connsiteY10" fmla="*/ 1035486 h 1100839"/>
                    <a:gd name="connsiteX11" fmla="*/ 0 w 494985"/>
                    <a:gd name="connsiteY11" fmla="*/ 1006985 h 1100839"/>
                    <a:gd name="connsiteX12" fmla="*/ 0 w 494985"/>
                    <a:gd name="connsiteY12" fmla="*/ 28501 h 1100839"/>
                    <a:gd name="connsiteX0" fmla="*/ 0 w 494985"/>
                    <a:gd name="connsiteY0" fmla="*/ 28501 h 1103352"/>
                    <a:gd name="connsiteX1" fmla="*/ 28501 w 494985"/>
                    <a:gd name="connsiteY1" fmla="*/ 0 h 1103352"/>
                    <a:gd name="connsiteX2" fmla="*/ 466484 w 494985"/>
                    <a:gd name="connsiteY2" fmla="*/ 0 h 1103352"/>
                    <a:gd name="connsiteX3" fmla="*/ 494985 w 494985"/>
                    <a:gd name="connsiteY3" fmla="*/ 28501 h 1103352"/>
                    <a:gd name="connsiteX4" fmla="*/ 494985 w 494985"/>
                    <a:gd name="connsiteY4" fmla="*/ 1006985 h 1103352"/>
                    <a:gd name="connsiteX5" fmla="*/ 466484 w 494985"/>
                    <a:gd name="connsiteY5" fmla="*/ 1035486 h 1103352"/>
                    <a:gd name="connsiteX6" fmla="*/ 364775 w 494985"/>
                    <a:gd name="connsiteY6" fmla="*/ 1036230 h 1103352"/>
                    <a:gd name="connsiteX7" fmla="*/ 291390 w 494985"/>
                    <a:gd name="connsiteY7" fmla="*/ 1103352 h 1103352"/>
                    <a:gd name="connsiteX8" fmla="*/ 198087 w 494985"/>
                    <a:gd name="connsiteY8" fmla="*/ 1100839 h 1103352"/>
                    <a:gd name="connsiteX9" fmla="*/ 158041 w 494985"/>
                    <a:gd name="connsiteY9" fmla="*/ 1035229 h 1103352"/>
                    <a:gd name="connsiteX10" fmla="*/ 28501 w 494985"/>
                    <a:gd name="connsiteY10" fmla="*/ 1035486 h 1103352"/>
                    <a:gd name="connsiteX11" fmla="*/ 0 w 494985"/>
                    <a:gd name="connsiteY11" fmla="*/ 1006985 h 1103352"/>
                    <a:gd name="connsiteX12" fmla="*/ 0 w 494985"/>
                    <a:gd name="connsiteY12" fmla="*/ 28501 h 1103352"/>
                    <a:gd name="connsiteX0" fmla="*/ 0 w 494985"/>
                    <a:gd name="connsiteY0" fmla="*/ 28501 h 1103352"/>
                    <a:gd name="connsiteX1" fmla="*/ 28501 w 494985"/>
                    <a:gd name="connsiteY1" fmla="*/ 0 h 1103352"/>
                    <a:gd name="connsiteX2" fmla="*/ 466484 w 494985"/>
                    <a:gd name="connsiteY2" fmla="*/ 0 h 1103352"/>
                    <a:gd name="connsiteX3" fmla="*/ 494985 w 494985"/>
                    <a:gd name="connsiteY3" fmla="*/ 28501 h 1103352"/>
                    <a:gd name="connsiteX4" fmla="*/ 494985 w 494985"/>
                    <a:gd name="connsiteY4" fmla="*/ 1006985 h 1103352"/>
                    <a:gd name="connsiteX5" fmla="*/ 466484 w 494985"/>
                    <a:gd name="connsiteY5" fmla="*/ 1035486 h 1103352"/>
                    <a:gd name="connsiteX6" fmla="*/ 352869 w 494985"/>
                    <a:gd name="connsiteY6" fmla="*/ 1036230 h 1103352"/>
                    <a:gd name="connsiteX7" fmla="*/ 291390 w 494985"/>
                    <a:gd name="connsiteY7" fmla="*/ 1103352 h 1103352"/>
                    <a:gd name="connsiteX8" fmla="*/ 198087 w 494985"/>
                    <a:gd name="connsiteY8" fmla="*/ 1100839 h 1103352"/>
                    <a:gd name="connsiteX9" fmla="*/ 158041 w 494985"/>
                    <a:gd name="connsiteY9" fmla="*/ 1035229 h 1103352"/>
                    <a:gd name="connsiteX10" fmla="*/ 28501 w 494985"/>
                    <a:gd name="connsiteY10" fmla="*/ 1035486 h 1103352"/>
                    <a:gd name="connsiteX11" fmla="*/ 0 w 494985"/>
                    <a:gd name="connsiteY11" fmla="*/ 1006985 h 1103352"/>
                    <a:gd name="connsiteX12" fmla="*/ 0 w 494985"/>
                    <a:gd name="connsiteY12" fmla="*/ 28501 h 1103352"/>
                    <a:gd name="connsiteX0" fmla="*/ 0 w 494985"/>
                    <a:gd name="connsiteY0" fmla="*/ 28501 h 1103352"/>
                    <a:gd name="connsiteX1" fmla="*/ 28501 w 494985"/>
                    <a:gd name="connsiteY1" fmla="*/ 0 h 1103352"/>
                    <a:gd name="connsiteX2" fmla="*/ 466484 w 494985"/>
                    <a:gd name="connsiteY2" fmla="*/ 0 h 1103352"/>
                    <a:gd name="connsiteX3" fmla="*/ 494985 w 494985"/>
                    <a:gd name="connsiteY3" fmla="*/ 28501 h 1103352"/>
                    <a:gd name="connsiteX4" fmla="*/ 494985 w 494985"/>
                    <a:gd name="connsiteY4" fmla="*/ 1006985 h 1103352"/>
                    <a:gd name="connsiteX5" fmla="*/ 466484 w 494985"/>
                    <a:gd name="connsiteY5" fmla="*/ 1035486 h 1103352"/>
                    <a:gd name="connsiteX6" fmla="*/ 340962 w 494985"/>
                    <a:gd name="connsiteY6" fmla="*/ 1036230 h 1103352"/>
                    <a:gd name="connsiteX7" fmla="*/ 291390 w 494985"/>
                    <a:gd name="connsiteY7" fmla="*/ 1103352 h 1103352"/>
                    <a:gd name="connsiteX8" fmla="*/ 198087 w 494985"/>
                    <a:gd name="connsiteY8" fmla="*/ 1100839 h 1103352"/>
                    <a:gd name="connsiteX9" fmla="*/ 158041 w 494985"/>
                    <a:gd name="connsiteY9" fmla="*/ 1035229 h 1103352"/>
                    <a:gd name="connsiteX10" fmla="*/ 28501 w 494985"/>
                    <a:gd name="connsiteY10" fmla="*/ 1035486 h 1103352"/>
                    <a:gd name="connsiteX11" fmla="*/ 0 w 494985"/>
                    <a:gd name="connsiteY11" fmla="*/ 1006985 h 1103352"/>
                    <a:gd name="connsiteX12" fmla="*/ 0 w 494985"/>
                    <a:gd name="connsiteY12" fmla="*/ 28501 h 1103352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1390 w 494985"/>
                    <a:gd name="connsiteY7" fmla="*/ 1103352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1390 w 494985"/>
                    <a:gd name="connsiteY7" fmla="*/ 1103352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1390 w 494985"/>
                    <a:gd name="connsiteY7" fmla="*/ 1103352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13832"/>
                    <a:gd name="connsiteX1" fmla="*/ 28501 w 494985"/>
                    <a:gd name="connsiteY1" fmla="*/ 0 h 1113832"/>
                    <a:gd name="connsiteX2" fmla="*/ 466484 w 494985"/>
                    <a:gd name="connsiteY2" fmla="*/ 0 h 1113832"/>
                    <a:gd name="connsiteX3" fmla="*/ 494985 w 494985"/>
                    <a:gd name="connsiteY3" fmla="*/ 28501 h 1113832"/>
                    <a:gd name="connsiteX4" fmla="*/ 494985 w 494985"/>
                    <a:gd name="connsiteY4" fmla="*/ 1006985 h 1113832"/>
                    <a:gd name="connsiteX5" fmla="*/ 466484 w 494985"/>
                    <a:gd name="connsiteY5" fmla="*/ 1035486 h 1113832"/>
                    <a:gd name="connsiteX6" fmla="*/ 340962 w 494985"/>
                    <a:gd name="connsiteY6" fmla="*/ 1036230 h 1113832"/>
                    <a:gd name="connsiteX7" fmla="*/ 293772 w 494985"/>
                    <a:gd name="connsiteY7" fmla="*/ 1113832 h 1113832"/>
                    <a:gd name="connsiteX8" fmla="*/ 200469 w 494985"/>
                    <a:gd name="connsiteY8" fmla="*/ 1108699 h 1113832"/>
                    <a:gd name="connsiteX9" fmla="*/ 158041 w 494985"/>
                    <a:gd name="connsiteY9" fmla="*/ 1035229 h 1113832"/>
                    <a:gd name="connsiteX10" fmla="*/ 28501 w 494985"/>
                    <a:gd name="connsiteY10" fmla="*/ 1035486 h 1113832"/>
                    <a:gd name="connsiteX11" fmla="*/ 0 w 494985"/>
                    <a:gd name="connsiteY11" fmla="*/ 1006985 h 1113832"/>
                    <a:gd name="connsiteX12" fmla="*/ 0 w 494985"/>
                    <a:gd name="connsiteY12" fmla="*/ 28501 h 1113832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305679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94985" h="1108699">
                      <a:moveTo>
                        <a:pt x="0" y="28501"/>
                      </a:moveTo>
                      <a:cubicBezTo>
                        <a:pt x="0" y="12760"/>
                        <a:pt x="12760" y="0"/>
                        <a:pt x="28501" y="0"/>
                      </a:cubicBezTo>
                      <a:lnTo>
                        <a:pt x="466484" y="0"/>
                      </a:lnTo>
                      <a:cubicBezTo>
                        <a:pt x="482225" y="0"/>
                        <a:pt x="494985" y="12760"/>
                        <a:pt x="494985" y="28501"/>
                      </a:cubicBezTo>
                      <a:lnTo>
                        <a:pt x="494985" y="1006985"/>
                      </a:lnTo>
                      <a:cubicBezTo>
                        <a:pt x="494985" y="1022726"/>
                        <a:pt x="482225" y="1035486"/>
                        <a:pt x="466484" y="1035486"/>
                      </a:cubicBezTo>
                      <a:lnTo>
                        <a:pt x="340962" y="1036230"/>
                      </a:lnTo>
                      <a:lnTo>
                        <a:pt x="305679" y="1108591"/>
                      </a:lnTo>
                      <a:lnTo>
                        <a:pt x="186182" y="1108699"/>
                      </a:lnTo>
                      <a:lnTo>
                        <a:pt x="158041" y="1035229"/>
                      </a:lnTo>
                      <a:lnTo>
                        <a:pt x="28501" y="1035486"/>
                      </a:lnTo>
                      <a:cubicBezTo>
                        <a:pt x="12760" y="1035486"/>
                        <a:pt x="0" y="1022726"/>
                        <a:pt x="0" y="1006985"/>
                      </a:cubicBezTo>
                      <a:lnTo>
                        <a:pt x="0" y="28501"/>
                      </a:lnTo>
                      <a:close/>
                    </a:path>
                  </a:pathLst>
                </a:custGeom>
                <a:solidFill>
                  <a:srgbClr val="0078D7"/>
                </a:solidFill>
                <a:ln w="19050" cmpd="sng">
                  <a:noFill/>
                  <a:prstDash val="dash"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lIns="89630" tIns="89630" rIns="0" rtlCol="0" anchor="t"/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457112">
                    <a:lnSpc>
                      <a:spcPct val="90000"/>
                    </a:lnSpc>
                  </a:pPr>
                  <a:r>
                    <a:rPr lang="en-US" sz="2000" kern="0" dirty="0" err="1">
                      <a:gradFill>
                        <a:gsLst>
                          <a:gs pos="2917">
                            <a:schemeClr val="bg1"/>
                          </a:gs>
                          <a:gs pos="100000">
                            <a:schemeClr val="bg1"/>
                          </a:gs>
                        </a:gsLst>
                        <a:lin ang="5400000" scaled="0"/>
                      </a:gra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Graphx</a:t>
                  </a:r>
                  <a:endParaRPr lang="en-US" sz="2000" kern="0" dirty="0">
                    <a:gradFill>
                      <a:gsLst>
                        <a:gs pos="2917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endParaRPr>
                </a:p>
                <a:p>
                  <a:pPr defTabSz="457112">
                    <a:lnSpc>
                      <a:spcPct val="90000"/>
                    </a:lnSpc>
                  </a:pPr>
                  <a:r>
                    <a:rPr lang="en-US" sz="2000" kern="0" dirty="0">
                      <a:gradFill>
                        <a:gsLst>
                          <a:gs pos="2917">
                            <a:schemeClr val="bg1"/>
                          </a:gs>
                          <a:gs pos="100000">
                            <a:schemeClr val="bg1"/>
                          </a:gs>
                        </a:gsLst>
                        <a:lin ang="5400000" scaled="0"/>
                      </a:gra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(graphs) </a:t>
                  </a:r>
                  <a:endParaRPr lang="en-US" sz="2000" kern="0" dirty="0">
                    <a:gradFill>
                      <a:gsLst>
                        <a:gs pos="2917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0"/>
                    </a:gradFill>
                    <a:cs typeface="Arial"/>
                  </a:endParaRPr>
                </a:p>
              </p:txBody>
            </p:sp>
          </p:grpSp>
          <p:pic>
            <p:nvPicPr>
              <p:cNvPr id="18" name="Picture 17"/>
              <p:cNvPicPr>
                <a:picLocks noChangeAspect="1"/>
              </p:cNvPicPr>
              <p:nvPr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470034" y="3022649"/>
                <a:ext cx="1110133" cy="578196"/>
              </a:xfrm>
              <a:prstGeom prst="rect">
                <a:avLst/>
              </a:prstGeom>
              <a:noFill/>
              <a:ln>
                <a:solidFill>
                  <a:srgbClr val="000000"/>
                </a:solidFill>
              </a:ln>
            </p:spPr>
          </p:pic>
        </p:grpSp>
        <p:sp>
          <p:nvSpPr>
            <p:cNvPr id="24" name="Rounded Rectangle 37"/>
            <p:cNvSpPr>
              <a:spLocks/>
            </p:cNvSpPr>
            <p:nvPr/>
          </p:nvSpPr>
          <p:spPr>
            <a:xfrm>
              <a:off x="10902020" y="4622834"/>
              <a:ext cx="793818" cy="1503525"/>
            </a:xfrm>
            <a:custGeom>
              <a:avLst/>
              <a:gdLst>
                <a:gd name="connsiteX0" fmla="*/ 0 w 494985"/>
                <a:gd name="connsiteY0" fmla="*/ 28501 h 1035486"/>
                <a:gd name="connsiteX1" fmla="*/ 28501 w 494985"/>
                <a:gd name="connsiteY1" fmla="*/ 0 h 1035486"/>
                <a:gd name="connsiteX2" fmla="*/ 466484 w 494985"/>
                <a:gd name="connsiteY2" fmla="*/ 0 h 1035486"/>
                <a:gd name="connsiteX3" fmla="*/ 494985 w 494985"/>
                <a:gd name="connsiteY3" fmla="*/ 28501 h 1035486"/>
                <a:gd name="connsiteX4" fmla="*/ 494985 w 494985"/>
                <a:gd name="connsiteY4" fmla="*/ 1006985 h 1035486"/>
                <a:gd name="connsiteX5" fmla="*/ 466484 w 494985"/>
                <a:gd name="connsiteY5" fmla="*/ 1035486 h 1035486"/>
                <a:gd name="connsiteX6" fmla="*/ 28501 w 494985"/>
                <a:gd name="connsiteY6" fmla="*/ 1035486 h 1035486"/>
                <a:gd name="connsiteX7" fmla="*/ 0 w 494985"/>
                <a:gd name="connsiteY7" fmla="*/ 1006985 h 1035486"/>
                <a:gd name="connsiteX8" fmla="*/ 0 w 494985"/>
                <a:gd name="connsiteY8" fmla="*/ 28501 h 1035486"/>
                <a:gd name="connsiteX0" fmla="*/ 0 w 494985"/>
                <a:gd name="connsiteY0" fmla="*/ 28501 h 1100841"/>
                <a:gd name="connsiteX1" fmla="*/ 28501 w 494985"/>
                <a:gd name="connsiteY1" fmla="*/ 0 h 1100841"/>
                <a:gd name="connsiteX2" fmla="*/ 466484 w 494985"/>
                <a:gd name="connsiteY2" fmla="*/ 0 h 1100841"/>
                <a:gd name="connsiteX3" fmla="*/ 494985 w 494985"/>
                <a:gd name="connsiteY3" fmla="*/ 28501 h 1100841"/>
                <a:gd name="connsiteX4" fmla="*/ 494985 w 494985"/>
                <a:gd name="connsiteY4" fmla="*/ 1006985 h 1100841"/>
                <a:gd name="connsiteX5" fmla="*/ 466484 w 494985"/>
                <a:gd name="connsiteY5" fmla="*/ 1035486 h 1100841"/>
                <a:gd name="connsiteX6" fmla="*/ 202850 w 494985"/>
                <a:gd name="connsiteY6" fmla="*/ 1100839 h 1100841"/>
                <a:gd name="connsiteX7" fmla="*/ 28501 w 494985"/>
                <a:gd name="connsiteY7" fmla="*/ 1035486 h 1100841"/>
                <a:gd name="connsiteX8" fmla="*/ 0 w 494985"/>
                <a:gd name="connsiteY8" fmla="*/ 1006985 h 1100841"/>
                <a:gd name="connsiteX9" fmla="*/ 0 w 494985"/>
                <a:gd name="connsiteY9" fmla="*/ 28501 h 1100841"/>
                <a:gd name="connsiteX0" fmla="*/ 0 w 494985"/>
                <a:gd name="connsiteY0" fmla="*/ 28501 h 1122703"/>
                <a:gd name="connsiteX1" fmla="*/ 28501 w 494985"/>
                <a:gd name="connsiteY1" fmla="*/ 0 h 1122703"/>
                <a:gd name="connsiteX2" fmla="*/ 466484 w 494985"/>
                <a:gd name="connsiteY2" fmla="*/ 0 h 1122703"/>
                <a:gd name="connsiteX3" fmla="*/ 494985 w 494985"/>
                <a:gd name="connsiteY3" fmla="*/ 28501 h 1122703"/>
                <a:gd name="connsiteX4" fmla="*/ 494985 w 494985"/>
                <a:gd name="connsiteY4" fmla="*/ 1006985 h 1122703"/>
                <a:gd name="connsiteX5" fmla="*/ 466484 w 494985"/>
                <a:gd name="connsiteY5" fmla="*/ 1035486 h 1122703"/>
                <a:gd name="connsiteX6" fmla="*/ 326675 w 494985"/>
                <a:gd name="connsiteY6" fmla="*/ 1119889 h 1122703"/>
                <a:gd name="connsiteX7" fmla="*/ 202850 w 494985"/>
                <a:gd name="connsiteY7" fmla="*/ 1100839 h 1122703"/>
                <a:gd name="connsiteX8" fmla="*/ 28501 w 494985"/>
                <a:gd name="connsiteY8" fmla="*/ 1035486 h 1122703"/>
                <a:gd name="connsiteX9" fmla="*/ 0 w 494985"/>
                <a:gd name="connsiteY9" fmla="*/ 1006985 h 1122703"/>
                <a:gd name="connsiteX10" fmla="*/ 0 w 494985"/>
                <a:gd name="connsiteY10" fmla="*/ 28501 h 1122703"/>
                <a:gd name="connsiteX0" fmla="*/ 0 w 494985"/>
                <a:gd name="connsiteY0" fmla="*/ 28501 h 1120138"/>
                <a:gd name="connsiteX1" fmla="*/ 28501 w 494985"/>
                <a:gd name="connsiteY1" fmla="*/ 0 h 1120138"/>
                <a:gd name="connsiteX2" fmla="*/ 466484 w 494985"/>
                <a:gd name="connsiteY2" fmla="*/ 0 h 1120138"/>
                <a:gd name="connsiteX3" fmla="*/ 494985 w 494985"/>
                <a:gd name="connsiteY3" fmla="*/ 28501 h 1120138"/>
                <a:gd name="connsiteX4" fmla="*/ 494985 w 494985"/>
                <a:gd name="connsiteY4" fmla="*/ 1006985 h 1120138"/>
                <a:gd name="connsiteX5" fmla="*/ 466484 w 494985"/>
                <a:gd name="connsiteY5" fmla="*/ 1035486 h 1120138"/>
                <a:gd name="connsiteX6" fmla="*/ 364775 w 494985"/>
                <a:gd name="connsiteY6" fmla="*/ 1062739 h 1120138"/>
                <a:gd name="connsiteX7" fmla="*/ 326675 w 494985"/>
                <a:gd name="connsiteY7" fmla="*/ 1119889 h 1120138"/>
                <a:gd name="connsiteX8" fmla="*/ 202850 w 494985"/>
                <a:gd name="connsiteY8" fmla="*/ 1100839 h 1120138"/>
                <a:gd name="connsiteX9" fmla="*/ 28501 w 494985"/>
                <a:gd name="connsiteY9" fmla="*/ 1035486 h 1120138"/>
                <a:gd name="connsiteX10" fmla="*/ 0 w 494985"/>
                <a:gd name="connsiteY10" fmla="*/ 1006985 h 1120138"/>
                <a:gd name="connsiteX11" fmla="*/ 0 w 494985"/>
                <a:gd name="connsiteY11" fmla="*/ 28501 h 1120138"/>
                <a:gd name="connsiteX0" fmla="*/ 0 w 494985"/>
                <a:gd name="connsiteY0" fmla="*/ 28501 h 1126828"/>
                <a:gd name="connsiteX1" fmla="*/ 28501 w 494985"/>
                <a:gd name="connsiteY1" fmla="*/ 0 h 1126828"/>
                <a:gd name="connsiteX2" fmla="*/ 466484 w 494985"/>
                <a:gd name="connsiteY2" fmla="*/ 0 h 1126828"/>
                <a:gd name="connsiteX3" fmla="*/ 494985 w 494985"/>
                <a:gd name="connsiteY3" fmla="*/ 28501 h 1126828"/>
                <a:gd name="connsiteX4" fmla="*/ 494985 w 494985"/>
                <a:gd name="connsiteY4" fmla="*/ 1006985 h 1126828"/>
                <a:gd name="connsiteX5" fmla="*/ 466484 w 494985"/>
                <a:gd name="connsiteY5" fmla="*/ 1035486 h 1126828"/>
                <a:gd name="connsiteX6" fmla="*/ 364775 w 494985"/>
                <a:gd name="connsiteY6" fmla="*/ 1062739 h 1126828"/>
                <a:gd name="connsiteX7" fmla="*/ 326675 w 494985"/>
                <a:gd name="connsiteY7" fmla="*/ 1119889 h 1126828"/>
                <a:gd name="connsiteX8" fmla="*/ 212375 w 494985"/>
                <a:gd name="connsiteY8" fmla="*/ 1124651 h 1126828"/>
                <a:gd name="connsiteX9" fmla="*/ 28501 w 494985"/>
                <a:gd name="connsiteY9" fmla="*/ 1035486 h 1126828"/>
                <a:gd name="connsiteX10" fmla="*/ 0 w 494985"/>
                <a:gd name="connsiteY10" fmla="*/ 1006985 h 1126828"/>
                <a:gd name="connsiteX11" fmla="*/ 0 w 494985"/>
                <a:gd name="connsiteY11" fmla="*/ 28501 h 1126828"/>
                <a:gd name="connsiteX0" fmla="*/ 0 w 494985"/>
                <a:gd name="connsiteY0" fmla="*/ 28501 h 1126922"/>
                <a:gd name="connsiteX1" fmla="*/ 28501 w 494985"/>
                <a:gd name="connsiteY1" fmla="*/ 0 h 1126922"/>
                <a:gd name="connsiteX2" fmla="*/ 466484 w 494985"/>
                <a:gd name="connsiteY2" fmla="*/ 0 h 1126922"/>
                <a:gd name="connsiteX3" fmla="*/ 494985 w 494985"/>
                <a:gd name="connsiteY3" fmla="*/ 28501 h 1126922"/>
                <a:gd name="connsiteX4" fmla="*/ 494985 w 494985"/>
                <a:gd name="connsiteY4" fmla="*/ 1006985 h 1126922"/>
                <a:gd name="connsiteX5" fmla="*/ 466484 w 494985"/>
                <a:gd name="connsiteY5" fmla="*/ 1035486 h 1126922"/>
                <a:gd name="connsiteX6" fmla="*/ 364775 w 494985"/>
                <a:gd name="connsiteY6" fmla="*/ 1062739 h 1126922"/>
                <a:gd name="connsiteX7" fmla="*/ 326675 w 494985"/>
                <a:gd name="connsiteY7" fmla="*/ 1119889 h 1126922"/>
                <a:gd name="connsiteX8" fmla="*/ 212375 w 494985"/>
                <a:gd name="connsiteY8" fmla="*/ 1124651 h 1126922"/>
                <a:gd name="connsiteX9" fmla="*/ 145700 w 494985"/>
                <a:gd name="connsiteY9" fmla="*/ 1038927 h 1126922"/>
                <a:gd name="connsiteX10" fmla="*/ 28501 w 494985"/>
                <a:gd name="connsiteY10" fmla="*/ 1035486 h 1126922"/>
                <a:gd name="connsiteX11" fmla="*/ 0 w 494985"/>
                <a:gd name="connsiteY11" fmla="*/ 1006985 h 1126922"/>
                <a:gd name="connsiteX12" fmla="*/ 0 w 494985"/>
                <a:gd name="connsiteY12" fmla="*/ 28501 h 1126922"/>
                <a:gd name="connsiteX0" fmla="*/ 0 w 494985"/>
                <a:gd name="connsiteY0" fmla="*/ 28501 h 1126922"/>
                <a:gd name="connsiteX1" fmla="*/ 28501 w 494985"/>
                <a:gd name="connsiteY1" fmla="*/ 0 h 1126922"/>
                <a:gd name="connsiteX2" fmla="*/ 466484 w 494985"/>
                <a:gd name="connsiteY2" fmla="*/ 0 h 1126922"/>
                <a:gd name="connsiteX3" fmla="*/ 494985 w 494985"/>
                <a:gd name="connsiteY3" fmla="*/ 28501 h 1126922"/>
                <a:gd name="connsiteX4" fmla="*/ 494985 w 494985"/>
                <a:gd name="connsiteY4" fmla="*/ 1006985 h 1126922"/>
                <a:gd name="connsiteX5" fmla="*/ 466484 w 494985"/>
                <a:gd name="connsiteY5" fmla="*/ 1035486 h 1126922"/>
                <a:gd name="connsiteX6" fmla="*/ 364775 w 494985"/>
                <a:gd name="connsiteY6" fmla="*/ 1062739 h 1126922"/>
                <a:gd name="connsiteX7" fmla="*/ 326675 w 494985"/>
                <a:gd name="connsiteY7" fmla="*/ 1119889 h 1126922"/>
                <a:gd name="connsiteX8" fmla="*/ 212375 w 494985"/>
                <a:gd name="connsiteY8" fmla="*/ 1124651 h 1126922"/>
                <a:gd name="connsiteX9" fmla="*/ 145700 w 494985"/>
                <a:gd name="connsiteY9" fmla="*/ 1038927 h 1126922"/>
                <a:gd name="connsiteX10" fmla="*/ 28501 w 494985"/>
                <a:gd name="connsiteY10" fmla="*/ 1035486 h 1126922"/>
                <a:gd name="connsiteX11" fmla="*/ 0 w 494985"/>
                <a:gd name="connsiteY11" fmla="*/ 1006985 h 1126922"/>
                <a:gd name="connsiteX12" fmla="*/ 0 w 494985"/>
                <a:gd name="connsiteY12" fmla="*/ 28501 h 1126922"/>
                <a:gd name="connsiteX0" fmla="*/ 0 w 494985"/>
                <a:gd name="connsiteY0" fmla="*/ 28501 h 1126922"/>
                <a:gd name="connsiteX1" fmla="*/ 28501 w 494985"/>
                <a:gd name="connsiteY1" fmla="*/ 0 h 1126922"/>
                <a:gd name="connsiteX2" fmla="*/ 466484 w 494985"/>
                <a:gd name="connsiteY2" fmla="*/ 0 h 1126922"/>
                <a:gd name="connsiteX3" fmla="*/ 494985 w 494985"/>
                <a:gd name="connsiteY3" fmla="*/ 28501 h 1126922"/>
                <a:gd name="connsiteX4" fmla="*/ 494985 w 494985"/>
                <a:gd name="connsiteY4" fmla="*/ 1006985 h 1126922"/>
                <a:gd name="connsiteX5" fmla="*/ 466484 w 494985"/>
                <a:gd name="connsiteY5" fmla="*/ 1035486 h 1126922"/>
                <a:gd name="connsiteX6" fmla="*/ 364775 w 494985"/>
                <a:gd name="connsiteY6" fmla="*/ 1062739 h 1126922"/>
                <a:gd name="connsiteX7" fmla="*/ 326675 w 494985"/>
                <a:gd name="connsiteY7" fmla="*/ 1119889 h 1126922"/>
                <a:gd name="connsiteX8" fmla="*/ 212375 w 494985"/>
                <a:gd name="connsiteY8" fmla="*/ 1124651 h 1126922"/>
                <a:gd name="connsiteX9" fmla="*/ 150463 w 494985"/>
                <a:gd name="connsiteY9" fmla="*/ 1053215 h 1126922"/>
                <a:gd name="connsiteX10" fmla="*/ 28501 w 494985"/>
                <a:gd name="connsiteY10" fmla="*/ 1035486 h 1126922"/>
                <a:gd name="connsiteX11" fmla="*/ 0 w 494985"/>
                <a:gd name="connsiteY11" fmla="*/ 1006985 h 1126922"/>
                <a:gd name="connsiteX12" fmla="*/ 0 w 494985"/>
                <a:gd name="connsiteY12" fmla="*/ 28501 h 1126922"/>
                <a:gd name="connsiteX0" fmla="*/ 0 w 494985"/>
                <a:gd name="connsiteY0" fmla="*/ 28501 h 1126922"/>
                <a:gd name="connsiteX1" fmla="*/ 28501 w 494985"/>
                <a:gd name="connsiteY1" fmla="*/ 0 h 1126922"/>
                <a:gd name="connsiteX2" fmla="*/ 466484 w 494985"/>
                <a:gd name="connsiteY2" fmla="*/ 0 h 1126922"/>
                <a:gd name="connsiteX3" fmla="*/ 494985 w 494985"/>
                <a:gd name="connsiteY3" fmla="*/ 28501 h 1126922"/>
                <a:gd name="connsiteX4" fmla="*/ 494985 w 494985"/>
                <a:gd name="connsiteY4" fmla="*/ 1006985 h 1126922"/>
                <a:gd name="connsiteX5" fmla="*/ 466484 w 494985"/>
                <a:gd name="connsiteY5" fmla="*/ 1035486 h 1126922"/>
                <a:gd name="connsiteX6" fmla="*/ 364775 w 494985"/>
                <a:gd name="connsiteY6" fmla="*/ 1062739 h 1126922"/>
                <a:gd name="connsiteX7" fmla="*/ 326675 w 494985"/>
                <a:gd name="connsiteY7" fmla="*/ 1119889 h 1126922"/>
                <a:gd name="connsiteX8" fmla="*/ 212375 w 494985"/>
                <a:gd name="connsiteY8" fmla="*/ 1124651 h 1126922"/>
                <a:gd name="connsiteX9" fmla="*/ 150463 w 494985"/>
                <a:gd name="connsiteY9" fmla="*/ 1053215 h 1126922"/>
                <a:gd name="connsiteX10" fmla="*/ 28501 w 494985"/>
                <a:gd name="connsiteY10" fmla="*/ 1035486 h 1126922"/>
                <a:gd name="connsiteX11" fmla="*/ 0 w 494985"/>
                <a:gd name="connsiteY11" fmla="*/ 1006985 h 1126922"/>
                <a:gd name="connsiteX12" fmla="*/ 0 w 494985"/>
                <a:gd name="connsiteY12" fmla="*/ 28501 h 1126922"/>
                <a:gd name="connsiteX0" fmla="*/ 0 w 494985"/>
                <a:gd name="connsiteY0" fmla="*/ 28501 h 1119930"/>
                <a:gd name="connsiteX1" fmla="*/ 28501 w 494985"/>
                <a:gd name="connsiteY1" fmla="*/ 0 h 1119930"/>
                <a:gd name="connsiteX2" fmla="*/ 466484 w 494985"/>
                <a:gd name="connsiteY2" fmla="*/ 0 h 1119930"/>
                <a:gd name="connsiteX3" fmla="*/ 494985 w 494985"/>
                <a:gd name="connsiteY3" fmla="*/ 28501 h 1119930"/>
                <a:gd name="connsiteX4" fmla="*/ 494985 w 494985"/>
                <a:gd name="connsiteY4" fmla="*/ 1006985 h 1119930"/>
                <a:gd name="connsiteX5" fmla="*/ 466484 w 494985"/>
                <a:gd name="connsiteY5" fmla="*/ 1035486 h 1119930"/>
                <a:gd name="connsiteX6" fmla="*/ 364775 w 494985"/>
                <a:gd name="connsiteY6" fmla="*/ 1062739 h 1119930"/>
                <a:gd name="connsiteX7" fmla="*/ 326675 w 494985"/>
                <a:gd name="connsiteY7" fmla="*/ 1119889 h 1119930"/>
                <a:gd name="connsiteX8" fmla="*/ 150463 w 494985"/>
                <a:gd name="connsiteY8" fmla="*/ 1053215 h 1119930"/>
                <a:gd name="connsiteX9" fmla="*/ 28501 w 494985"/>
                <a:gd name="connsiteY9" fmla="*/ 1035486 h 1119930"/>
                <a:gd name="connsiteX10" fmla="*/ 0 w 494985"/>
                <a:gd name="connsiteY10" fmla="*/ 1006985 h 1119930"/>
                <a:gd name="connsiteX11" fmla="*/ 0 w 494985"/>
                <a:gd name="connsiteY11" fmla="*/ 28501 h 1119930"/>
                <a:gd name="connsiteX0" fmla="*/ 0 w 494985"/>
                <a:gd name="connsiteY0" fmla="*/ 28501 h 1120193"/>
                <a:gd name="connsiteX1" fmla="*/ 28501 w 494985"/>
                <a:gd name="connsiteY1" fmla="*/ 0 h 1120193"/>
                <a:gd name="connsiteX2" fmla="*/ 466484 w 494985"/>
                <a:gd name="connsiteY2" fmla="*/ 0 h 1120193"/>
                <a:gd name="connsiteX3" fmla="*/ 494985 w 494985"/>
                <a:gd name="connsiteY3" fmla="*/ 28501 h 1120193"/>
                <a:gd name="connsiteX4" fmla="*/ 494985 w 494985"/>
                <a:gd name="connsiteY4" fmla="*/ 1006985 h 1120193"/>
                <a:gd name="connsiteX5" fmla="*/ 466484 w 494985"/>
                <a:gd name="connsiteY5" fmla="*/ 1035486 h 1120193"/>
                <a:gd name="connsiteX6" fmla="*/ 364775 w 494985"/>
                <a:gd name="connsiteY6" fmla="*/ 1062739 h 1120193"/>
                <a:gd name="connsiteX7" fmla="*/ 326675 w 494985"/>
                <a:gd name="connsiteY7" fmla="*/ 1119889 h 1120193"/>
                <a:gd name="connsiteX8" fmla="*/ 28501 w 494985"/>
                <a:gd name="connsiteY8" fmla="*/ 1035486 h 1120193"/>
                <a:gd name="connsiteX9" fmla="*/ 0 w 494985"/>
                <a:gd name="connsiteY9" fmla="*/ 1006985 h 1120193"/>
                <a:gd name="connsiteX10" fmla="*/ 0 w 494985"/>
                <a:gd name="connsiteY10" fmla="*/ 28501 h 1120193"/>
                <a:gd name="connsiteX0" fmla="*/ 0 w 494985"/>
                <a:gd name="connsiteY0" fmla="*/ 28501 h 1062739"/>
                <a:gd name="connsiteX1" fmla="*/ 28501 w 494985"/>
                <a:gd name="connsiteY1" fmla="*/ 0 h 1062739"/>
                <a:gd name="connsiteX2" fmla="*/ 466484 w 494985"/>
                <a:gd name="connsiteY2" fmla="*/ 0 h 1062739"/>
                <a:gd name="connsiteX3" fmla="*/ 494985 w 494985"/>
                <a:gd name="connsiteY3" fmla="*/ 28501 h 1062739"/>
                <a:gd name="connsiteX4" fmla="*/ 494985 w 494985"/>
                <a:gd name="connsiteY4" fmla="*/ 1006985 h 1062739"/>
                <a:gd name="connsiteX5" fmla="*/ 466484 w 494985"/>
                <a:gd name="connsiteY5" fmla="*/ 1035486 h 1062739"/>
                <a:gd name="connsiteX6" fmla="*/ 364775 w 494985"/>
                <a:gd name="connsiteY6" fmla="*/ 1062739 h 1062739"/>
                <a:gd name="connsiteX7" fmla="*/ 28501 w 494985"/>
                <a:gd name="connsiteY7" fmla="*/ 1035486 h 1062739"/>
                <a:gd name="connsiteX8" fmla="*/ 0 w 494985"/>
                <a:gd name="connsiteY8" fmla="*/ 1006985 h 1062739"/>
                <a:gd name="connsiteX9" fmla="*/ 0 w 494985"/>
                <a:gd name="connsiteY9" fmla="*/ 28501 h 1062739"/>
                <a:gd name="connsiteX0" fmla="*/ 0 w 494985"/>
                <a:gd name="connsiteY0" fmla="*/ 28501 h 1035486"/>
                <a:gd name="connsiteX1" fmla="*/ 28501 w 494985"/>
                <a:gd name="connsiteY1" fmla="*/ 0 h 1035486"/>
                <a:gd name="connsiteX2" fmla="*/ 466484 w 494985"/>
                <a:gd name="connsiteY2" fmla="*/ 0 h 1035486"/>
                <a:gd name="connsiteX3" fmla="*/ 494985 w 494985"/>
                <a:gd name="connsiteY3" fmla="*/ 28501 h 1035486"/>
                <a:gd name="connsiteX4" fmla="*/ 494985 w 494985"/>
                <a:gd name="connsiteY4" fmla="*/ 1006985 h 1035486"/>
                <a:gd name="connsiteX5" fmla="*/ 466484 w 494985"/>
                <a:gd name="connsiteY5" fmla="*/ 1035486 h 1035486"/>
                <a:gd name="connsiteX6" fmla="*/ 28501 w 494985"/>
                <a:gd name="connsiteY6" fmla="*/ 1035486 h 1035486"/>
                <a:gd name="connsiteX7" fmla="*/ 0 w 494985"/>
                <a:gd name="connsiteY7" fmla="*/ 1006985 h 1035486"/>
                <a:gd name="connsiteX8" fmla="*/ 0 w 494985"/>
                <a:gd name="connsiteY8" fmla="*/ 28501 h 1035486"/>
                <a:gd name="connsiteX0" fmla="*/ 0 w 494985"/>
                <a:gd name="connsiteY0" fmla="*/ 28501 h 1038340"/>
                <a:gd name="connsiteX1" fmla="*/ 28501 w 494985"/>
                <a:gd name="connsiteY1" fmla="*/ 0 h 1038340"/>
                <a:gd name="connsiteX2" fmla="*/ 466484 w 494985"/>
                <a:gd name="connsiteY2" fmla="*/ 0 h 1038340"/>
                <a:gd name="connsiteX3" fmla="*/ 494985 w 494985"/>
                <a:gd name="connsiteY3" fmla="*/ 28501 h 1038340"/>
                <a:gd name="connsiteX4" fmla="*/ 494985 w 494985"/>
                <a:gd name="connsiteY4" fmla="*/ 1006985 h 1038340"/>
                <a:gd name="connsiteX5" fmla="*/ 466484 w 494985"/>
                <a:gd name="connsiteY5" fmla="*/ 1035486 h 1038340"/>
                <a:gd name="connsiteX6" fmla="*/ 153637 w 494985"/>
                <a:gd name="connsiteY6" fmla="*/ 1037339 h 1038340"/>
                <a:gd name="connsiteX7" fmla="*/ 28501 w 494985"/>
                <a:gd name="connsiteY7" fmla="*/ 1035486 h 1038340"/>
                <a:gd name="connsiteX8" fmla="*/ 0 w 494985"/>
                <a:gd name="connsiteY8" fmla="*/ 1006985 h 1038340"/>
                <a:gd name="connsiteX9" fmla="*/ 0 w 494985"/>
                <a:gd name="connsiteY9" fmla="*/ 28501 h 1038340"/>
                <a:gd name="connsiteX0" fmla="*/ 0 w 494985"/>
                <a:gd name="connsiteY0" fmla="*/ 28501 h 1038241"/>
                <a:gd name="connsiteX1" fmla="*/ 28501 w 494985"/>
                <a:gd name="connsiteY1" fmla="*/ 0 h 1038241"/>
                <a:gd name="connsiteX2" fmla="*/ 466484 w 494985"/>
                <a:gd name="connsiteY2" fmla="*/ 0 h 1038241"/>
                <a:gd name="connsiteX3" fmla="*/ 494985 w 494985"/>
                <a:gd name="connsiteY3" fmla="*/ 28501 h 1038241"/>
                <a:gd name="connsiteX4" fmla="*/ 494985 w 494985"/>
                <a:gd name="connsiteY4" fmla="*/ 1006985 h 1038241"/>
                <a:gd name="connsiteX5" fmla="*/ 466484 w 494985"/>
                <a:gd name="connsiteY5" fmla="*/ 1035486 h 1038241"/>
                <a:gd name="connsiteX6" fmla="*/ 274287 w 494985"/>
                <a:gd name="connsiteY6" fmla="*/ 1037339 h 1038241"/>
                <a:gd name="connsiteX7" fmla="*/ 153637 w 494985"/>
                <a:gd name="connsiteY7" fmla="*/ 1037339 h 1038241"/>
                <a:gd name="connsiteX8" fmla="*/ 28501 w 494985"/>
                <a:gd name="connsiteY8" fmla="*/ 1035486 h 1038241"/>
                <a:gd name="connsiteX9" fmla="*/ 0 w 494985"/>
                <a:gd name="connsiteY9" fmla="*/ 1006985 h 1038241"/>
                <a:gd name="connsiteX10" fmla="*/ 0 w 494985"/>
                <a:gd name="connsiteY10" fmla="*/ 28501 h 1038241"/>
                <a:gd name="connsiteX0" fmla="*/ 0 w 494985"/>
                <a:gd name="connsiteY0" fmla="*/ 28501 h 1038241"/>
                <a:gd name="connsiteX1" fmla="*/ 28501 w 494985"/>
                <a:gd name="connsiteY1" fmla="*/ 0 h 1038241"/>
                <a:gd name="connsiteX2" fmla="*/ 466484 w 494985"/>
                <a:gd name="connsiteY2" fmla="*/ 0 h 1038241"/>
                <a:gd name="connsiteX3" fmla="*/ 494985 w 494985"/>
                <a:gd name="connsiteY3" fmla="*/ 28501 h 1038241"/>
                <a:gd name="connsiteX4" fmla="*/ 494985 w 494985"/>
                <a:gd name="connsiteY4" fmla="*/ 1006985 h 1038241"/>
                <a:gd name="connsiteX5" fmla="*/ 466484 w 494985"/>
                <a:gd name="connsiteY5" fmla="*/ 1035486 h 1038241"/>
                <a:gd name="connsiteX6" fmla="*/ 369537 w 494985"/>
                <a:gd name="connsiteY6" fmla="*/ 1030990 h 1038241"/>
                <a:gd name="connsiteX7" fmla="*/ 274287 w 494985"/>
                <a:gd name="connsiteY7" fmla="*/ 1037339 h 1038241"/>
                <a:gd name="connsiteX8" fmla="*/ 153637 w 494985"/>
                <a:gd name="connsiteY8" fmla="*/ 1037339 h 1038241"/>
                <a:gd name="connsiteX9" fmla="*/ 28501 w 494985"/>
                <a:gd name="connsiteY9" fmla="*/ 1035486 h 1038241"/>
                <a:gd name="connsiteX10" fmla="*/ 0 w 494985"/>
                <a:gd name="connsiteY10" fmla="*/ 1006985 h 1038241"/>
                <a:gd name="connsiteX11" fmla="*/ 0 w 494985"/>
                <a:gd name="connsiteY11" fmla="*/ 28501 h 1038241"/>
                <a:gd name="connsiteX0" fmla="*/ 0 w 494985"/>
                <a:gd name="connsiteY0" fmla="*/ 28501 h 1107189"/>
                <a:gd name="connsiteX1" fmla="*/ 28501 w 494985"/>
                <a:gd name="connsiteY1" fmla="*/ 0 h 1107189"/>
                <a:gd name="connsiteX2" fmla="*/ 466484 w 494985"/>
                <a:gd name="connsiteY2" fmla="*/ 0 h 1107189"/>
                <a:gd name="connsiteX3" fmla="*/ 494985 w 494985"/>
                <a:gd name="connsiteY3" fmla="*/ 28501 h 1107189"/>
                <a:gd name="connsiteX4" fmla="*/ 494985 w 494985"/>
                <a:gd name="connsiteY4" fmla="*/ 1006985 h 1107189"/>
                <a:gd name="connsiteX5" fmla="*/ 466484 w 494985"/>
                <a:gd name="connsiteY5" fmla="*/ 1035486 h 1107189"/>
                <a:gd name="connsiteX6" fmla="*/ 369537 w 494985"/>
                <a:gd name="connsiteY6" fmla="*/ 1030990 h 1107189"/>
                <a:gd name="connsiteX7" fmla="*/ 274287 w 494985"/>
                <a:gd name="connsiteY7" fmla="*/ 1037339 h 1107189"/>
                <a:gd name="connsiteX8" fmla="*/ 159987 w 494985"/>
                <a:gd name="connsiteY8" fmla="*/ 1107189 h 1107189"/>
                <a:gd name="connsiteX9" fmla="*/ 28501 w 494985"/>
                <a:gd name="connsiteY9" fmla="*/ 1035486 h 1107189"/>
                <a:gd name="connsiteX10" fmla="*/ 0 w 494985"/>
                <a:gd name="connsiteY10" fmla="*/ 1006985 h 1107189"/>
                <a:gd name="connsiteX11" fmla="*/ 0 w 494985"/>
                <a:gd name="connsiteY11" fmla="*/ 28501 h 1107189"/>
                <a:gd name="connsiteX0" fmla="*/ 0 w 494985"/>
                <a:gd name="connsiteY0" fmla="*/ 28501 h 1107189"/>
                <a:gd name="connsiteX1" fmla="*/ 28501 w 494985"/>
                <a:gd name="connsiteY1" fmla="*/ 0 h 1107189"/>
                <a:gd name="connsiteX2" fmla="*/ 466484 w 494985"/>
                <a:gd name="connsiteY2" fmla="*/ 0 h 1107189"/>
                <a:gd name="connsiteX3" fmla="*/ 494985 w 494985"/>
                <a:gd name="connsiteY3" fmla="*/ 28501 h 1107189"/>
                <a:gd name="connsiteX4" fmla="*/ 494985 w 494985"/>
                <a:gd name="connsiteY4" fmla="*/ 1006985 h 1107189"/>
                <a:gd name="connsiteX5" fmla="*/ 466484 w 494985"/>
                <a:gd name="connsiteY5" fmla="*/ 1035486 h 1107189"/>
                <a:gd name="connsiteX6" fmla="*/ 369537 w 494985"/>
                <a:gd name="connsiteY6" fmla="*/ 1030990 h 1107189"/>
                <a:gd name="connsiteX7" fmla="*/ 274287 w 494985"/>
                <a:gd name="connsiteY7" fmla="*/ 1100839 h 1107189"/>
                <a:gd name="connsiteX8" fmla="*/ 159987 w 494985"/>
                <a:gd name="connsiteY8" fmla="*/ 1107189 h 1107189"/>
                <a:gd name="connsiteX9" fmla="*/ 28501 w 494985"/>
                <a:gd name="connsiteY9" fmla="*/ 1035486 h 1107189"/>
                <a:gd name="connsiteX10" fmla="*/ 0 w 494985"/>
                <a:gd name="connsiteY10" fmla="*/ 1006985 h 1107189"/>
                <a:gd name="connsiteX11" fmla="*/ 0 w 494985"/>
                <a:gd name="connsiteY11" fmla="*/ 28501 h 1107189"/>
                <a:gd name="connsiteX0" fmla="*/ 0 w 494985"/>
                <a:gd name="connsiteY0" fmla="*/ 28501 h 1100839"/>
                <a:gd name="connsiteX1" fmla="*/ 28501 w 494985"/>
                <a:gd name="connsiteY1" fmla="*/ 0 h 1100839"/>
                <a:gd name="connsiteX2" fmla="*/ 466484 w 494985"/>
                <a:gd name="connsiteY2" fmla="*/ 0 h 1100839"/>
                <a:gd name="connsiteX3" fmla="*/ 494985 w 494985"/>
                <a:gd name="connsiteY3" fmla="*/ 28501 h 1100839"/>
                <a:gd name="connsiteX4" fmla="*/ 494985 w 494985"/>
                <a:gd name="connsiteY4" fmla="*/ 1006985 h 1100839"/>
                <a:gd name="connsiteX5" fmla="*/ 466484 w 494985"/>
                <a:gd name="connsiteY5" fmla="*/ 1035486 h 1100839"/>
                <a:gd name="connsiteX6" fmla="*/ 369537 w 494985"/>
                <a:gd name="connsiteY6" fmla="*/ 1030990 h 1100839"/>
                <a:gd name="connsiteX7" fmla="*/ 274287 w 494985"/>
                <a:gd name="connsiteY7" fmla="*/ 1100839 h 1100839"/>
                <a:gd name="connsiteX8" fmla="*/ 157605 w 494985"/>
                <a:gd name="connsiteY8" fmla="*/ 1033370 h 1100839"/>
                <a:gd name="connsiteX9" fmla="*/ 28501 w 494985"/>
                <a:gd name="connsiteY9" fmla="*/ 1035486 h 1100839"/>
                <a:gd name="connsiteX10" fmla="*/ 0 w 494985"/>
                <a:gd name="connsiteY10" fmla="*/ 1006985 h 1100839"/>
                <a:gd name="connsiteX11" fmla="*/ 0 w 494985"/>
                <a:gd name="connsiteY11" fmla="*/ 28501 h 1100839"/>
                <a:gd name="connsiteX0" fmla="*/ 0 w 494985"/>
                <a:gd name="connsiteY0" fmla="*/ 28501 h 1100839"/>
                <a:gd name="connsiteX1" fmla="*/ 28501 w 494985"/>
                <a:gd name="connsiteY1" fmla="*/ 0 h 1100839"/>
                <a:gd name="connsiteX2" fmla="*/ 466484 w 494985"/>
                <a:gd name="connsiteY2" fmla="*/ 0 h 1100839"/>
                <a:gd name="connsiteX3" fmla="*/ 494985 w 494985"/>
                <a:gd name="connsiteY3" fmla="*/ 28501 h 1100839"/>
                <a:gd name="connsiteX4" fmla="*/ 494985 w 494985"/>
                <a:gd name="connsiteY4" fmla="*/ 1006985 h 1100839"/>
                <a:gd name="connsiteX5" fmla="*/ 466484 w 494985"/>
                <a:gd name="connsiteY5" fmla="*/ 1035486 h 1100839"/>
                <a:gd name="connsiteX6" fmla="*/ 369537 w 494985"/>
                <a:gd name="connsiteY6" fmla="*/ 1030990 h 1100839"/>
                <a:gd name="connsiteX7" fmla="*/ 274287 w 494985"/>
                <a:gd name="connsiteY7" fmla="*/ 1100839 h 1100839"/>
                <a:gd name="connsiteX8" fmla="*/ 150461 w 494985"/>
                <a:gd name="connsiteY8" fmla="*/ 1040514 h 1100839"/>
                <a:gd name="connsiteX9" fmla="*/ 28501 w 494985"/>
                <a:gd name="connsiteY9" fmla="*/ 1035486 h 1100839"/>
                <a:gd name="connsiteX10" fmla="*/ 0 w 494985"/>
                <a:gd name="connsiteY10" fmla="*/ 1006985 h 1100839"/>
                <a:gd name="connsiteX11" fmla="*/ 0 w 494985"/>
                <a:gd name="connsiteY11" fmla="*/ 28501 h 1100839"/>
                <a:gd name="connsiteX0" fmla="*/ 0 w 494985"/>
                <a:gd name="connsiteY0" fmla="*/ 28501 h 1100839"/>
                <a:gd name="connsiteX1" fmla="*/ 28501 w 494985"/>
                <a:gd name="connsiteY1" fmla="*/ 0 h 1100839"/>
                <a:gd name="connsiteX2" fmla="*/ 466484 w 494985"/>
                <a:gd name="connsiteY2" fmla="*/ 0 h 1100839"/>
                <a:gd name="connsiteX3" fmla="*/ 494985 w 494985"/>
                <a:gd name="connsiteY3" fmla="*/ 28501 h 1100839"/>
                <a:gd name="connsiteX4" fmla="*/ 494985 w 494985"/>
                <a:gd name="connsiteY4" fmla="*/ 1006985 h 1100839"/>
                <a:gd name="connsiteX5" fmla="*/ 466484 w 494985"/>
                <a:gd name="connsiteY5" fmla="*/ 1035486 h 1100839"/>
                <a:gd name="connsiteX6" fmla="*/ 369537 w 494985"/>
                <a:gd name="connsiteY6" fmla="*/ 1030990 h 1100839"/>
                <a:gd name="connsiteX7" fmla="*/ 274287 w 494985"/>
                <a:gd name="connsiteY7" fmla="*/ 1100839 h 1100839"/>
                <a:gd name="connsiteX8" fmla="*/ 148080 w 494985"/>
                <a:gd name="connsiteY8" fmla="*/ 1033370 h 1100839"/>
                <a:gd name="connsiteX9" fmla="*/ 28501 w 494985"/>
                <a:gd name="connsiteY9" fmla="*/ 1035486 h 1100839"/>
                <a:gd name="connsiteX10" fmla="*/ 0 w 494985"/>
                <a:gd name="connsiteY10" fmla="*/ 1006985 h 1100839"/>
                <a:gd name="connsiteX11" fmla="*/ 0 w 494985"/>
                <a:gd name="connsiteY11" fmla="*/ 28501 h 1100839"/>
                <a:gd name="connsiteX0" fmla="*/ 0 w 494985"/>
                <a:gd name="connsiteY0" fmla="*/ 28501 h 1100839"/>
                <a:gd name="connsiteX1" fmla="*/ 28501 w 494985"/>
                <a:gd name="connsiteY1" fmla="*/ 0 h 1100839"/>
                <a:gd name="connsiteX2" fmla="*/ 466484 w 494985"/>
                <a:gd name="connsiteY2" fmla="*/ 0 h 1100839"/>
                <a:gd name="connsiteX3" fmla="*/ 494985 w 494985"/>
                <a:gd name="connsiteY3" fmla="*/ 28501 h 1100839"/>
                <a:gd name="connsiteX4" fmla="*/ 494985 w 494985"/>
                <a:gd name="connsiteY4" fmla="*/ 1006985 h 1100839"/>
                <a:gd name="connsiteX5" fmla="*/ 466484 w 494985"/>
                <a:gd name="connsiteY5" fmla="*/ 1035486 h 1100839"/>
                <a:gd name="connsiteX6" fmla="*/ 369537 w 494985"/>
                <a:gd name="connsiteY6" fmla="*/ 1030990 h 1100839"/>
                <a:gd name="connsiteX7" fmla="*/ 274287 w 494985"/>
                <a:gd name="connsiteY7" fmla="*/ 1100839 h 1100839"/>
                <a:gd name="connsiteX8" fmla="*/ 148080 w 494985"/>
                <a:gd name="connsiteY8" fmla="*/ 1033370 h 1100839"/>
                <a:gd name="connsiteX9" fmla="*/ 28501 w 494985"/>
                <a:gd name="connsiteY9" fmla="*/ 1035486 h 1100839"/>
                <a:gd name="connsiteX10" fmla="*/ 0 w 494985"/>
                <a:gd name="connsiteY10" fmla="*/ 1006985 h 1100839"/>
                <a:gd name="connsiteX11" fmla="*/ 0 w 494985"/>
                <a:gd name="connsiteY11" fmla="*/ 28501 h 1100839"/>
                <a:gd name="connsiteX0" fmla="*/ 0 w 494985"/>
                <a:gd name="connsiteY0" fmla="*/ 28501 h 1100839"/>
                <a:gd name="connsiteX1" fmla="*/ 28501 w 494985"/>
                <a:gd name="connsiteY1" fmla="*/ 0 h 1100839"/>
                <a:gd name="connsiteX2" fmla="*/ 466484 w 494985"/>
                <a:gd name="connsiteY2" fmla="*/ 0 h 1100839"/>
                <a:gd name="connsiteX3" fmla="*/ 494985 w 494985"/>
                <a:gd name="connsiteY3" fmla="*/ 28501 h 1100839"/>
                <a:gd name="connsiteX4" fmla="*/ 494985 w 494985"/>
                <a:gd name="connsiteY4" fmla="*/ 1006985 h 1100839"/>
                <a:gd name="connsiteX5" fmla="*/ 466484 w 494985"/>
                <a:gd name="connsiteY5" fmla="*/ 1035486 h 1100839"/>
                <a:gd name="connsiteX6" fmla="*/ 369537 w 494985"/>
                <a:gd name="connsiteY6" fmla="*/ 1030990 h 1100839"/>
                <a:gd name="connsiteX7" fmla="*/ 198087 w 494985"/>
                <a:gd name="connsiteY7" fmla="*/ 1100839 h 1100839"/>
                <a:gd name="connsiteX8" fmla="*/ 148080 w 494985"/>
                <a:gd name="connsiteY8" fmla="*/ 1033370 h 1100839"/>
                <a:gd name="connsiteX9" fmla="*/ 28501 w 494985"/>
                <a:gd name="connsiteY9" fmla="*/ 1035486 h 1100839"/>
                <a:gd name="connsiteX10" fmla="*/ 0 w 494985"/>
                <a:gd name="connsiteY10" fmla="*/ 1006985 h 1100839"/>
                <a:gd name="connsiteX11" fmla="*/ 0 w 494985"/>
                <a:gd name="connsiteY11" fmla="*/ 28501 h 1100839"/>
                <a:gd name="connsiteX0" fmla="*/ 0 w 494985"/>
                <a:gd name="connsiteY0" fmla="*/ 28501 h 1100839"/>
                <a:gd name="connsiteX1" fmla="*/ 28501 w 494985"/>
                <a:gd name="connsiteY1" fmla="*/ 0 h 1100839"/>
                <a:gd name="connsiteX2" fmla="*/ 466484 w 494985"/>
                <a:gd name="connsiteY2" fmla="*/ 0 h 1100839"/>
                <a:gd name="connsiteX3" fmla="*/ 494985 w 494985"/>
                <a:gd name="connsiteY3" fmla="*/ 28501 h 1100839"/>
                <a:gd name="connsiteX4" fmla="*/ 494985 w 494985"/>
                <a:gd name="connsiteY4" fmla="*/ 1006985 h 1100839"/>
                <a:gd name="connsiteX5" fmla="*/ 466484 w 494985"/>
                <a:gd name="connsiteY5" fmla="*/ 1035486 h 1100839"/>
                <a:gd name="connsiteX6" fmla="*/ 369537 w 494985"/>
                <a:gd name="connsiteY6" fmla="*/ 1030990 h 1100839"/>
                <a:gd name="connsiteX7" fmla="*/ 198087 w 494985"/>
                <a:gd name="connsiteY7" fmla="*/ 1100839 h 1100839"/>
                <a:gd name="connsiteX8" fmla="*/ 148080 w 494985"/>
                <a:gd name="connsiteY8" fmla="*/ 1033370 h 1100839"/>
                <a:gd name="connsiteX9" fmla="*/ 28501 w 494985"/>
                <a:gd name="connsiteY9" fmla="*/ 1035486 h 1100839"/>
                <a:gd name="connsiteX10" fmla="*/ 0 w 494985"/>
                <a:gd name="connsiteY10" fmla="*/ 1006985 h 1100839"/>
                <a:gd name="connsiteX11" fmla="*/ 0 w 494985"/>
                <a:gd name="connsiteY11" fmla="*/ 28501 h 1100839"/>
                <a:gd name="connsiteX0" fmla="*/ 0 w 494985"/>
                <a:gd name="connsiteY0" fmla="*/ 28501 h 1100857"/>
                <a:gd name="connsiteX1" fmla="*/ 28501 w 494985"/>
                <a:gd name="connsiteY1" fmla="*/ 0 h 1100857"/>
                <a:gd name="connsiteX2" fmla="*/ 466484 w 494985"/>
                <a:gd name="connsiteY2" fmla="*/ 0 h 1100857"/>
                <a:gd name="connsiteX3" fmla="*/ 494985 w 494985"/>
                <a:gd name="connsiteY3" fmla="*/ 28501 h 1100857"/>
                <a:gd name="connsiteX4" fmla="*/ 494985 w 494985"/>
                <a:gd name="connsiteY4" fmla="*/ 1006985 h 1100857"/>
                <a:gd name="connsiteX5" fmla="*/ 466484 w 494985"/>
                <a:gd name="connsiteY5" fmla="*/ 1035486 h 1100857"/>
                <a:gd name="connsiteX6" fmla="*/ 369537 w 494985"/>
                <a:gd name="connsiteY6" fmla="*/ 1030990 h 1100857"/>
                <a:gd name="connsiteX7" fmla="*/ 198087 w 494985"/>
                <a:gd name="connsiteY7" fmla="*/ 1100839 h 1100857"/>
                <a:gd name="connsiteX8" fmla="*/ 148080 w 494985"/>
                <a:gd name="connsiteY8" fmla="*/ 1033370 h 1100857"/>
                <a:gd name="connsiteX9" fmla="*/ 28501 w 494985"/>
                <a:gd name="connsiteY9" fmla="*/ 1035486 h 1100857"/>
                <a:gd name="connsiteX10" fmla="*/ 0 w 494985"/>
                <a:gd name="connsiteY10" fmla="*/ 1006985 h 1100857"/>
                <a:gd name="connsiteX11" fmla="*/ 0 w 494985"/>
                <a:gd name="connsiteY11" fmla="*/ 28501 h 1100857"/>
                <a:gd name="connsiteX0" fmla="*/ 0 w 494985"/>
                <a:gd name="connsiteY0" fmla="*/ 28501 h 1101187"/>
                <a:gd name="connsiteX1" fmla="*/ 28501 w 494985"/>
                <a:gd name="connsiteY1" fmla="*/ 0 h 1101187"/>
                <a:gd name="connsiteX2" fmla="*/ 466484 w 494985"/>
                <a:gd name="connsiteY2" fmla="*/ 0 h 1101187"/>
                <a:gd name="connsiteX3" fmla="*/ 494985 w 494985"/>
                <a:gd name="connsiteY3" fmla="*/ 28501 h 1101187"/>
                <a:gd name="connsiteX4" fmla="*/ 494985 w 494985"/>
                <a:gd name="connsiteY4" fmla="*/ 1006985 h 1101187"/>
                <a:gd name="connsiteX5" fmla="*/ 466484 w 494985"/>
                <a:gd name="connsiteY5" fmla="*/ 1035486 h 1101187"/>
                <a:gd name="connsiteX6" fmla="*/ 369537 w 494985"/>
                <a:gd name="connsiteY6" fmla="*/ 1030990 h 1101187"/>
                <a:gd name="connsiteX7" fmla="*/ 198087 w 494985"/>
                <a:gd name="connsiteY7" fmla="*/ 1100839 h 1101187"/>
                <a:gd name="connsiteX8" fmla="*/ 148080 w 494985"/>
                <a:gd name="connsiteY8" fmla="*/ 1033370 h 1101187"/>
                <a:gd name="connsiteX9" fmla="*/ 28501 w 494985"/>
                <a:gd name="connsiteY9" fmla="*/ 1035486 h 1101187"/>
                <a:gd name="connsiteX10" fmla="*/ 0 w 494985"/>
                <a:gd name="connsiteY10" fmla="*/ 1006985 h 1101187"/>
                <a:gd name="connsiteX11" fmla="*/ 0 w 494985"/>
                <a:gd name="connsiteY11" fmla="*/ 28501 h 1101187"/>
                <a:gd name="connsiteX0" fmla="*/ 0 w 494985"/>
                <a:gd name="connsiteY0" fmla="*/ 28501 h 1101096"/>
                <a:gd name="connsiteX1" fmla="*/ 28501 w 494985"/>
                <a:gd name="connsiteY1" fmla="*/ 0 h 1101096"/>
                <a:gd name="connsiteX2" fmla="*/ 466484 w 494985"/>
                <a:gd name="connsiteY2" fmla="*/ 0 h 1101096"/>
                <a:gd name="connsiteX3" fmla="*/ 494985 w 494985"/>
                <a:gd name="connsiteY3" fmla="*/ 28501 h 1101096"/>
                <a:gd name="connsiteX4" fmla="*/ 494985 w 494985"/>
                <a:gd name="connsiteY4" fmla="*/ 1006985 h 1101096"/>
                <a:gd name="connsiteX5" fmla="*/ 466484 w 494985"/>
                <a:gd name="connsiteY5" fmla="*/ 1035486 h 1101096"/>
                <a:gd name="connsiteX6" fmla="*/ 369537 w 494985"/>
                <a:gd name="connsiteY6" fmla="*/ 1030990 h 1101096"/>
                <a:gd name="connsiteX7" fmla="*/ 290956 w 494985"/>
                <a:gd name="connsiteY7" fmla="*/ 1055596 h 1101096"/>
                <a:gd name="connsiteX8" fmla="*/ 198087 w 494985"/>
                <a:gd name="connsiteY8" fmla="*/ 1100839 h 1101096"/>
                <a:gd name="connsiteX9" fmla="*/ 148080 w 494985"/>
                <a:gd name="connsiteY9" fmla="*/ 1033370 h 1101096"/>
                <a:gd name="connsiteX10" fmla="*/ 28501 w 494985"/>
                <a:gd name="connsiteY10" fmla="*/ 1035486 h 1101096"/>
                <a:gd name="connsiteX11" fmla="*/ 0 w 494985"/>
                <a:gd name="connsiteY11" fmla="*/ 1006985 h 1101096"/>
                <a:gd name="connsiteX12" fmla="*/ 0 w 494985"/>
                <a:gd name="connsiteY12" fmla="*/ 28501 h 1101096"/>
                <a:gd name="connsiteX0" fmla="*/ 0 w 494985"/>
                <a:gd name="connsiteY0" fmla="*/ 28501 h 1105462"/>
                <a:gd name="connsiteX1" fmla="*/ 28501 w 494985"/>
                <a:gd name="connsiteY1" fmla="*/ 0 h 1105462"/>
                <a:gd name="connsiteX2" fmla="*/ 466484 w 494985"/>
                <a:gd name="connsiteY2" fmla="*/ 0 h 1105462"/>
                <a:gd name="connsiteX3" fmla="*/ 494985 w 494985"/>
                <a:gd name="connsiteY3" fmla="*/ 28501 h 1105462"/>
                <a:gd name="connsiteX4" fmla="*/ 494985 w 494985"/>
                <a:gd name="connsiteY4" fmla="*/ 1006985 h 1105462"/>
                <a:gd name="connsiteX5" fmla="*/ 466484 w 494985"/>
                <a:gd name="connsiteY5" fmla="*/ 1035486 h 1105462"/>
                <a:gd name="connsiteX6" fmla="*/ 369537 w 494985"/>
                <a:gd name="connsiteY6" fmla="*/ 1030990 h 1105462"/>
                <a:gd name="connsiteX7" fmla="*/ 305243 w 494985"/>
                <a:gd name="connsiteY7" fmla="*/ 1098458 h 1105462"/>
                <a:gd name="connsiteX8" fmla="*/ 198087 w 494985"/>
                <a:gd name="connsiteY8" fmla="*/ 1100839 h 1105462"/>
                <a:gd name="connsiteX9" fmla="*/ 148080 w 494985"/>
                <a:gd name="connsiteY9" fmla="*/ 1033370 h 1105462"/>
                <a:gd name="connsiteX10" fmla="*/ 28501 w 494985"/>
                <a:gd name="connsiteY10" fmla="*/ 1035486 h 1105462"/>
                <a:gd name="connsiteX11" fmla="*/ 0 w 494985"/>
                <a:gd name="connsiteY11" fmla="*/ 1006985 h 1105462"/>
                <a:gd name="connsiteX12" fmla="*/ 0 w 494985"/>
                <a:gd name="connsiteY12" fmla="*/ 28501 h 1105462"/>
                <a:gd name="connsiteX0" fmla="*/ 0 w 494985"/>
                <a:gd name="connsiteY0" fmla="*/ 28501 h 1105462"/>
                <a:gd name="connsiteX1" fmla="*/ 28501 w 494985"/>
                <a:gd name="connsiteY1" fmla="*/ 0 h 1105462"/>
                <a:gd name="connsiteX2" fmla="*/ 466484 w 494985"/>
                <a:gd name="connsiteY2" fmla="*/ 0 h 1105462"/>
                <a:gd name="connsiteX3" fmla="*/ 494985 w 494985"/>
                <a:gd name="connsiteY3" fmla="*/ 28501 h 1105462"/>
                <a:gd name="connsiteX4" fmla="*/ 494985 w 494985"/>
                <a:gd name="connsiteY4" fmla="*/ 1006985 h 1105462"/>
                <a:gd name="connsiteX5" fmla="*/ 466484 w 494985"/>
                <a:gd name="connsiteY5" fmla="*/ 1035486 h 1105462"/>
                <a:gd name="connsiteX6" fmla="*/ 369537 w 494985"/>
                <a:gd name="connsiteY6" fmla="*/ 1030990 h 1105462"/>
                <a:gd name="connsiteX7" fmla="*/ 305243 w 494985"/>
                <a:gd name="connsiteY7" fmla="*/ 1098458 h 1105462"/>
                <a:gd name="connsiteX8" fmla="*/ 198087 w 494985"/>
                <a:gd name="connsiteY8" fmla="*/ 1100839 h 1105462"/>
                <a:gd name="connsiteX9" fmla="*/ 148080 w 494985"/>
                <a:gd name="connsiteY9" fmla="*/ 1033370 h 1105462"/>
                <a:gd name="connsiteX10" fmla="*/ 28501 w 494985"/>
                <a:gd name="connsiteY10" fmla="*/ 1035486 h 1105462"/>
                <a:gd name="connsiteX11" fmla="*/ 0 w 494985"/>
                <a:gd name="connsiteY11" fmla="*/ 1006985 h 1105462"/>
                <a:gd name="connsiteX12" fmla="*/ 0 w 494985"/>
                <a:gd name="connsiteY12" fmla="*/ 28501 h 1105462"/>
                <a:gd name="connsiteX0" fmla="*/ 0 w 494985"/>
                <a:gd name="connsiteY0" fmla="*/ 28501 h 1102002"/>
                <a:gd name="connsiteX1" fmla="*/ 28501 w 494985"/>
                <a:gd name="connsiteY1" fmla="*/ 0 h 1102002"/>
                <a:gd name="connsiteX2" fmla="*/ 466484 w 494985"/>
                <a:gd name="connsiteY2" fmla="*/ 0 h 1102002"/>
                <a:gd name="connsiteX3" fmla="*/ 494985 w 494985"/>
                <a:gd name="connsiteY3" fmla="*/ 28501 h 1102002"/>
                <a:gd name="connsiteX4" fmla="*/ 494985 w 494985"/>
                <a:gd name="connsiteY4" fmla="*/ 1006985 h 1102002"/>
                <a:gd name="connsiteX5" fmla="*/ 466484 w 494985"/>
                <a:gd name="connsiteY5" fmla="*/ 1035486 h 1102002"/>
                <a:gd name="connsiteX6" fmla="*/ 369537 w 494985"/>
                <a:gd name="connsiteY6" fmla="*/ 1030990 h 1102002"/>
                <a:gd name="connsiteX7" fmla="*/ 305243 w 494985"/>
                <a:gd name="connsiteY7" fmla="*/ 1098458 h 1102002"/>
                <a:gd name="connsiteX8" fmla="*/ 198087 w 494985"/>
                <a:gd name="connsiteY8" fmla="*/ 1100839 h 1102002"/>
                <a:gd name="connsiteX9" fmla="*/ 148080 w 494985"/>
                <a:gd name="connsiteY9" fmla="*/ 1033370 h 1102002"/>
                <a:gd name="connsiteX10" fmla="*/ 28501 w 494985"/>
                <a:gd name="connsiteY10" fmla="*/ 1035486 h 1102002"/>
                <a:gd name="connsiteX11" fmla="*/ 0 w 494985"/>
                <a:gd name="connsiteY11" fmla="*/ 1006985 h 1102002"/>
                <a:gd name="connsiteX12" fmla="*/ 0 w 494985"/>
                <a:gd name="connsiteY12" fmla="*/ 28501 h 1102002"/>
                <a:gd name="connsiteX0" fmla="*/ 0 w 494985"/>
                <a:gd name="connsiteY0" fmla="*/ 28501 h 1102002"/>
                <a:gd name="connsiteX1" fmla="*/ 28501 w 494985"/>
                <a:gd name="connsiteY1" fmla="*/ 0 h 1102002"/>
                <a:gd name="connsiteX2" fmla="*/ 466484 w 494985"/>
                <a:gd name="connsiteY2" fmla="*/ 0 h 1102002"/>
                <a:gd name="connsiteX3" fmla="*/ 494985 w 494985"/>
                <a:gd name="connsiteY3" fmla="*/ 28501 h 1102002"/>
                <a:gd name="connsiteX4" fmla="*/ 494985 w 494985"/>
                <a:gd name="connsiteY4" fmla="*/ 1006985 h 1102002"/>
                <a:gd name="connsiteX5" fmla="*/ 466484 w 494985"/>
                <a:gd name="connsiteY5" fmla="*/ 1035486 h 1102002"/>
                <a:gd name="connsiteX6" fmla="*/ 369537 w 494985"/>
                <a:gd name="connsiteY6" fmla="*/ 1030990 h 1102002"/>
                <a:gd name="connsiteX7" fmla="*/ 305243 w 494985"/>
                <a:gd name="connsiteY7" fmla="*/ 1098458 h 1102002"/>
                <a:gd name="connsiteX8" fmla="*/ 198087 w 494985"/>
                <a:gd name="connsiteY8" fmla="*/ 1100839 h 1102002"/>
                <a:gd name="connsiteX9" fmla="*/ 148080 w 494985"/>
                <a:gd name="connsiteY9" fmla="*/ 1033370 h 1102002"/>
                <a:gd name="connsiteX10" fmla="*/ 28501 w 494985"/>
                <a:gd name="connsiteY10" fmla="*/ 1035486 h 1102002"/>
                <a:gd name="connsiteX11" fmla="*/ 0 w 494985"/>
                <a:gd name="connsiteY11" fmla="*/ 1006985 h 1102002"/>
                <a:gd name="connsiteX12" fmla="*/ 0 w 494985"/>
                <a:gd name="connsiteY12" fmla="*/ 28501 h 1102002"/>
                <a:gd name="connsiteX0" fmla="*/ 0 w 494985"/>
                <a:gd name="connsiteY0" fmla="*/ 28501 h 1102002"/>
                <a:gd name="connsiteX1" fmla="*/ 28501 w 494985"/>
                <a:gd name="connsiteY1" fmla="*/ 0 h 1102002"/>
                <a:gd name="connsiteX2" fmla="*/ 466484 w 494985"/>
                <a:gd name="connsiteY2" fmla="*/ 0 h 1102002"/>
                <a:gd name="connsiteX3" fmla="*/ 494985 w 494985"/>
                <a:gd name="connsiteY3" fmla="*/ 28501 h 1102002"/>
                <a:gd name="connsiteX4" fmla="*/ 494985 w 494985"/>
                <a:gd name="connsiteY4" fmla="*/ 1006985 h 1102002"/>
                <a:gd name="connsiteX5" fmla="*/ 466484 w 494985"/>
                <a:gd name="connsiteY5" fmla="*/ 1035486 h 1102002"/>
                <a:gd name="connsiteX6" fmla="*/ 369537 w 494985"/>
                <a:gd name="connsiteY6" fmla="*/ 1030990 h 1102002"/>
                <a:gd name="connsiteX7" fmla="*/ 305243 w 494985"/>
                <a:gd name="connsiteY7" fmla="*/ 1098458 h 1102002"/>
                <a:gd name="connsiteX8" fmla="*/ 198087 w 494985"/>
                <a:gd name="connsiteY8" fmla="*/ 1100839 h 1102002"/>
                <a:gd name="connsiteX9" fmla="*/ 150462 w 494985"/>
                <a:gd name="connsiteY9" fmla="*/ 1038611 h 1102002"/>
                <a:gd name="connsiteX10" fmla="*/ 28501 w 494985"/>
                <a:gd name="connsiteY10" fmla="*/ 1035486 h 1102002"/>
                <a:gd name="connsiteX11" fmla="*/ 0 w 494985"/>
                <a:gd name="connsiteY11" fmla="*/ 1006985 h 1102002"/>
                <a:gd name="connsiteX12" fmla="*/ 0 w 494985"/>
                <a:gd name="connsiteY12" fmla="*/ 28501 h 1102002"/>
                <a:gd name="connsiteX0" fmla="*/ 0 w 494985"/>
                <a:gd name="connsiteY0" fmla="*/ 28501 h 1102002"/>
                <a:gd name="connsiteX1" fmla="*/ 28501 w 494985"/>
                <a:gd name="connsiteY1" fmla="*/ 0 h 1102002"/>
                <a:gd name="connsiteX2" fmla="*/ 466484 w 494985"/>
                <a:gd name="connsiteY2" fmla="*/ 0 h 1102002"/>
                <a:gd name="connsiteX3" fmla="*/ 494985 w 494985"/>
                <a:gd name="connsiteY3" fmla="*/ 28501 h 1102002"/>
                <a:gd name="connsiteX4" fmla="*/ 494985 w 494985"/>
                <a:gd name="connsiteY4" fmla="*/ 1006985 h 1102002"/>
                <a:gd name="connsiteX5" fmla="*/ 466484 w 494985"/>
                <a:gd name="connsiteY5" fmla="*/ 1035486 h 1102002"/>
                <a:gd name="connsiteX6" fmla="*/ 369537 w 494985"/>
                <a:gd name="connsiteY6" fmla="*/ 1030990 h 1102002"/>
                <a:gd name="connsiteX7" fmla="*/ 305243 w 494985"/>
                <a:gd name="connsiteY7" fmla="*/ 1098458 h 1102002"/>
                <a:gd name="connsiteX8" fmla="*/ 198087 w 494985"/>
                <a:gd name="connsiteY8" fmla="*/ 1100839 h 1102002"/>
                <a:gd name="connsiteX9" fmla="*/ 150462 w 494985"/>
                <a:gd name="connsiteY9" fmla="*/ 1038611 h 1102002"/>
                <a:gd name="connsiteX10" fmla="*/ 28501 w 494985"/>
                <a:gd name="connsiteY10" fmla="*/ 1035486 h 1102002"/>
                <a:gd name="connsiteX11" fmla="*/ 0 w 494985"/>
                <a:gd name="connsiteY11" fmla="*/ 1006985 h 1102002"/>
                <a:gd name="connsiteX12" fmla="*/ 0 w 494985"/>
                <a:gd name="connsiteY12" fmla="*/ 28501 h 1102002"/>
                <a:gd name="connsiteX0" fmla="*/ 0 w 494985"/>
                <a:gd name="connsiteY0" fmla="*/ 28501 h 1102002"/>
                <a:gd name="connsiteX1" fmla="*/ 28501 w 494985"/>
                <a:gd name="connsiteY1" fmla="*/ 0 h 1102002"/>
                <a:gd name="connsiteX2" fmla="*/ 466484 w 494985"/>
                <a:gd name="connsiteY2" fmla="*/ 0 h 1102002"/>
                <a:gd name="connsiteX3" fmla="*/ 494985 w 494985"/>
                <a:gd name="connsiteY3" fmla="*/ 28501 h 1102002"/>
                <a:gd name="connsiteX4" fmla="*/ 494985 w 494985"/>
                <a:gd name="connsiteY4" fmla="*/ 1006985 h 1102002"/>
                <a:gd name="connsiteX5" fmla="*/ 466484 w 494985"/>
                <a:gd name="connsiteY5" fmla="*/ 1035486 h 1102002"/>
                <a:gd name="connsiteX6" fmla="*/ 371918 w 494985"/>
                <a:gd name="connsiteY6" fmla="*/ 1041471 h 1102002"/>
                <a:gd name="connsiteX7" fmla="*/ 305243 w 494985"/>
                <a:gd name="connsiteY7" fmla="*/ 1098458 h 1102002"/>
                <a:gd name="connsiteX8" fmla="*/ 198087 w 494985"/>
                <a:gd name="connsiteY8" fmla="*/ 1100839 h 1102002"/>
                <a:gd name="connsiteX9" fmla="*/ 150462 w 494985"/>
                <a:gd name="connsiteY9" fmla="*/ 1038611 h 1102002"/>
                <a:gd name="connsiteX10" fmla="*/ 28501 w 494985"/>
                <a:gd name="connsiteY10" fmla="*/ 1035486 h 1102002"/>
                <a:gd name="connsiteX11" fmla="*/ 0 w 494985"/>
                <a:gd name="connsiteY11" fmla="*/ 1006985 h 1102002"/>
                <a:gd name="connsiteX12" fmla="*/ 0 w 494985"/>
                <a:gd name="connsiteY12" fmla="*/ 28501 h 1102002"/>
                <a:gd name="connsiteX0" fmla="*/ 0 w 494985"/>
                <a:gd name="connsiteY0" fmla="*/ 28501 h 1102002"/>
                <a:gd name="connsiteX1" fmla="*/ 28501 w 494985"/>
                <a:gd name="connsiteY1" fmla="*/ 0 h 1102002"/>
                <a:gd name="connsiteX2" fmla="*/ 466484 w 494985"/>
                <a:gd name="connsiteY2" fmla="*/ 0 h 1102002"/>
                <a:gd name="connsiteX3" fmla="*/ 494985 w 494985"/>
                <a:gd name="connsiteY3" fmla="*/ 28501 h 1102002"/>
                <a:gd name="connsiteX4" fmla="*/ 494985 w 494985"/>
                <a:gd name="connsiteY4" fmla="*/ 1006985 h 1102002"/>
                <a:gd name="connsiteX5" fmla="*/ 466484 w 494985"/>
                <a:gd name="connsiteY5" fmla="*/ 1035486 h 1102002"/>
                <a:gd name="connsiteX6" fmla="*/ 371918 w 494985"/>
                <a:gd name="connsiteY6" fmla="*/ 1041471 h 1102002"/>
                <a:gd name="connsiteX7" fmla="*/ 305243 w 494985"/>
                <a:gd name="connsiteY7" fmla="*/ 1098458 h 1102002"/>
                <a:gd name="connsiteX8" fmla="*/ 198087 w 494985"/>
                <a:gd name="connsiteY8" fmla="*/ 1100839 h 1102002"/>
                <a:gd name="connsiteX9" fmla="*/ 150462 w 494985"/>
                <a:gd name="connsiteY9" fmla="*/ 1038611 h 1102002"/>
                <a:gd name="connsiteX10" fmla="*/ 28501 w 494985"/>
                <a:gd name="connsiteY10" fmla="*/ 1035486 h 1102002"/>
                <a:gd name="connsiteX11" fmla="*/ 0 w 494985"/>
                <a:gd name="connsiteY11" fmla="*/ 1006985 h 1102002"/>
                <a:gd name="connsiteX12" fmla="*/ 0 w 494985"/>
                <a:gd name="connsiteY12" fmla="*/ 28501 h 1102002"/>
                <a:gd name="connsiteX0" fmla="*/ 0 w 494985"/>
                <a:gd name="connsiteY0" fmla="*/ 28501 h 1102002"/>
                <a:gd name="connsiteX1" fmla="*/ 28501 w 494985"/>
                <a:gd name="connsiteY1" fmla="*/ 0 h 1102002"/>
                <a:gd name="connsiteX2" fmla="*/ 466484 w 494985"/>
                <a:gd name="connsiteY2" fmla="*/ 0 h 1102002"/>
                <a:gd name="connsiteX3" fmla="*/ 494985 w 494985"/>
                <a:gd name="connsiteY3" fmla="*/ 28501 h 1102002"/>
                <a:gd name="connsiteX4" fmla="*/ 494985 w 494985"/>
                <a:gd name="connsiteY4" fmla="*/ 1006985 h 1102002"/>
                <a:gd name="connsiteX5" fmla="*/ 466484 w 494985"/>
                <a:gd name="connsiteY5" fmla="*/ 1035486 h 1102002"/>
                <a:gd name="connsiteX6" fmla="*/ 371918 w 494985"/>
                <a:gd name="connsiteY6" fmla="*/ 1041471 h 1102002"/>
                <a:gd name="connsiteX7" fmla="*/ 305243 w 494985"/>
                <a:gd name="connsiteY7" fmla="*/ 1098458 h 1102002"/>
                <a:gd name="connsiteX8" fmla="*/ 198087 w 494985"/>
                <a:gd name="connsiteY8" fmla="*/ 1100839 h 1102002"/>
                <a:gd name="connsiteX9" fmla="*/ 150462 w 494985"/>
                <a:gd name="connsiteY9" fmla="*/ 1038611 h 1102002"/>
                <a:gd name="connsiteX10" fmla="*/ 28501 w 494985"/>
                <a:gd name="connsiteY10" fmla="*/ 1035486 h 1102002"/>
                <a:gd name="connsiteX11" fmla="*/ 0 w 494985"/>
                <a:gd name="connsiteY11" fmla="*/ 1006985 h 1102002"/>
                <a:gd name="connsiteX12" fmla="*/ 0 w 494985"/>
                <a:gd name="connsiteY12" fmla="*/ 28501 h 1102002"/>
                <a:gd name="connsiteX0" fmla="*/ 0 w 494985"/>
                <a:gd name="connsiteY0" fmla="*/ 28501 h 1106321"/>
                <a:gd name="connsiteX1" fmla="*/ 28501 w 494985"/>
                <a:gd name="connsiteY1" fmla="*/ 0 h 1106321"/>
                <a:gd name="connsiteX2" fmla="*/ 466484 w 494985"/>
                <a:gd name="connsiteY2" fmla="*/ 0 h 1106321"/>
                <a:gd name="connsiteX3" fmla="*/ 494985 w 494985"/>
                <a:gd name="connsiteY3" fmla="*/ 28501 h 1106321"/>
                <a:gd name="connsiteX4" fmla="*/ 494985 w 494985"/>
                <a:gd name="connsiteY4" fmla="*/ 1006985 h 1106321"/>
                <a:gd name="connsiteX5" fmla="*/ 466484 w 494985"/>
                <a:gd name="connsiteY5" fmla="*/ 1035486 h 1106321"/>
                <a:gd name="connsiteX6" fmla="*/ 371918 w 494985"/>
                <a:gd name="connsiteY6" fmla="*/ 1041471 h 1106321"/>
                <a:gd name="connsiteX7" fmla="*/ 305243 w 494985"/>
                <a:gd name="connsiteY7" fmla="*/ 1106317 h 1106321"/>
                <a:gd name="connsiteX8" fmla="*/ 198087 w 494985"/>
                <a:gd name="connsiteY8" fmla="*/ 1100839 h 1106321"/>
                <a:gd name="connsiteX9" fmla="*/ 150462 w 494985"/>
                <a:gd name="connsiteY9" fmla="*/ 1038611 h 1106321"/>
                <a:gd name="connsiteX10" fmla="*/ 28501 w 494985"/>
                <a:gd name="connsiteY10" fmla="*/ 1035486 h 1106321"/>
                <a:gd name="connsiteX11" fmla="*/ 0 w 494985"/>
                <a:gd name="connsiteY11" fmla="*/ 1006985 h 1106321"/>
                <a:gd name="connsiteX12" fmla="*/ 0 w 494985"/>
                <a:gd name="connsiteY12" fmla="*/ 28501 h 1106321"/>
                <a:gd name="connsiteX0" fmla="*/ 0 w 494985"/>
                <a:gd name="connsiteY0" fmla="*/ 28501 h 1102488"/>
                <a:gd name="connsiteX1" fmla="*/ 28501 w 494985"/>
                <a:gd name="connsiteY1" fmla="*/ 0 h 1102488"/>
                <a:gd name="connsiteX2" fmla="*/ 466484 w 494985"/>
                <a:gd name="connsiteY2" fmla="*/ 0 h 1102488"/>
                <a:gd name="connsiteX3" fmla="*/ 494985 w 494985"/>
                <a:gd name="connsiteY3" fmla="*/ 28501 h 1102488"/>
                <a:gd name="connsiteX4" fmla="*/ 494985 w 494985"/>
                <a:gd name="connsiteY4" fmla="*/ 1006985 h 1102488"/>
                <a:gd name="connsiteX5" fmla="*/ 466484 w 494985"/>
                <a:gd name="connsiteY5" fmla="*/ 1035486 h 1102488"/>
                <a:gd name="connsiteX6" fmla="*/ 371918 w 494985"/>
                <a:gd name="connsiteY6" fmla="*/ 1041471 h 1102488"/>
                <a:gd name="connsiteX7" fmla="*/ 307624 w 494985"/>
                <a:gd name="connsiteY7" fmla="*/ 1101077 h 1102488"/>
                <a:gd name="connsiteX8" fmla="*/ 198087 w 494985"/>
                <a:gd name="connsiteY8" fmla="*/ 1100839 h 1102488"/>
                <a:gd name="connsiteX9" fmla="*/ 150462 w 494985"/>
                <a:gd name="connsiteY9" fmla="*/ 1038611 h 1102488"/>
                <a:gd name="connsiteX10" fmla="*/ 28501 w 494985"/>
                <a:gd name="connsiteY10" fmla="*/ 1035486 h 1102488"/>
                <a:gd name="connsiteX11" fmla="*/ 0 w 494985"/>
                <a:gd name="connsiteY11" fmla="*/ 1006985 h 1102488"/>
                <a:gd name="connsiteX12" fmla="*/ 0 w 494985"/>
                <a:gd name="connsiteY12" fmla="*/ 28501 h 1102488"/>
                <a:gd name="connsiteX0" fmla="*/ 0 w 494985"/>
                <a:gd name="connsiteY0" fmla="*/ 28501 h 1102488"/>
                <a:gd name="connsiteX1" fmla="*/ 28501 w 494985"/>
                <a:gd name="connsiteY1" fmla="*/ 0 h 1102488"/>
                <a:gd name="connsiteX2" fmla="*/ 466484 w 494985"/>
                <a:gd name="connsiteY2" fmla="*/ 0 h 1102488"/>
                <a:gd name="connsiteX3" fmla="*/ 494985 w 494985"/>
                <a:gd name="connsiteY3" fmla="*/ 28501 h 1102488"/>
                <a:gd name="connsiteX4" fmla="*/ 494985 w 494985"/>
                <a:gd name="connsiteY4" fmla="*/ 1006985 h 1102488"/>
                <a:gd name="connsiteX5" fmla="*/ 466484 w 494985"/>
                <a:gd name="connsiteY5" fmla="*/ 1035486 h 1102488"/>
                <a:gd name="connsiteX6" fmla="*/ 371918 w 494985"/>
                <a:gd name="connsiteY6" fmla="*/ 1041471 h 1102488"/>
                <a:gd name="connsiteX7" fmla="*/ 307624 w 494985"/>
                <a:gd name="connsiteY7" fmla="*/ 1101077 h 1102488"/>
                <a:gd name="connsiteX8" fmla="*/ 198087 w 494985"/>
                <a:gd name="connsiteY8" fmla="*/ 1100839 h 1102488"/>
                <a:gd name="connsiteX9" fmla="*/ 179037 w 494985"/>
                <a:gd name="connsiteY9" fmla="*/ 1035991 h 1102488"/>
                <a:gd name="connsiteX10" fmla="*/ 28501 w 494985"/>
                <a:gd name="connsiteY10" fmla="*/ 1035486 h 1102488"/>
                <a:gd name="connsiteX11" fmla="*/ 0 w 494985"/>
                <a:gd name="connsiteY11" fmla="*/ 1006985 h 1102488"/>
                <a:gd name="connsiteX12" fmla="*/ 0 w 494985"/>
                <a:gd name="connsiteY12" fmla="*/ 28501 h 1102488"/>
                <a:gd name="connsiteX0" fmla="*/ 0 w 494985"/>
                <a:gd name="connsiteY0" fmla="*/ 28501 h 1102488"/>
                <a:gd name="connsiteX1" fmla="*/ 28501 w 494985"/>
                <a:gd name="connsiteY1" fmla="*/ 0 h 1102488"/>
                <a:gd name="connsiteX2" fmla="*/ 466484 w 494985"/>
                <a:gd name="connsiteY2" fmla="*/ 0 h 1102488"/>
                <a:gd name="connsiteX3" fmla="*/ 494985 w 494985"/>
                <a:gd name="connsiteY3" fmla="*/ 28501 h 1102488"/>
                <a:gd name="connsiteX4" fmla="*/ 494985 w 494985"/>
                <a:gd name="connsiteY4" fmla="*/ 1006985 h 1102488"/>
                <a:gd name="connsiteX5" fmla="*/ 466484 w 494985"/>
                <a:gd name="connsiteY5" fmla="*/ 1035486 h 1102488"/>
                <a:gd name="connsiteX6" fmla="*/ 371918 w 494985"/>
                <a:gd name="connsiteY6" fmla="*/ 1041471 h 1102488"/>
                <a:gd name="connsiteX7" fmla="*/ 307624 w 494985"/>
                <a:gd name="connsiteY7" fmla="*/ 1101077 h 1102488"/>
                <a:gd name="connsiteX8" fmla="*/ 198087 w 494985"/>
                <a:gd name="connsiteY8" fmla="*/ 1100839 h 1102488"/>
                <a:gd name="connsiteX9" fmla="*/ 183799 w 494985"/>
                <a:gd name="connsiteY9" fmla="*/ 1046471 h 1102488"/>
                <a:gd name="connsiteX10" fmla="*/ 28501 w 494985"/>
                <a:gd name="connsiteY10" fmla="*/ 1035486 h 1102488"/>
                <a:gd name="connsiteX11" fmla="*/ 0 w 494985"/>
                <a:gd name="connsiteY11" fmla="*/ 1006985 h 1102488"/>
                <a:gd name="connsiteX12" fmla="*/ 0 w 494985"/>
                <a:gd name="connsiteY12" fmla="*/ 28501 h 1102488"/>
                <a:gd name="connsiteX0" fmla="*/ 0 w 494985"/>
                <a:gd name="connsiteY0" fmla="*/ 28501 h 1102488"/>
                <a:gd name="connsiteX1" fmla="*/ 28501 w 494985"/>
                <a:gd name="connsiteY1" fmla="*/ 0 h 1102488"/>
                <a:gd name="connsiteX2" fmla="*/ 466484 w 494985"/>
                <a:gd name="connsiteY2" fmla="*/ 0 h 1102488"/>
                <a:gd name="connsiteX3" fmla="*/ 494985 w 494985"/>
                <a:gd name="connsiteY3" fmla="*/ 28501 h 1102488"/>
                <a:gd name="connsiteX4" fmla="*/ 494985 w 494985"/>
                <a:gd name="connsiteY4" fmla="*/ 1006985 h 1102488"/>
                <a:gd name="connsiteX5" fmla="*/ 466484 w 494985"/>
                <a:gd name="connsiteY5" fmla="*/ 1035486 h 1102488"/>
                <a:gd name="connsiteX6" fmla="*/ 371918 w 494985"/>
                <a:gd name="connsiteY6" fmla="*/ 1041471 h 1102488"/>
                <a:gd name="connsiteX7" fmla="*/ 307624 w 494985"/>
                <a:gd name="connsiteY7" fmla="*/ 1101077 h 1102488"/>
                <a:gd name="connsiteX8" fmla="*/ 198087 w 494985"/>
                <a:gd name="connsiteY8" fmla="*/ 1100839 h 1102488"/>
                <a:gd name="connsiteX9" fmla="*/ 183799 w 494985"/>
                <a:gd name="connsiteY9" fmla="*/ 1046471 h 1102488"/>
                <a:gd name="connsiteX10" fmla="*/ 28501 w 494985"/>
                <a:gd name="connsiteY10" fmla="*/ 1035486 h 1102488"/>
                <a:gd name="connsiteX11" fmla="*/ 0 w 494985"/>
                <a:gd name="connsiteY11" fmla="*/ 1006985 h 1102488"/>
                <a:gd name="connsiteX12" fmla="*/ 0 w 494985"/>
                <a:gd name="connsiteY12" fmla="*/ 28501 h 1102488"/>
                <a:gd name="connsiteX0" fmla="*/ 0 w 494985"/>
                <a:gd name="connsiteY0" fmla="*/ 28501 h 1102488"/>
                <a:gd name="connsiteX1" fmla="*/ 28501 w 494985"/>
                <a:gd name="connsiteY1" fmla="*/ 0 h 1102488"/>
                <a:gd name="connsiteX2" fmla="*/ 466484 w 494985"/>
                <a:gd name="connsiteY2" fmla="*/ 0 h 1102488"/>
                <a:gd name="connsiteX3" fmla="*/ 494985 w 494985"/>
                <a:gd name="connsiteY3" fmla="*/ 28501 h 1102488"/>
                <a:gd name="connsiteX4" fmla="*/ 494985 w 494985"/>
                <a:gd name="connsiteY4" fmla="*/ 1006985 h 1102488"/>
                <a:gd name="connsiteX5" fmla="*/ 466484 w 494985"/>
                <a:gd name="connsiteY5" fmla="*/ 1035486 h 1102488"/>
                <a:gd name="connsiteX6" fmla="*/ 371918 w 494985"/>
                <a:gd name="connsiteY6" fmla="*/ 1041471 h 1102488"/>
                <a:gd name="connsiteX7" fmla="*/ 307624 w 494985"/>
                <a:gd name="connsiteY7" fmla="*/ 1101077 h 1102488"/>
                <a:gd name="connsiteX8" fmla="*/ 198087 w 494985"/>
                <a:gd name="connsiteY8" fmla="*/ 1100839 h 1102488"/>
                <a:gd name="connsiteX9" fmla="*/ 183799 w 494985"/>
                <a:gd name="connsiteY9" fmla="*/ 1046471 h 1102488"/>
                <a:gd name="connsiteX10" fmla="*/ 153278 w 494985"/>
                <a:gd name="connsiteY10" fmla="*/ 1037850 h 1102488"/>
                <a:gd name="connsiteX11" fmla="*/ 28501 w 494985"/>
                <a:gd name="connsiteY11" fmla="*/ 1035486 h 1102488"/>
                <a:gd name="connsiteX12" fmla="*/ 0 w 494985"/>
                <a:gd name="connsiteY12" fmla="*/ 1006985 h 1102488"/>
                <a:gd name="connsiteX13" fmla="*/ 0 w 494985"/>
                <a:gd name="connsiteY13" fmla="*/ 28501 h 1102488"/>
                <a:gd name="connsiteX0" fmla="*/ 0 w 494985"/>
                <a:gd name="connsiteY0" fmla="*/ 28501 h 1102488"/>
                <a:gd name="connsiteX1" fmla="*/ 28501 w 494985"/>
                <a:gd name="connsiteY1" fmla="*/ 0 h 1102488"/>
                <a:gd name="connsiteX2" fmla="*/ 466484 w 494985"/>
                <a:gd name="connsiteY2" fmla="*/ 0 h 1102488"/>
                <a:gd name="connsiteX3" fmla="*/ 494985 w 494985"/>
                <a:gd name="connsiteY3" fmla="*/ 28501 h 1102488"/>
                <a:gd name="connsiteX4" fmla="*/ 494985 w 494985"/>
                <a:gd name="connsiteY4" fmla="*/ 1006985 h 1102488"/>
                <a:gd name="connsiteX5" fmla="*/ 466484 w 494985"/>
                <a:gd name="connsiteY5" fmla="*/ 1035486 h 1102488"/>
                <a:gd name="connsiteX6" fmla="*/ 371918 w 494985"/>
                <a:gd name="connsiteY6" fmla="*/ 1041471 h 1102488"/>
                <a:gd name="connsiteX7" fmla="*/ 307624 w 494985"/>
                <a:gd name="connsiteY7" fmla="*/ 1101077 h 1102488"/>
                <a:gd name="connsiteX8" fmla="*/ 198087 w 494985"/>
                <a:gd name="connsiteY8" fmla="*/ 1100839 h 1102488"/>
                <a:gd name="connsiteX9" fmla="*/ 153278 w 494985"/>
                <a:gd name="connsiteY9" fmla="*/ 1037850 h 1102488"/>
                <a:gd name="connsiteX10" fmla="*/ 28501 w 494985"/>
                <a:gd name="connsiteY10" fmla="*/ 1035486 h 1102488"/>
                <a:gd name="connsiteX11" fmla="*/ 0 w 494985"/>
                <a:gd name="connsiteY11" fmla="*/ 1006985 h 1102488"/>
                <a:gd name="connsiteX12" fmla="*/ 0 w 494985"/>
                <a:gd name="connsiteY12" fmla="*/ 28501 h 1102488"/>
                <a:gd name="connsiteX0" fmla="*/ 0 w 494985"/>
                <a:gd name="connsiteY0" fmla="*/ 28501 h 1102488"/>
                <a:gd name="connsiteX1" fmla="*/ 28501 w 494985"/>
                <a:gd name="connsiteY1" fmla="*/ 0 h 1102488"/>
                <a:gd name="connsiteX2" fmla="*/ 466484 w 494985"/>
                <a:gd name="connsiteY2" fmla="*/ 0 h 1102488"/>
                <a:gd name="connsiteX3" fmla="*/ 494985 w 494985"/>
                <a:gd name="connsiteY3" fmla="*/ 28501 h 1102488"/>
                <a:gd name="connsiteX4" fmla="*/ 494985 w 494985"/>
                <a:gd name="connsiteY4" fmla="*/ 1006985 h 1102488"/>
                <a:gd name="connsiteX5" fmla="*/ 466484 w 494985"/>
                <a:gd name="connsiteY5" fmla="*/ 1035486 h 1102488"/>
                <a:gd name="connsiteX6" fmla="*/ 371918 w 494985"/>
                <a:gd name="connsiteY6" fmla="*/ 1041471 h 1102488"/>
                <a:gd name="connsiteX7" fmla="*/ 307624 w 494985"/>
                <a:gd name="connsiteY7" fmla="*/ 1101077 h 1102488"/>
                <a:gd name="connsiteX8" fmla="*/ 198087 w 494985"/>
                <a:gd name="connsiteY8" fmla="*/ 1100839 h 1102488"/>
                <a:gd name="connsiteX9" fmla="*/ 129465 w 494985"/>
                <a:gd name="connsiteY9" fmla="*/ 1043091 h 1102488"/>
                <a:gd name="connsiteX10" fmla="*/ 28501 w 494985"/>
                <a:gd name="connsiteY10" fmla="*/ 1035486 h 1102488"/>
                <a:gd name="connsiteX11" fmla="*/ 0 w 494985"/>
                <a:gd name="connsiteY11" fmla="*/ 1006985 h 1102488"/>
                <a:gd name="connsiteX12" fmla="*/ 0 w 494985"/>
                <a:gd name="connsiteY12" fmla="*/ 28501 h 1102488"/>
                <a:gd name="connsiteX0" fmla="*/ 0 w 494985"/>
                <a:gd name="connsiteY0" fmla="*/ 28501 h 1102488"/>
                <a:gd name="connsiteX1" fmla="*/ 28501 w 494985"/>
                <a:gd name="connsiteY1" fmla="*/ 0 h 1102488"/>
                <a:gd name="connsiteX2" fmla="*/ 466484 w 494985"/>
                <a:gd name="connsiteY2" fmla="*/ 0 h 1102488"/>
                <a:gd name="connsiteX3" fmla="*/ 494985 w 494985"/>
                <a:gd name="connsiteY3" fmla="*/ 28501 h 1102488"/>
                <a:gd name="connsiteX4" fmla="*/ 494985 w 494985"/>
                <a:gd name="connsiteY4" fmla="*/ 1006985 h 1102488"/>
                <a:gd name="connsiteX5" fmla="*/ 466484 w 494985"/>
                <a:gd name="connsiteY5" fmla="*/ 1035486 h 1102488"/>
                <a:gd name="connsiteX6" fmla="*/ 371918 w 494985"/>
                <a:gd name="connsiteY6" fmla="*/ 1041471 h 1102488"/>
                <a:gd name="connsiteX7" fmla="*/ 307624 w 494985"/>
                <a:gd name="connsiteY7" fmla="*/ 1101077 h 1102488"/>
                <a:gd name="connsiteX8" fmla="*/ 198087 w 494985"/>
                <a:gd name="connsiteY8" fmla="*/ 1100839 h 1102488"/>
                <a:gd name="connsiteX9" fmla="*/ 129465 w 494985"/>
                <a:gd name="connsiteY9" fmla="*/ 1043091 h 1102488"/>
                <a:gd name="connsiteX10" fmla="*/ 28501 w 494985"/>
                <a:gd name="connsiteY10" fmla="*/ 1035486 h 1102488"/>
                <a:gd name="connsiteX11" fmla="*/ 0 w 494985"/>
                <a:gd name="connsiteY11" fmla="*/ 1006985 h 1102488"/>
                <a:gd name="connsiteX12" fmla="*/ 0 w 494985"/>
                <a:gd name="connsiteY12" fmla="*/ 28501 h 1102488"/>
                <a:gd name="connsiteX0" fmla="*/ 0 w 494985"/>
                <a:gd name="connsiteY0" fmla="*/ 28501 h 1102488"/>
                <a:gd name="connsiteX1" fmla="*/ 28501 w 494985"/>
                <a:gd name="connsiteY1" fmla="*/ 0 h 1102488"/>
                <a:gd name="connsiteX2" fmla="*/ 466484 w 494985"/>
                <a:gd name="connsiteY2" fmla="*/ 0 h 1102488"/>
                <a:gd name="connsiteX3" fmla="*/ 494985 w 494985"/>
                <a:gd name="connsiteY3" fmla="*/ 28501 h 1102488"/>
                <a:gd name="connsiteX4" fmla="*/ 494985 w 494985"/>
                <a:gd name="connsiteY4" fmla="*/ 1006985 h 1102488"/>
                <a:gd name="connsiteX5" fmla="*/ 466484 w 494985"/>
                <a:gd name="connsiteY5" fmla="*/ 1035486 h 1102488"/>
                <a:gd name="connsiteX6" fmla="*/ 371918 w 494985"/>
                <a:gd name="connsiteY6" fmla="*/ 1041471 h 1102488"/>
                <a:gd name="connsiteX7" fmla="*/ 307624 w 494985"/>
                <a:gd name="connsiteY7" fmla="*/ 1101077 h 1102488"/>
                <a:gd name="connsiteX8" fmla="*/ 198087 w 494985"/>
                <a:gd name="connsiteY8" fmla="*/ 1100839 h 1102488"/>
                <a:gd name="connsiteX9" fmla="*/ 136609 w 494985"/>
                <a:gd name="connsiteY9" fmla="*/ 1037850 h 1102488"/>
                <a:gd name="connsiteX10" fmla="*/ 28501 w 494985"/>
                <a:gd name="connsiteY10" fmla="*/ 1035486 h 1102488"/>
                <a:gd name="connsiteX11" fmla="*/ 0 w 494985"/>
                <a:gd name="connsiteY11" fmla="*/ 1006985 h 1102488"/>
                <a:gd name="connsiteX12" fmla="*/ 0 w 494985"/>
                <a:gd name="connsiteY12" fmla="*/ 28501 h 1102488"/>
                <a:gd name="connsiteX0" fmla="*/ 0 w 494985"/>
                <a:gd name="connsiteY0" fmla="*/ 28501 h 1102488"/>
                <a:gd name="connsiteX1" fmla="*/ 28501 w 494985"/>
                <a:gd name="connsiteY1" fmla="*/ 0 h 1102488"/>
                <a:gd name="connsiteX2" fmla="*/ 466484 w 494985"/>
                <a:gd name="connsiteY2" fmla="*/ 0 h 1102488"/>
                <a:gd name="connsiteX3" fmla="*/ 494985 w 494985"/>
                <a:gd name="connsiteY3" fmla="*/ 28501 h 1102488"/>
                <a:gd name="connsiteX4" fmla="*/ 494985 w 494985"/>
                <a:gd name="connsiteY4" fmla="*/ 1006985 h 1102488"/>
                <a:gd name="connsiteX5" fmla="*/ 466484 w 494985"/>
                <a:gd name="connsiteY5" fmla="*/ 1035486 h 1102488"/>
                <a:gd name="connsiteX6" fmla="*/ 371918 w 494985"/>
                <a:gd name="connsiteY6" fmla="*/ 1041471 h 1102488"/>
                <a:gd name="connsiteX7" fmla="*/ 307624 w 494985"/>
                <a:gd name="connsiteY7" fmla="*/ 1101077 h 1102488"/>
                <a:gd name="connsiteX8" fmla="*/ 198087 w 494985"/>
                <a:gd name="connsiteY8" fmla="*/ 1100839 h 1102488"/>
                <a:gd name="connsiteX9" fmla="*/ 136609 w 494985"/>
                <a:gd name="connsiteY9" fmla="*/ 1037850 h 1102488"/>
                <a:gd name="connsiteX10" fmla="*/ 28501 w 494985"/>
                <a:gd name="connsiteY10" fmla="*/ 1035486 h 1102488"/>
                <a:gd name="connsiteX11" fmla="*/ 0 w 494985"/>
                <a:gd name="connsiteY11" fmla="*/ 1006985 h 1102488"/>
                <a:gd name="connsiteX12" fmla="*/ 0 w 494985"/>
                <a:gd name="connsiteY12" fmla="*/ 28501 h 1102488"/>
                <a:gd name="connsiteX0" fmla="*/ 0 w 494985"/>
                <a:gd name="connsiteY0" fmla="*/ 28501 h 1102488"/>
                <a:gd name="connsiteX1" fmla="*/ 28501 w 494985"/>
                <a:gd name="connsiteY1" fmla="*/ 0 h 1102488"/>
                <a:gd name="connsiteX2" fmla="*/ 466484 w 494985"/>
                <a:gd name="connsiteY2" fmla="*/ 0 h 1102488"/>
                <a:gd name="connsiteX3" fmla="*/ 494985 w 494985"/>
                <a:gd name="connsiteY3" fmla="*/ 28501 h 1102488"/>
                <a:gd name="connsiteX4" fmla="*/ 494985 w 494985"/>
                <a:gd name="connsiteY4" fmla="*/ 1006985 h 1102488"/>
                <a:gd name="connsiteX5" fmla="*/ 466484 w 494985"/>
                <a:gd name="connsiteY5" fmla="*/ 1035486 h 1102488"/>
                <a:gd name="connsiteX6" fmla="*/ 371918 w 494985"/>
                <a:gd name="connsiteY6" fmla="*/ 1041471 h 1102488"/>
                <a:gd name="connsiteX7" fmla="*/ 307624 w 494985"/>
                <a:gd name="connsiteY7" fmla="*/ 1101077 h 1102488"/>
                <a:gd name="connsiteX8" fmla="*/ 198087 w 494985"/>
                <a:gd name="connsiteY8" fmla="*/ 1100839 h 1102488"/>
                <a:gd name="connsiteX9" fmla="*/ 136609 w 494985"/>
                <a:gd name="connsiteY9" fmla="*/ 1037850 h 1102488"/>
                <a:gd name="connsiteX10" fmla="*/ 28501 w 494985"/>
                <a:gd name="connsiteY10" fmla="*/ 1035486 h 1102488"/>
                <a:gd name="connsiteX11" fmla="*/ 0 w 494985"/>
                <a:gd name="connsiteY11" fmla="*/ 1006985 h 1102488"/>
                <a:gd name="connsiteX12" fmla="*/ 0 w 494985"/>
                <a:gd name="connsiteY12" fmla="*/ 28501 h 1102488"/>
                <a:gd name="connsiteX0" fmla="*/ 0 w 494985"/>
                <a:gd name="connsiteY0" fmla="*/ 28501 h 1102488"/>
                <a:gd name="connsiteX1" fmla="*/ 28501 w 494985"/>
                <a:gd name="connsiteY1" fmla="*/ 0 h 1102488"/>
                <a:gd name="connsiteX2" fmla="*/ 466484 w 494985"/>
                <a:gd name="connsiteY2" fmla="*/ 0 h 1102488"/>
                <a:gd name="connsiteX3" fmla="*/ 494985 w 494985"/>
                <a:gd name="connsiteY3" fmla="*/ 28501 h 1102488"/>
                <a:gd name="connsiteX4" fmla="*/ 494985 w 494985"/>
                <a:gd name="connsiteY4" fmla="*/ 1006985 h 1102488"/>
                <a:gd name="connsiteX5" fmla="*/ 466484 w 494985"/>
                <a:gd name="connsiteY5" fmla="*/ 1035486 h 1102488"/>
                <a:gd name="connsiteX6" fmla="*/ 371918 w 494985"/>
                <a:gd name="connsiteY6" fmla="*/ 1041471 h 1102488"/>
                <a:gd name="connsiteX7" fmla="*/ 307624 w 494985"/>
                <a:gd name="connsiteY7" fmla="*/ 1101077 h 1102488"/>
                <a:gd name="connsiteX8" fmla="*/ 198087 w 494985"/>
                <a:gd name="connsiteY8" fmla="*/ 1100839 h 1102488"/>
                <a:gd name="connsiteX9" fmla="*/ 136609 w 494985"/>
                <a:gd name="connsiteY9" fmla="*/ 1037850 h 1102488"/>
                <a:gd name="connsiteX10" fmla="*/ 28501 w 494985"/>
                <a:gd name="connsiteY10" fmla="*/ 1035486 h 1102488"/>
                <a:gd name="connsiteX11" fmla="*/ 0 w 494985"/>
                <a:gd name="connsiteY11" fmla="*/ 1006985 h 1102488"/>
                <a:gd name="connsiteX12" fmla="*/ 0 w 494985"/>
                <a:gd name="connsiteY12" fmla="*/ 28501 h 1102488"/>
                <a:gd name="connsiteX0" fmla="*/ 0 w 494985"/>
                <a:gd name="connsiteY0" fmla="*/ 28501 h 1102488"/>
                <a:gd name="connsiteX1" fmla="*/ 28501 w 494985"/>
                <a:gd name="connsiteY1" fmla="*/ 0 h 1102488"/>
                <a:gd name="connsiteX2" fmla="*/ 466484 w 494985"/>
                <a:gd name="connsiteY2" fmla="*/ 0 h 1102488"/>
                <a:gd name="connsiteX3" fmla="*/ 494985 w 494985"/>
                <a:gd name="connsiteY3" fmla="*/ 28501 h 1102488"/>
                <a:gd name="connsiteX4" fmla="*/ 494985 w 494985"/>
                <a:gd name="connsiteY4" fmla="*/ 1006985 h 1102488"/>
                <a:gd name="connsiteX5" fmla="*/ 466484 w 494985"/>
                <a:gd name="connsiteY5" fmla="*/ 1035486 h 1102488"/>
                <a:gd name="connsiteX6" fmla="*/ 371918 w 494985"/>
                <a:gd name="connsiteY6" fmla="*/ 1041471 h 1102488"/>
                <a:gd name="connsiteX7" fmla="*/ 307624 w 494985"/>
                <a:gd name="connsiteY7" fmla="*/ 1101077 h 1102488"/>
                <a:gd name="connsiteX8" fmla="*/ 198087 w 494985"/>
                <a:gd name="connsiteY8" fmla="*/ 1100839 h 1102488"/>
                <a:gd name="connsiteX9" fmla="*/ 136609 w 494985"/>
                <a:gd name="connsiteY9" fmla="*/ 1037850 h 1102488"/>
                <a:gd name="connsiteX10" fmla="*/ 28501 w 494985"/>
                <a:gd name="connsiteY10" fmla="*/ 1035486 h 1102488"/>
                <a:gd name="connsiteX11" fmla="*/ 0 w 494985"/>
                <a:gd name="connsiteY11" fmla="*/ 1006985 h 1102488"/>
                <a:gd name="connsiteX12" fmla="*/ 0 w 494985"/>
                <a:gd name="connsiteY12" fmla="*/ 28501 h 1102488"/>
                <a:gd name="connsiteX0" fmla="*/ 0 w 494985"/>
                <a:gd name="connsiteY0" fmla="*/ 28501 h 1102488"/>
                <a:gd name="connsiteX1" fmla="*/ 28501 w 494985"/>
                <a:gd name="connsiteY1" fmla="*/ 0 h 1102488"/>
                <a:gd name="connsiteX2" fmla="*/ 466484 w 494985"/>
                <a:gd name="connsiteY2" fmla="*/ 0 h 1102488"/>
                <a:gd name="connsiteX3" fmla="*/ 494985 w 494985"/>
                <a:gd name="connsiteY3" fmla="*/ 28501 h 1102488"/>
                <a:gd name="connsiteX4" fmla="*/ 494985 w 494985"/>
                <a:gd name="connsiteY4" fmla="*/ 1006985 h 1102488"/>
                <a:gd name="connsiteX5" fmla="*/ 466484 w 494985"/>
                <a:gd name="connsiteY5" fmla="*/ 1035486 h 1102488"/>
                <a:gd name="connsiteX6" fmla="*/ 371918 w 494985"/>
                <a:gd name="connsiteY6" fmla="*/ 1041471 h 1102488"/>
                <a:gd name="connsiteX7" fmla="*/ 307624 w 494985"/>
                <a:gd name="connsiteY7" fmla="*/ 1101077 h 1102488"/>
                <a:gd name="connsiteX8" fmla="*/ 198087 w 494985"/>
                <a:gd name="connsiteY8" fmla="*/ 1100839 h 1102488"/>
                <a:gd name="connsiteX9" fmla="*/ 136609 w 494985"/>
                <a:gd name="connsiteY9" fmla="*/ 1037850 h 1102488"/>
                <a:gd name="connsiteX10" fmla="*/ 28501 w 494985"/>
                <a:gd name="connsiteY10" fmla="*/ 1035486 h 1102488"/>
                <a:gd name="connsiteX11" fmla="*/ 0 w 494985"/>
                <a:gd name="connsiteY11" fmla="*/ 1006985 h 1102488"/>
                <a:gd name="connsiteX12" fmla="*/ 0 w 494985"/>
                <a:gd name="connsiteY12" fmla="*/ 28501 h 1102488"/>
                <a:gd name="connsiteX0" fmla="*/ 0 w 494985"/>
                <a:gd name="connsiteY0" fmla="*/ 28501 h 1103654"/>
                <a:gd name="connsiteX1" fmla="*/ 28501 w 494985"/>
                <a:gd name="connsiteY1" fmla="*/ 0 h 1103654"/>
                <a:gd name="connsiteX2" fmla="*/ 466484 w 494985"/>
                <a:gd name="connsiteY2" fmla="*/ 0 h 1103654"/>
                <a:gd name="connsiteX3" fmla="*/ 494985 w 494985"/>
                <a:gd name="connsiteY3" fmla="*/ 28501 h 1103654"/>
                <a:gd name="connsiteX4" fmla="*/ 494985 w 494985"/>
                <a:gd name="connsiteY4" fmla="*/ 1006985 h 1103654"/>
                <a:gd name="connsiteX5" fmla="*/ 466484 w 494985"/>
                <a:gd name="connsiteY5" fmla="*/ 1035486 h 1103654"/>
                <a:gd name="connsiteX6" fmla="*/ 371918 w 494985"/>
                <a:gd name="connsiteY6" fmla="*/ 1041471 h 1103654"/>
                <a:gd name="connsiteX7" fmla="*/ 307624 w 494985"/>
                <a:gd name="connsiteY7" fmla="*/ 1101077 h 1103654"/>
                <a:gd name="connsiteX8" fmla="*/ 198087 w 494985"/>
                <a:gd name="connsiteY8" fmla="*/ 1100839 h 1103654"/>
                <a:gd name="connsiteX9" fmla="*/ 136609 w 494985"/>
                <a:gd name="connsiteY9" fmla="*/ 1037850 h 1103654"/>
                <a:gd name="connsiteX10" fmla="*/ 28501 w 494985"/>
                <a:gd name="connsiteY10" fmla="*/ 1035486 h 1103654"/>
                <a:gd name="connsiteX11" fmla="*/ 0 w 494985"/>
                <a:gd name="connsiteY11" fmla="*/ 1006985 h 1103654"/>
                <a:gd name="connsiteX12" fmla="*/ 0 w 494985"/>
                <a:gd name="connsiteY12" fmla="*/ 28501 h 1103654"/>
                <a:gd name="connsiteX0" fmla="*/ 0 w 494985"/>
                <a:gd name="connsiteY0" fmla="*/ 28501 h 1102488"/>
                <a:gd name="connsiteX1" fmla="*/ 28501 w 494985"/>
                <a:gd name="connsiteY1" fmla="*/ 0 h 1102488"/>
                <a:gd name="connsiteX2" fmla="*/ 466484 w 494985"/>
                <a:gd name="connsiteY2" fmla="*/ 0 h 1102488"/>
                <a:gd name="connsiteX3" fmla="*/ 494985 w 494985"/>
                <a:gd name="connsiteY3" fmla="*/ 28501 h 1102488"/>
                <a:gd name="connsiteX4" fmla="*/ 494985 w 494985"/>
                <a:gd name="connsiteY4" fmla="*/ 1006985 h 1102488"/>
                <a:gd name="connsiteX5" fmla="*/ 466484 w 494985"/>
                <a:gd name="connsiteY5" fmla="*/ 1035486 h 1102488"/>
                <a:gd name="connsiteX6" fmla="*/ 371918 w 494985"/>
                <a:gd name="connsiteY6" fmla="*/ 1041471 h 1102488"/>
                <a:gd name="connsiteX7" fmla="*/ 307624 w 494985"/>
                <a:gd name="connsiteY7" fmla="*/ 1101077 h 1102488"/>
                <a:gd name="connsiteX8" fmla="*/ 198087 w 494985"/>
                <a:gd name="connsiteY8" fmla="*/ 1100839 h 1102488"/>
                <a:gd name="connsiteX9" fmla="*/ 136609 w 494985"/>
                <a:gd name="connsiteY9" fmla="*/ 1037850 h 1102488"/>
                <a:gd name="connsiteX10" fmla="*/ 28501 w 494985"/>
                <a:gd name="connsiteY10" fmla="*/ 1035486 h 1102488"/>
                <a:gd name="connsiteX11" fmla="*/ 0 w 494985"/>
                <a:gd name="connsiteY11" fmla="*/ 1006985 h 1102488"/>
                <a:gd name="connsiteX12" fmla="*/ 0 w 494985"/>
                <a:gd name="connsiteY12" fmla="*/ 28501 h 1102488"/>
                <a:gd name="connsiteX0" fmla="*/ 0 w 494985"/>
                <a:gd name="connsiteY0" fmla="*/ 28501 h 1102488"/>
                <a:gd name="connsiteX1" fmla="*/ 28501 w 494985"/>
                <a:gd name="connsiteY1" fmla="*/ 0 h 1102488"/>
                <a:gd name="connsiteX2" fmla="*/ 466484 w 494985"/>
                <a:gd name="connsiteY2" fmla="*/ 0 h 1102488"/>
                <a:gd name="connsiteX3" fmla="*/ 494985 w 494985"/>
                <a:gd name="connsiteY3" fmla="*/ 28501 h 1102488"/>
                <a:gd name="connsiteX4" fmla="*/ 494985 w 494985"/>
                <a:gd name="connsiteY4" fmla="*/ 1006985 h 1102488"/>
                <a:gd name="connsiteX5" fmla="*/ 466484 w 494985"/>
                <a:gd name="connsiteY5" fmla="*/ 1035486 h 1102488"/>
                <a:gd name="connsiteX6" fmla="*/ 371918 w 494985"/>
                <a:gd name="connsiteY6" fmla="*/ 1041471 h 1102488"/>
                <a:gd name="connsiteX7" fmla="*/ 307624 w 494985"/>
                <a:gd name="connsiteY7" fmla="*/ 1101077 h 1102488"/>
                <a:gd name="connsiteX8" fmla="*/ 198087 w 494985"/>
                <a:gd name="connsiteY8" fmla="*/ 1100839 h 1102488"/>
                <a:gd name="connsiteX9" fmla="*/ 158041 w 494985"/>
                <a:gd name="connsiteY9" fmla="*/ 1035229 h 1102488"/>
                <a:gd name="connsiteX10" fmla="*/ 28501 w 494985"/>
                <a:gd name="connsiteY10" fmla="*/ 1035486 h 1102488"/>
                <a:gd name="connsiteX11" fmla="*/ 0 w 494985"/>
                <a:gd name="connsiteY11" fmla="*/ 1006985 h 1102488"/>
                <a:gd name="connsiteX12" fmla="*/ 0 w 494985"/>
                <a:gd name="connsiteY12" fmla="*/ 28501 h 1102488"/>
                <a:gd name="connsiteX0" fmla="*/ 0 w 494985"/>
                <a:gd name="connsiteY0" fmla="*/ 28501 h 1102488"/>
                <a:gd name="connsiteX1" fmla="*/ 28501 w 494985"/>
                <a:gd name="connsiteY1" fmla="*/ 0 h 1102488"/>
                <a:gd name="connsiteX2" fmla="*/ 466484 w 494985"/>
                <a:gd name="connsiteY2" fmla="*/ 0 h 1102488"/>
                <a:gd name="connsiteX3" fmla="*/ 494985 w 494985"/>
                <a:gd name="connsiteY3" fmla="*/ 28501 h 1102488"/>
                <a:gd name="connsiteX4" fmla="*/ 494985 w 494985"/>
                <a:gd name="connsiteY4" fmla="*/ 1006985 h 1102488"/>
                <a:gd name="connsiteX5" fmla="*/ 466484 w 494985"/>
                <a:gd name="connsiteY5" fmla="*/ 1035486 h 1102488"/>
                <a:gd name="connsiteX6" fmla="*/ 371918 w 494985"/>
                <a:gd name="connsiteY6" fmla="*/ 1041471 h 1102488"/>
                <a:gd name="connsiteX7" fmla="*/ 307624 w 494985"/>
                <a:gd name="connsiteY7" fmla="*/ 1101077 h 1102488"/>
                <a:gd name="connsiteX8" fmla="*/ 198087 w 494985"/>
                <a:gd name="connsiteY8" fmla="*/ 1100839 h 1102488"/>
                <a:gd name="connsiteX9" fmla="*/ 158041 w 494985"/>
                <a:gd name="connsiteY9" fmla="*/ 1035229 h 1102488"/>
                <a:gd name="connsiteX10" fmla="*/ 28501 w 494985"/>
                <a:gd name="connsiteY10" fmla="*/ 1035486 h 1102488"/>
                <a:gd name="connsiteX11" fmla="*/ 0 w 494985"/>
                <a:gd name="connsiteY11" fmla="*/ 1006985 h 1102488"/>
                <a:gd name="connsiteX12" fmla="*/ 0 w 494985"/>
                <a:gd name="connsiteY12" fmla="*/ 28501 h 1102488"/>
                <a:gd name="connsiteX0" fmla="*/ 0 w 494985"/>
                <a:gd name="connsiteY0" fmla="*/ 28501 h 1102488"/>
                <a:gd name="connsiteX1" fmla="*/ 28501 w 494985"/>
                <a:gd name="connsiteY1" fmla="*/ 0 h 1102488"/>
                <a:gd name="connsiteX2" fmla="*/ 466484 w 494985"/>
                <a:gd name="connsiteY2" fmla="*/ 0 h 1102488"/>
                <a:gd name="connsiteX3" fmla="*/ 494985 w 494985"/>
                <a:gd name="connsiteY3" fmla="*/ 28501 h 1102488"/>
                <a:gd name="connsiteX4" fmla="*/ 494985 w 494985"/>
                <a:gd name="connsiteY4" fmla="*/ 1006985 h 1102488"/>
                <a:gd name="connsiteX5" fmla="*/ 466484 w 494985"/>
                <a:gd name="connsiteY5" fmla="*/ 1035486 h 1102488"/>
                <a:gd name="connsiteX6" fmla="*/ 371918 w 494985"/>
                <a:gd name="connsiteY6" fmla="*/ 1041471 h 1102488"/>
                <a:gd name="connsiteX7" fmla="*/ 307624 w 494985"/>
                <a:gd name="connsiteY7" fmla="*/ 1101077 h 1102488"/>
                <a:gd name="connsiteX8" fmla="*/ 198087 w 494985"/>
                <a:gd name="connsiteY8" fmla="*/ 1100839 h 1102488"/>
                <a:gd name="connsiteX9" fmla="*/ 158041 w 494985"/>
                <a:gd name="connsiteY9" fmla="*/ 1035229 h 1102488"/>
                <a:gd name="connsiteX10" fmla="*/ 28501 w 494985"/>
                <a:gd name="connsiteY10" fmla="*/ 1035486 h 1102488"/>
                <a:gd name="connsiteX11" fmla="*/ 0 w 494985"/>
                <a:gd name="connsiteY11" fmla="*/ 1006985 h 1102488"/>
                <a:gd name="connsiteX12" fmla="*/ 0 w 494985"/>
                <a:gd name="connsiteY12" fmla="*/ 28501 h 1102488"/>
                <a:gd name="connsiteX0" fmla="*/ 0 w 494985"/>
                <a:gd name="connsiteY0" fmla="*/ 28501 h 1102488"/>
                <a:gd name="connsiteX1" fmla="*/ 28501 w 494985"/>
                <a:gd name="connsiteY1" fmla="*/ 0 h 1102488"/>
                <a:gd name="connsiteX2" fmla="*/ 466484 w 494985"/>
                <a:gd name="connsiteY2" fmla="*/ 0 h 1102488"/>
                <a:gd name="connsiteX3" fmla="*/ 494985 w 494985"/>
                <a:gd name="connsiteY3" fmla="*/ 28501 h 1102488"/>
                <a:gd name="connsiteX4" fmla="*/ 494985 w 494985"/>
                <a:gd name="connsiteY4" fmla="*/ 1006985 h 1102488"/>
                <a:gd name="connsiteX5" fmla="*/ 466484 w 494985"/>
                <a:gd name="connsiteY5" fmla="*/ 1035486 h 1102488"/>
                <a:gd name="connsiteX6" fmla="*/ 371918 w 494985"/>
                <a:gd name="connsiteY6" fmla="*/ 1041471 h 1102488"/>
                <a:gd name="connsiteX7" fmla="*/ 307624 w 494985"/>
                <a:gd name="connsiteY7" fmla="*/ 1101077 h 1102488"/>
                <a:gd name="connsiteX8" fmla="*/ 198087 w 494985"/>
                <a:gd name="connsiteY8" fmla="*/ 1100839 h 1102488"/>
                <a:gd name="connsiteX9" fmla="*/ 158041 w 494985"/>
                <a:gd name="connsiteY9" fmla="*/ 1035229 h 1102488"/>
                <a:gd name="connsiteX10" fmla="*/ 28501 w 494985"/>
                <a:gd name="connsiteY10" fmla="*/ 1035486 h 1102488"/>
                <a:gd name="connsiteX11" fmla="*/ 0 w 494985"/>
                <a:gd name="connsiteY11" fmla="*/ 1006985 h 1102488"/>
                <a:gd name="connsiteX12" fmla="*/ 0 w 494985"/>
                <a:gd name="connsiteY12" fmla="*/ 28501 h 1102488"/>
                <a:gd name="connsiteX0" fmla="*/ 0 w 494985"/>
                <a:gd name="connsiteY0" fmla="*/ 28501 h 1101324"/>
                <a:gd name="connsiteX1" fmla="*/ 28501 w 494985"/>
                <a:gd name="connsiteY1" fmla="*/ 0 h 1101324"/>
                <a:gd name="connsiteX2" fmla="*/ 466484 w 494985"/>
                <a:gd name="connsiteY2" fmla="*/ 0 h 1101324"/>
                <a:gd name="connsiteX3" fmla="*/ 494985 w 494985"/>
                <a:gd name="connsiteY3" fmla="*/ 28501 h 1101324"/>
                <a:gd name="connsiteX4" fmla="*/ 494985 w 494985"/>
                <a:gd name="connsiteY4" fmla="*/ 1006985 h 1101324"/>
                <a:gd name="connsiteX5" fmla="*/ 466484 w 494985"/>
                <a:gd name="connsiteY5" fmla="*/ 1035486 h 1101324"/>
                <a:gd name="connsiteX6" fmla="*/ 371918 w 494985"/>
                <a:gd name="connsiteY6" fmla="*/ 1041471 h 1101324"/>
                <a:gd name="connsiteX7" fmla="*/ 307624 w 494985"/>
                <a:gd name="connsiteY7" fmla="*/ 1101077 h 1101324"/>
                <a:gd name="connsiteX8" fmla="*/ 198087 w 494985"/>
                <a:gd name="connsiteY8" fmla="*/ 1100839 h 1101324"/>
                <a:gd name="connsiteX9" fmla="*/ 158041 w 494985"/>
                <a:gd name="connsiteY9" fmla="*/ 1035229 h 1101324"/>
                <a:gd name="connsiteX10" fmla="*/ 28501 w 494985"/>
                <a:gd name="connsiteY10" fmla="*/ 1035486 h 1101324"/>
                <a:gd name="connsiteX11" fmla="*/ 0 w 494985"/>
                <a:gd name="connsiteY11" fmla="*/ 1006985 h 1101324"/>
                <a:gd name="connsiteX12" fmla="*/ 0 w 494985"/>
                <a:gd name="connsiteY12" fmla="*/ 28501 h 1101324"/>
                <a:gd name="connsiteX0" fmla="*/ 0 w 494985"/>
                <a:gd name="connsiteY0" fmla="*/ 28501 h 1101324"/>
                <a:gd name="connsiteX1" fmla="*/ 28501 w 494985"/>
                <a:gd name="connsiteY1" fmla="*/ 0 h 1101324"/>
                <a:gd name="connsiteX2" fmla="*/ 466484 w 494985"/>
                <a:gd name="connsiteY2" fmla="*/ 0 h 1101324"/>
                <a:gd name="connsiteX3" fmla="*/ 494985 w 494985"/>
                <a:gd name="connsiteY3" fmla="*/ 28501 h 1101324"/>
                <a:gd name="connsiteX4" fmla="*/ 494985 w 494985"/>
                <a:gd name="connsiteY4" fmla="*/ 1006985 h 1101324"/>
                <a:gd name="connsiteX5" fmla="*/ 466484 w 494985"/>
                <a:gd name="connsiteY5" fmla="*/ 1035486 h 1101324"/>
                <a:gd name="connsiteX6" fmla="*/ 371918 w 494985"/>
                <a:gd name="connsiteY6" fmla="*/ 1041471 h 1101324"/>
                <a:gd name="connsiteX7" fmla="*/ 307624 w 494985"/>
                <a:gd name="connsiteY7" fmla="*/ 1101077 h 1101324"/>
                <a:gd name="connsiteX8" fmla="*/ 198087 w 494985"/>
                <a:gd name="connsiteY8" fmla="*/ 1100839 h 1101324"/>
                <a:gd name="connsiteX9" fmla="*/ 158041 w 494985"/>
                <a:gd name="connsiteY9" fmla="*/ 1035229 h 1101324"/>
                <a:gd name="connsiteX10" fmla="*/ 28501 w 494985"/>
                <a:gd name="connsiteY10" fmla="*/ 1035486 h 1101324"/>
                <a:gd name="connsiteX11" fmla="*/ 0 w 494985"/>
                <a:gd name="connsiteY11" fmla="*/ 1006985 h 1101324"/>
                <a:gd name="connsiteX12" fmla="*/ 0 w 494985"/>
                <a:gd name="connsiteY12" fmla="*/ 28501 h 1101324"/>
                <a:gd name="connsiteX0" fmla="*/ 0 w 494985"/>
                <a:gd name="connsiteY0" fmla="*/ 28501 h 1101324"/>
                <a:gd name="connsiteX1" fmla="*/ 28501 w 494985"/>
                <a:gd name="connsiteY1" fmla="*/ 0 h 1101324"/>
                <a:gd name="connsiteX2" fmla="*/ 466484 w 494985"/>
                <a:gd name="connsiteY2" fmla="*/ 0 h 1101324"/>
                <a:gd name="connsiteX3" fmla="*/ 494985 w 494985"/>
                <a:gd name="connsiteY3" fmla="*/ 28501 h 1101324"/>
                <a:gd name="connsiteX4" fmla="*/ 494985 w 494985"/>
                <a:gd name="connsiteY4" fmla="*/ 1006985 h 1101324"/>
                <a:gd name="connsiteX5" fmla="*/ 466484 w 494985"/>
                <a:gd name="connsiteY5" fmla="*/ 1035486 h 1101324"/>
                <a:gd name="connsiteX6" fmla="*/ 371918 w 494985"/>
                <a:gd name="connsiteY6" fmla="*/ 1041471 h 1101324"/>
                <a:gd name="connsiteX7" fmla="*/ 307624 w 494985"/>
                <a:gd name="connsiteY7" fmla="*/ 1101077 h 1101324"/>
                <a:gd name="connsiteX8" fmla="*/ 198087 w 494985"/>
                <a:gd name="connsiteY8" fmla="*/ 1100839 h 1101324"/>
                <a:gd name="connsiteX9" fmla="*/ 158041 w 494985"/>
                <a:gd name="connsiteY9" fmla="*/ 1035229 h 1101324"/>
                <a:gd name="connsiteX10" fmla="*/ 28501 w 494985"/>
                <a:gd name="connsiteY10" fmla="*/ 1035486 h 1101324"/>
                <a:gd name="connsiteX11" fmla="*/ 0 w 494985"/>
                <a:gd name="connsiteY11" fmla="*/ 1006985 h 1101324"/>
                <a:gd name="connsiteX12" fmla="*/ 0 w 494985"/>
                <a:gd name="connsiteY12" fmla="*/ 28501 h 1101324"/>
                <a:gd name="connsiteX0" fmla="*/ 0 w 494985"/>
                <a:gd name="connsiteY0" fmla="*/ 28501 h 1101324"/>
                <a:gd name="connsiteX1" fmla="*/ 28501 w 494985"/>
                <a:gd name="connsiteY1" fmla="*/ 0 h 1101324"/>
                <a:gd name="connsiteX2" fmla="*/ 466484 w 494985"/>
                <a:gd name="connsiteY2" fmla="*/ 0 h 1101324"/>
                <a:gd name="connsiteX3" fmla="*/ 494985 w 494985"/>
                <a:gd name="connsiteY3" fmla="*/ 28501 h 1101324"/>
                <a:gd name="connsiteX4" fmla="*/ 494985 w 494985"/>
                <a:gd name="connsiteY4" fmla="*/ 1006985 h 1101324"/>
                <a:gd name="connsiteX5" fmla="*/ 466484 w 494985"/>
                <a:gd name="connsiteY5" fmla="*/ 1035486 h 1101324"/>
                <a:gd name="connsiteX6" fmla="*/ 371918 w 494985"/>
                <a:gd name="connsiteY6" fmla="*/ 1041471 h 1101324"/>
                <a:gd name="connsiteX7" fmla="*/ 307624 w 494985"/>
                <a:gd name="connsiteY7" fmla="*/ 1101077 h 1101324"/>
                <a:gd name="connsiteX8" fmla="*/ 198087 w 494985"/>
                <a:gd name="connsiteY8" fmla="*/ 1100839 h 1101324"/>
                <a:gd name="connsiteX9" fmla="*/ 158041 w 494985"/>
                <a:gd name="connsiteY9" fmla="*/ 1035229 h 1101324"/>
                <a:gd name="connsiteX10" fmla="*/ 28501 w 494985"/>
                <a:gd name="connsiteY10" fmla="*/ 1035486 h 1101324"/>
                <a:gd name="connsiteX11" fmla="*/ 0 w 494985"/>
                <a:gd name="connsiteY11" fmla="*/ 1006985 h 1101324"/>
                <a:gd name="connsiteX12" fmla="*/ 0 w 494985"/>
                <a:gd name="connsiteY12" fmla="*/ 28501 h 1101324"/>
                <a:gd name="connsiteX0" fmla="*/ 0 w 494985"/>
                <a:gd name="connsiteY0" fmla="*/ 28501 h 1101324"/>
                <a:gd name="connsiteX1" fmla="*/ 28501 w 494985"/>
                <a:gd name="connsiteY1" fmla="*/ 0 h 1101324"/>
                <a:gd name="connsiteX2" fmla="*/ 466484 w 494985"/>
                <a:gd name="connsiteY2" fmla="*/ 0 h 1101324"/>
                <a:gd name="connsiteX3" fmla="*/ 494985 w 494985"/>
                <a:gd name="connsiteY3" fmla="*/ 28501 h 1101324"/>
                <a:gd name="connsiteX4" fmla="*/ 494985 w 494985"/>
                <a:gd name="connsiteY4" fmla="*/ 1006985 h 1101324"/>
                <a:gd name="connsiteX5" fmla="*/ 466484 w 494985"/>
                <a:gd name="connsiteY5" fmla="*/ 1035486 h 1101324"/>
                <a:gd name="connsiteX6" fmla="*/ 371918 w 494985"/>
                <a:gd name="connsiteY6" fmla="*/ 1041471 h 1101324"/>
                <a:gd name="connsiteX7" fmla="*/ 307624 w 494985"/>
                <a:gd name="connsiteY7" fmla="*/ 1101077 h 1101324"/>
                <a:gd name="connsiteX8" fmla="*/ 198087 w 494985"/>
                <a:gd name="connsiteY8" fmla="*/ 1100839 h 1101324"/>
                <a:gd name="connsiteX9" fmla="*/ 158041 w 494985"/>
                <a:gd name="connsiteY9" fmla="*/ 1035229 h 1101324"/>
                <a:gd name="connsiteX10" fmla="*/ 28501 w 494985"/>
                <a:gd name="connsiteY10" fmla="*/ 1035486 h 1101324"/>
                <a:gd name="connsiteX11" fmla="*/ 0 w 494985"/>
                <a:gd name="connsiteY11" fmla="*/ 1006985 h 1101324"/>
                <a:gd name="connsiteX12" fmla="*/ 0 w 494985"/>
                <a:gd name="connsiteY12" fmla="*/ 28501 h 1101324"/>
                <a:gd name="connsiteX0" fmla="*/ 0 w 494985"/>
                <a:gd name="connsiteY0" fmla="*/ 28501 h 1106240"/>
                <a:gd name="connsiteX1" fmla="*/ 28501 w 494985"/>
                <a:gd name="connsiteY1" fmla="*/ 0 h 1106240"/>
                <a:gd name="connsiteX2" fmla="*/ 466484 w 494985"/>
                <a:gd name="connsiteY2" fmla="*/ 0 h 1106240"/>
                <a:gd name="connsiteX3" fmla="*/ 494985 w 494985"/>
                <a:gd name="connsiteY3" fmla="*/ 28501 h 1106240"/>
                <a:gd name="connsiteX4" fmla="*/ 494985 w 494985"/>
                <a:gd name="connsiteY4" fmla="*/ 1006985 h 1106240"/>
                <a:gd name="connsiteX5" fmla="*/ 466484 w 494985"/>
                <a:gd name="connsiteY5" fmla="*/ 1035486 h 1106240"/>
                <a:gd name="connsiteX6" fmla="*/ 369537 w 494985"/>
                <a:gd name="connsiteY6" fmla="*/ 1033611 h 1106240"/>
                <a:gd name="connsiteX7" fmla="*/ 307624 w 494985"/>
                <a:gd name="connsiteY7" fmla="*/ 1101077 h 1106240"/>
                <a:gd name="connsiteX8" fmla="*/ 198087 w 494985"/>
                <a:gd name="connsiteY8" fmla="*/ 1100839 h 1106240"/>
                <a:gd name="connsiteX9" fmla="*/ 158041 w 494985"/>
                <a:gd name="connsiteY9" fmla="*/ 1035229 h 1106240"/>
                <a:gd name="connsiteX10" fmla="*/ 28501 w 494985"/>
                <a:gd name="connsiteY10" fmla="*/ 1035486 h 1106240"/>
                <a:gd name="connsiteX11" fmla="*/ 0 w 494985"/>
                <a:gd name="connsiteY11" fmla="*/ 1006985 h 1106240"/>
                <a:gd name="connsiteX12" fmla="*/ 0 w 494985"/>
                <a:gd name="connsiteY12" fmla="*/ 28501 h 1106240"/>
                <a:gd name="connsiteX0" fmla="*/ 0 w 494985"/>
                <a:gd name="connsiteY0" fmla="*/ 28501 h 1105659"/>
                <a:gd name="connsiteX1" fmla="*/ 28501 w 494985"/>
                <a:gd name="connsiteY1" fmla="*/ 0 h 1105659"/>
                <a:gd name="connsiteX2" fmla="*/ 466484 w 494985"/>
                <a:gd name="connsiteY2" fmla="*/ 0 h 1105659"/>
                <a:gd name="connsiteX3" fmla="*/ 494985 w 494985"/>
                <a:gd name="connsiteY3" fmla="*/ 28501 h 1105659"/>
                <a:gd name="connsiteX4" fmla="*/ 494985 w 494985"/>
                <a:gd name="connsiteY4" fmla="*/ 1006985 h 1105659"/>
                <a:gd name="connsiteX5" fmla="*/ 466484 w 494985"/>
                <a:gd name="connsiteY5" fmla="*/ 1035486 h 1105659"/>
                <a:gd name="connsiteX6" fmla="*/ 371918 w 494985"/>
                <a:gd name="connsiteY6" fmla="*/ 1041470 h 1105659"/>
                <a:gd name="connsiteX7" fmla="*/ 307624 w 494985"/>
                <a:gd name="connsiteY7" fmla="*/ 1101077 h 1105659"/>
                <a:gd name="connsiteX8" fmla="*/ 198087 w 494985"/>
                <a:gd name="connsiteY8" fmla="*/ 1100839 h 1105659"/>
                <a:gd name="connsiteX9" fmla="*/ 158041 w 494985"/>
                <a:gd name="connsiteY9" fmla="*/ 1035229 h 1105659"/>
                <a:gd name="connsiteX10" fmla="*/ 28501 w 494985"/>
                <a:gd name="connsiteY10" fmla="*/ 1035486 h 1105659"/>
                <a:gd name="connsiteX11" fmla="*/ 0 w 494985"/>
                <a:gd name="connsiteY11" fmla="*/ 1006985 h 1105659"/>
                <a:gd name="connsiteX12" fmla="*/ 0 w 494985"/>
                <a:gd name="connsiteY12" fmla="*/ 28501 h 1105659"/>
                <a:gd name="connsiteX0" fmla="*/ 0 w 494985"/>
                <a:gd name="connsiteY0" fmla="*/ 28501 h 1106046"/>
                <a:gd name="connsiteX1" fmla="*/ 28501 w 494985"/>
                <a:gd name="connsiteY1" fmla="*/ 0 h 1106046"/>
                <a:gd name="connsiteX2" fmla="*/ 466484 w 494985"/>
                <a:gd name="connsiteY2" fmla="*/ 0 h 1106046"/>
                <a:gd name="connsiteX3" fmla="*/ 494985 w 494985"/>
                <a:gd name="connsiteY3" fmla="*/ 28501 h 1106046"/>
                <a:gd name="connsiteX4" fmla="*/ 494985 w 494985"/>
                <a:gd name="connsiteY4" fmla="*/ 1006985 h 1106046"/>
                <a:gd name="connsiteX5" fmla="*/ 466484 w 494985"/>
                <a:gd name="connsiteY5" fmla="*/ 1035486 h 1106046"/>
                <a:gd name="connsiteX6" fmla="*/ 364775 w 494985"/>
                <a:gd name="connsiteY6" fmla="*/ 1036230 h 1106046"/>
                <a:gd name="connsiteX7" fmla="*/ 307624 w 494985"/>
                <a:gd name="connsiteY7" fmla="*/ 1101077 h 1106046"/>
                <a:gd name="connsiteX8" fmla="*/ 198087 w 494985"/>
                <a:gd name="connsiteY8" fmla="*/ 1100839 h 1106046"/>
                <a:gd name="connsiteX9" fmla="*/ 158041 w 494985"/>
                <a:gd name="connsiteY9" fmla="*/ 1035229 h 1106046"/>
                <a:gd name="connsiteX10" fmla="*/ 28501 w 494985"/>
                <a:gd name="connsiteY10" fmla="*/ 1035486 h 1106046"/>
                <a:gd name="connsiteX11" fmla="*/ 0 w 494985"/>
                <a:gd name="connsiteY11" fmla="*/ 1006985 h 1106046"/>
                <a:gd name="connsiteX12" fmla="*/ 0 w 494985"/>
                <a:gd name="connsiteY12" fmla="*/ 28501 h 1106046"/>
                <a:gd name="connsiteX0" fmla="*/ 0 w 494985"/>
                <a:gd name="connsiteY0" fmla="*/ 28501 h 1106046"/>
                <a:gd name="connsiteX1" fmla="*/ 28501 w 494985"/>
                <a:gd name="connsiteY1" fmla="*/ 0 h 1106046"/>
                <a:gd name="connsiteX2" fmla="*/ 466484 w 494985"/>
                <a:gd name="connsiteY2" fmla="*/ 0 h 1106046"/>
                <a:gd name="connsiteX3" fmla="*/ 494985 w 494985"/>
                <a:gd name="connsiteY3" fmla="*/ 28501 h 1106046"/>
                <a:gd name="connsiteX4" fmla="*/ 494985 w 494985"/>
                <a:gd name="connsiteY4" fmla="*/ 1006985 h 1106046"/>
                <a:gd name="connsiteX5" fmla="*/ 466484 w 494985"/>
                <a:gd name="connsiteY5" fmla="*/ 1035486 h 1106046"/>
                <a:gd name="connsiteX6" fmla="*/ 364775 w 494985"/>
                <a:gd name="connsiteY6" fmla="*/ 1036230 h 1106046"/>
                <a:gd name="connsiteX7" fmla="*/ 307624 w 494985"/>
                <a:gd name="connsiteY7" fmla="*/ 1101077 h 1106046"/>
                <a:gd name="connsiteX8" fmla="*/ 198087 w 494985"/>
                <a:gd name="connsiteY8" fmla="*/ 1100839 h 1106046"/>
                <a:gd name="connsiteX9" fmla="*/ 158041 w 494985"/>
                <a:gd name="connsiteY9" fmla="*/ 1035229 h 1106046"/>
                <a:gd name="connsiteX10" fmla="*/ 28501 w 494985"/>
                <a:gd name="connsiteY10" fmla="*/ 1035486 h 1106046"/>
                <a:gd name="connsiteX11" fmla="*/ 0 w 494985"/>
                <a:gd name="connsiteY11" fmla="*/ 1006985 h 1106046"/>
                <a:gd name="connsiteX12" fmla="*/ 0 w 494985"/>
                <a:gd name="connsiteY12" fmla="*/ 28501 h 1106046"/>
                <a:gd name="connsiteX0" fmla="*/ 0 w 494985"/>
                <a:gd name="connsiteY0" fmla="*/ 28501 h 1104264"/>
                <a:gd name="connsiteX1" fmla="*/ 28501 w 494985"/>
                <a:gd name="connsiteY1" fmla="*/ 0 h 1104264"/>
                <a:gd name="connsiteX2" fmla="*/ 466484 w 494985"/>
                <a:gd name="connsiteY2" fmla="*/ 0 h 1104264"/>
                <a:gd name="connsiteX3" fmla="*/ 494985 w 494985"/>
                <a:gd name="connsiteY3" fmla="*/ 28501 h 1104264"/>
                <a:gd name="connsiteX4" fmla="*/ 494985 w 494985"/>
                <a:gd name="connsiteY4" fmla="*/ 1006985 h 1104264"/>
                <a:gd name="connsiteX5" fmla="*/ 466484 w 494985"/>
                <a:gd name="connsiteY5" fmla="*/ 1035486 h 1104264"/>
                <a:gd name="connsiteX6" fmla="*/ 364775 w 494985"/>
                <a:gd name="connsiteY6" fmla="*/ 1036230 h 1104264"/>
                <a:gd name="connsiteX7" fmla="*/ 312387 w 494985"/>
                <a:gd name="connsiteY7" fmla="*/ 1098457 h 1104264"/>
                <a:gd name="connsiteX8" fmla="*/ 198087 w 494985"/>
                <a:gd name="connsiteY8" fmla="*/ 1100839 h 1104264"/>
                <a:gd name="connsiteX9" fmla="*/ 158041 w 494985"/>
                <a:gd name="connsiteY9" fmla="*/ 1035229 h 1104264"/>
                <a:gd name="connsiteX10" fmla="*/ 28501 w 494985"/>
                <a:gd name="connsiteY10" fmla="*/ 1035486 h 1104264"/>
                <a:gd name="connsiteX11" fmla="*/ 0 w 494985"/>
                <a:gd name="connsiteY11" fmla="*/ 1006985 h 1104264"/>
                <a:gd name="connsiteX12" fmla="*/ 0 w 494985"/>
                <a:gd name="connsiteY12" fmla="*/ 28501 h 1104264"/>
                <a:gd name="connsiteX0" fmla="*/ 0 w 494985"/>
                <a:gd name="connsiteY0" fmla="*/ 28501 h 1100839"/>
                <a:gd name="connsiteX1" fmla="*/ 28501 w 494985"/>
                <a:gd name="connsiteY1" fmla="*/ 0 h 1100839"/>
                <a:gd name="connsiteX2" fmla="*/ 466484 w 494985"/>
                <a:gd name="connsiteY2" fmla="*/ 0 h 1100839"/>
                <a:gd name="connsiteX3" fmla="*/ 494985 w 494985"/>
                <a:gd name="connsiteY3" fmla="*/ 28501 h 1100839"/>
                <a:gd name="connsiteX4" fmla="*/ 494985 w 494985"/>
                <a:gd name="connsiteY4" fmla="*/ 1006985 h 1100839"/>
                <a:gd name="connsiteX5" fmla="*/ 466484 w 494985"/>
                <a:gd name="connsiteY5" fmla="*/ 1035486 h 1100839"/>
                <a:gd name="connsiteX6" fmla="*/ 364775 w 494985"/>
                <a:gd name="connsiteY6" fmla="*/ 1036230 h 1100839"/>
                <a:gd name="connsiteX7" fmla="*/ 312387 w 494985"/>
                <a:gd name="connsiteY7" fmla="*/ 1098457 h 1100839"/>
                <a:gd name="connsiteX8" fmla="*/ 198087 w 494985"/>
                <a:gd name="connsiteY8" fmla="*/ 1100839 h 1100839"/>
                <a:gd name="connsiteX9" fmla="*/ 158041 w 494985"/>
                <a:gd name="connsiteY9" fmla="*/ 1035229 h 1100839"/>
                <a:gd name="connsiteX10" fmla="*/ 28501 w 494985"/>
                <a:gd name="connsiteY10" fmla="*/ 1035486 h 1100839"/>
                <a:gd name="connsiteX11" fmla="*/ 0 w 494985"/>
                <a:gd name="connsiteY11" fmla="*/ 1006985 h 1100839"/>
                <a:gd name="connsiteX12" fmla="*/ 0 w 494985"/>
                <a:gd name="connsiteY12" fmla="*/ 28501 h 1100839"/>
                <a:gd name="connsiteX0" fmla="*/ 0 w 494985"/>
                <a:gd name="connsiteY0" fmla="*/ 28501 h 1100839"/>
                <a:gd name="connsiteX1" fmla="*/ 28501 w 494985"/>
                <a:gd name="connsiteY1" fmla="*/ 0 h 1100839"/>
                <a:gd name="connsiteX2" fmla="*/ 466484 w 494985"/>
                <a:gd name="connsiteY2" fmla="*/ 0 h 1100839"/>
                <a:gd name="connsiteX3" fmla="*/ 494985 w 494985"/>
                <a:gd name="connsiteY3" fmla="*/ 28501 h 1100839"/>
                <a:gd name="connsiteX4" fmla="*/ 494985 w 494985"/>
                <a:gd name="connsiteY4" fmla="*/ 1006985 h 1100839"/>
                <a:gd name="connsiteX5" fmla="*/ 466484 w 494985"/>
                <a:gd name="connsiteY5" fmla="*/ 1035486 h 1100839"/>
                <a:gd name="connsiteX6" fmla="*/ 364775 w 494985"/>
                <a:gd name="connsiteY6" fmla="*/ 1036230 h 1100839"/>
                <a:gd name="connsiteX7" fmla="*/ 198087 w 494985"/>
                <a:gd name="connsiteY7" fmla="*/ 1100839 h 1100839"/>
                <a:gd name="connsiteX8" fmla="*/ 158041 w 494985"/>
                <a:gd name="connsiteY8" fmla="*/ 1035229 h 1100839"/>
                <a:gd name="connsiteX9" fmla="*/ 28501 w 494985"/>
                <a:gd name="connsiteY9" fmla="*/ 1035486 h 1100839"/>
                <a:gd name="connsiteX10" fmla="*/ 0 w 494985"/>
                <a:gd name="connsiteY10" fmla="*/ 1006985 h 1100839"/>
                <a:gd name="connsiteX11" fmla="*/ 0 w 494985"/>
                <a:gd name="connsiteY11" fmla="*/ 28501 h 1100839"/>
                <a:gd name="connsiteX0" fmla="*/ 0 w 494985"/>
                <a:gd name="connsiteY0" fmla="*/ 28501 h 1100839"/>
                <a:gd name="connsiteX1" fmla="*/ 28501 w 494985"/>
                <a:gd name="connsiteY1" fmla="*/ 0 h 1100839"/>
                <a:gd name="connsiteX2" fmla="*/ 466484 w 494985"/>
                <a:gd name="connsiteY2" fmla="*/ 0 h 1100839"/>
                <a:gd name="connsiteX3" fmla="*/ 494985 w 494985"/>
                <a:gd name="connsiteY3" fmla="*/ 28501 h 1100839"/>
                <a:gd name="connsiteX4" fmla="*/ 494985 w 494985"/>
                <a:gd name="connsiteY4" fmla="*/ 1006985 h 1100839"/>
                <a:gd name="connsiteX5" fmla="*/ 466484 w 494985"/>
                <a:gd name="connsiteY5" fmla="*/ 1035486 h 1100839"/>
                <a:gd name="connsiteX6" fmla="*/ 364775 w 494985"/>
                <a:gd name="connsiteY6" fmla="*/ 1036230 h 1100839"/>
                <a:gd name="connsiteX7" fmla="*/ 289009 w 494985"/>
                <a:gd name="connsiteY7" fmla="*/ 1064051 h 1100839"/>
                <a:gd name="connsiteX8" fmla="*/ 198087 w 494985"/>
                <a:gd name="connsiteY8" fmla="*/ 1100839 h 1100839"/>
                <a:gd name="connsiteX9" fmla="*/ 158041 w 494985"/>
                <a:gd name="connsiteY9" fmla="*/ 1035229 h 1100839"/>
                <a:gd name="connsiteX10" fmla="*/ 28501 w 494985"/>
                <a:gd name="connsiteY10" fmla="*/ 1035486 h 1100839"/>
                <a:gd name="connsiteX11" fmla="*/ 0 w 494985"/>
                <a:gd name="connsiteY11" fmla="*/ 1006985 h 1100839"/>
                <a:gd name="connsiteX12" fmla="*/ 0 w 494985"/>
                <a:gd name="connsiteY12" fmla="*/ 28501 h 1100839"/>
                <a:gd name="connsiteX0" fmla="*/ 0 w 494985"/>
                <a:gd name="connsiteY0" fmla="*/ 28501 h 1103352"/>
                <a:gd name="connsiteX1" fmla="*/ 28501 w 494985"/>
                <a:gd name="connsiteY1" fmla="*/ 0 h 1103352"/>
                <a:gd name="connsiteX2" fmla="*/ 466484 w 494985"/>
                <a:gd name="connsiteY2" fmla="*/ 0 h 1103352"/>
                <a:gd name="connsiteX3" fmla="*/ 494985 w 494985"/>
                <a:gd name="connsiteY3" fmla="*/ 28501 h 1103352"/>
                <a:gd name="connsiteX4" fmla="*/ 494985 w 494985"/>
                <a:gd name="connsiteY4" fmla="*/ 1006985 h 1103352"/>
                <a:gd name="connsiteX5" fmla="*/ 466484 w 494985"/>
                <a:gd name="connsiteY5" fmla="*/ 1035486 h 1103352"/>
                <a:gd name="connsiteX6" fmla="*/ 364775 w 494985"/>
                <a:gd name="connsiteY6" fmla="*/ 1036230 h 1103352"/>
                <a:gd name="connsiteX7" fmla="*/ 291390 w 494985"/>
                <a:gd name="connsiteY7" fmla="*/ 1103352 h 1103352"/>
                <a:gd name="connsiteX8" fmla="*/ 198087 w 494985"/>
                <a:gd name="connsiteY8" fmla="*/ 1100839 h 1103352"/>
                <a:gd name="connsiteX9" fmla="*/ 158041 w 494985"/>
                <a:gd name="connsiteY9" fmla="*/ 1035229 h 1103352"/>
                <a:gd name="connsiteX10" fmla="*/ 28501 w 494985"/>
                <a:gd name="connsiteY10" fmla="*/ 1035486 h 1103352"/>
                <a:gd name="connsiteX11" fmla="*/ 0 w 494985"/>
                <a:gd name="connsiteY11" fmla="*/ 1006985 h 1103352"/>
                <a:gd name="connsiteX12" fmla="*/ 0 w 494985"/>
                <a:gd name="connsiteY12" fmla="*/ 28501 h 1103352"/>
                <a:gd name="connsiteX0" fmla="*/ 0 w 494985"/>
                <a:gd name="connsiteY0" fmla="*/ 28501 h 1103352"/>
                <a:gd name="connsiteX1" fmla="*/ 28501 w 494985"/>
                <a:gd name="connsiteY1" fmla="*/ 0 h 1103352"/>
                <a:gd name="connsiteX2" fmla="*/ 466484 w 494985"/>
                <a:gd name="connsiteY2" fmla="*/ 0 h 1103352"/>
                <a:gd name="connsiteX3" fmla="*/ 494985 w 494985"/>
                <a:gd name="connsiteY3" fmla="*/ 28501 h 1103352"/>
                <a:gd name="connsiteX4" fmla="*/ 494985 w 494985"/>
                <a:gd name="connsiteY4" fmla="*/ 1006985 h 1103352"/>
                <a:gd name="connsiteX5" fmla="*/ 466484 w 494985"/>
                <a:gd name="connsiteY5" fmla="*/ 1035486 h 1103352"/>
                <a:gd name="connsiteX6" fmla="*/ 352869 w 494985"/>
                <a:gd name="connsiteY6" fmla="*/ 1036230 h 1103352"/>
                <a:gd name="connsiteX7" fmla="*/ 291390 w 494985"/>
                <a:gd name="connsiteY7" fmla="*/ 1103352 h 1103352"/>
                <a:gd name="connsiteX8" fmla="*/ 198087 w 494985"/>
                <a:gd name="connsiteY8" fmla="*/ 1100839 h 1103352"/>
                <a:gd name="connsiteX9" fmla="*/ 158041 w 494985"/>
                <a:gd name="connsiteY9" fmla="*/ 1035229 h 1103352"/>
                <a:gd name="connsiteX10" fmla="*/ 28501 w 494985"/>
                <a:gd name="connsiteY10" fmla="*/ 1035486 h 1103352"/>
                <a:gd name="connsiteX11" fmla="*/ 0 w 494985"/>
                <a:gd name="connsiteY11" fmla="*/ 1006985 h 1103352"/>
                <a:gd name="connsiteX12" fmla="*/ 0 w 494985"/>
                <a:gd name="connsiteY12" fmla="*/ 28501 h 1103352"/>
                <a:gd name="connsiteX0" fmla="*/ 0 w 494985"/>
                <a:gd name="connsiteY0" fmla="*/ 28501 h 1103352"/>
                <a:gd name="connsiteX1" fmla="*/ 28501 w 494985"/>
                <a:gd name="connsiteY1" fmla="*/ 0 h 1103352"/>
                <a:gd name="connsiteX2" fmla="*/ 466484 w 494985"/>
                <a:gd name="connsiteY2" fmla="*/ 0 h 1103352"/>
                <a:gd name="connsiteX3" fmla="*/ 494985 w 494985"/>
                <a:gd name="connsiteY3" fmla="*/ 28501 h 1103352"/>
                <a:gd name="connsiteX4" fmla="*/ 494985 w 494985"/>
                <a:gd name="connsiteY4" fmla="*/ 1006985 h 1103352"/>
                <a:gd name="connsiteX5" fmla="*/ 466484 w 494985"/>
                <a:gd name="connsiteY5" fmla="*/ 1035486 h 1103352"/>
                <a:gd name="connsiteX6" fmla="*/ 340962 w 494985"/>
                <a:gd name="connsiteY6" fmla="*/ 1036230 h 1103352"/>
                <a:gd name="connsiteX7" fmla="*/ 291390 w 494985"/>
                <a:gd name="connsiteY7" fmla="*/ 1103352 h 1103352"/>
                <a:gd name="connsiteX8" fmla="*/ 198087 w 494985"/>
                <a:gd name="connsiteY8" fmla="*/ 1100839 h 1103352"/>
                <a:gd name="connsiteX9" fmla="*/ 158041 w 494985"/>
                <a:gd name="connsiteY9" fmla="*/ 1035229 h 1103352"/>
                <a:gd name="connsiteX10" fmla="*/ 28501 w 494985"/>
                <a:gd name="connsiteY10" fmla="*/ 1035486 h 1103352"/>
                <a:gd name="connsiteX11" fmla="*/ 0 w 494985"/>
                <a:gd name="connsiteY11" fmla="*/ 1006985 h 1103352"/>
                <a:gd name="connsiteX12" fmla="*/ 0 w 494985"/>
                <a:gd name="connsiteY12" fmla="*/ 28501 h 1103352"/>
                <a:gd name="connsiteX0" fmla="*/ 0 w 494985"/>
                <a:gd name="connsiteY0" fmla="*/ 28501 h 1108699"/>
                <a:gd name="connsiteX1" fmla="*/ 28501 w 494985"/>
                <a:gd name="connsiteY1" fmla="*/ 0 h 1108699"/>
                <a:gd name="connsiteX2" fmla="*/ 466484 w 494985"/>
                <a:gd name="connsiteY2" fmla="*/ 0 h 1108699"/>
                <a:gd name="connsiteX3" fmla="*/ 494985 w 494985"/>
                <a:gd name="connsiteY3" fmla="*/ 28501 h 1108699"/>
                <a:gd name="connsiteX4" fmla="*/ 494985 w 494985"/>
                <a:gd name="connsiteY4" fmla="*/ 1006985 h 1108699"/>
                <a:gd name="connsiteX5" fmla="*/ 466484 w 494985"/>
                <a:gd name="connsiteY5" fmla="*/ 1035486 h 1108699"/>
                <a:gd name="connsiteX6" fmla="*/ 340962 w 494985"/>
                <a:gd name="connsiteY6" fmla="*/ 1036230 h 1108699"/>
                <a:gd name="connsiteX7" fmla="*/ 291390 w 494985"/>
                <a:gd name="connsiteY7" fmla="*/ 1103352 h 1108699"/>
                <a:gd name="connsiteX8" fmla="*/ 200469 w 494985"/>
                <a:gd name="connsiteY8" fmla="*/ 1108699 h 1108699"/>
                <a:gd name="connsiteX9" fmla="*/ 158041 w 494985"/>
                <a:gd name="connsiteY9" fmla="*/ 1035229 h 1108699"/>
                <a:gd name="connsiteX10" fmla="*/ 28501 w 494985"/>
                <a:gd name="connsiteY10" fmla="*/ 1035486 h 1108699"/>
                <a:gd name="connsiteX11" fmla="*/ 0 w 494985"/>
                <a:gd name="connsiteY11" fmla="*/ 1006985 h 1108699"/>
                <a:gd name="connsiteX12" fmla="*/ 0 w 494985"/>
                <a:gd name="connsiteY12" fmla="*/ 28501 h 1108699"/>
                <a:gd name="connsiteX0" fmla="*/ 0 w 494985"/>
                <a:gd name="connsiteY0" fmla="*/ 28501 h 1108699"/>
                <a:gd name="connsiteX1" fmla="*/ 28501 w 494985"/>
                <a:gd name="connsiteY1" fmla="*/ 0 h 1108699"/>
                <a:gd name="connsiteX2" fmla="*/ 466484 w 494985"/>
                <a:gd name="connsiteY2" fmla="*/ 0 h 1108699"/>
                <a:gd name="connsiteX3" fmla="*/ 494985 w 494985"/>
                <a:gd name="connsiteY3" fmla="*/ 28501 h 1108699"/>
                <a:gd name="connsiteX4" fmla="*/ 494985 w 494985"/>
                <a:gd name="connsiteY4" fmla="*/ 1006985 h 1108699"/>
                <a:gd name="connsiteX5" fmla="*/ 466484 w 494985"/>
                <a:gd name="connsiteY5" fmla="*/ 1035486 h 1108699"/>
                <a:gd name="connsiteX6" fmla="*/ 340962 w 494985"/>
                <a:gd name="connsiteY6" fmla="*/ 1036230 h 1108699"/>
                <a:gd name="connsiteX7" fmla="*/ 291390 w 494985"/>
                <a:gd name="connsiteY7" fmla="*/ 1103352 h 1108699"/>
                <a:gd name="connsiteX8" fmla="*/ 200469 w 494985"/>
                <a:gd name="connsiteY8" fmla="*/ 1108699 h 1108699"/>
                <a:gd name="connsiteX9" fmla="*/ 158041 w 494985"/>
                <a:gd name="connsiteY9" fmla="*/ 1035229 h 1108699"/>
                <a:gd name="connsiteX10" fmla="*/ 28501 w 494985"/>
                <a:gd name="connsiteY10" fmla="*/ 1035486 h 1108699"/>
                <a:gd name="connsiteX11" fmla="*/ 0 w 494985"/>
                <a:gd name="connsiteY11" fmla="*/ 1006985 h 1108699"/>
                <a:gd name="connsiteX12" fmla="*/ 0 w 494985"/>
                <a:gd name="connsiteY12" fmla="*/ 28501 h 1108699"/>
                <a:gd name="connsiteX0" fmla="*/ 0 w 494985"/>
                <a:gd name="connsiteY0" fmla="*/ 28501 h 1108699"/>
                <a:gd name="connsiteX1" fmla="*/ 28501 w 494985"/>
                <a:gd name="connsiteY1" fmla="*/ 0 h 1108699"/>
                <a:gd name="connsiteX2" fmla="*/ 466484 w 494985"/>
                <a:gd name="connsiteY2" fmla="*/ 0 h 1108699"/>
                <a:gd name="connsiteX3" fmla="*/ 494985 w 494985"/>
                <a:gd name="connsiteY3" fmla="*/ 28501 h 1108699"/>
                <a:gd name="connsiteX4" fmla="*/ 494985 w 494985"/>
                <a:gd name="connsiteY4" fmla="*/ 1006985 h 1108699"/>
                <a:gd name="connsiteX5" fmla="*/ 466484 w 494985"/>
                <a:gd name="connsiteY5" fmla="*/ 1035486 h 1108699"/>
                <a:gd name="connsiteX6" fmla="*/ 340962 w 494985"/>
                <a:gd name="connsiteY6" fmla="*/ 1036230 h 1108699"/>
                <a:gd name="connsiteX7" fmla="*/ 291390 w 494985"/>
                <a:gd name="connsiteY7" fmla="*/ 1103352 h 1108699"/>
                <a:gd name="connsiteX8" fmla="*/ 200469 w 494985"/>
                <a:gd name="connsiteY8" fmla="*/ 1108699 h 1108699"/>
                <a:gd name="connsiteX9" fmla="*/ 158041 w 494985"/>
                <a:gd name="connsiteY9" fmla="*/ 1035229 h 1108699"/>
                <a:gd name="connsiteX10" fmla="*/ 28501 w 494985"/>
                <a:gd name="connsiteY10" fmla="*/ 1035486 h 1108699"/>
                <a:gd name="connsiteX11" fmla="*/ 0 w 494985"/>
                <a:gd name="connsiteY11" fmla="*/ 1006985 h 1108699"/>
                <a:gd name="connsiteX12" fmla="*/ 0 w 494985"/>
                <a:gd name="connsiteY12" fmla="*/ 28501 h 1108699"/>
                <a:gd name="connsiteX0" fmla="*/ 0 w 494985"/>
                <a:gd name="connsiteY0" fmla="*/ 28501 h 1113832"/>
                <a:gd name="connsiteX1" fmla="*/ 28501 w 494985"/>
                <a:gd name="connsiteY1" fmla="*/ 0 h 1113832"/>
                <a:gd name="connsiteX2" fmla="*/ 466484 w 494985"/>
                <a:gd name="connsiteY2" fmla="*/ 0 h 1113832"/>
                <a:gd name="connsiteX3" fmla="*/ 494985 w 494985"/>
                <a:gd name="connsiteY3" fmla="*/ 28501 h 1113832"/>
                <a:gd name="connsiteX4" fmla="*/ 494985 w 494985"/>
                <a:gd name="connsiteY4" fmla="*/ 1006985 h 1113832"/>
                <a:gd name="connsiteX5" fmla="*/ 466484 w 494985"/>
                <a:gd name="connsiteY5" fmla="*/ 1035486 h 1113832"/>
                <a:gd name="connsiteX6" fmla="*/ 340962 w 494985"/>
                <a:gd name="connsiteY6" fmla="*/ 1036230 h 1113832"/>
                <a:gd name="connsiteX7" fmla="*/ 293772 w 494985"/>
                <a:gd name="connsiteY7" fmla="*/ 1113832 h 1113832"/>
                <a:gd name="connsiteX8" fmla="*/ 200469 w 494985"/>
                <a:gd name="connsiteY8" fmla="*/ 1108699 h 1113832"/>
                <a:gd name="connsiteX9" fmla="*/ 158041 w 494985"/>
                <a:gd name="connsiteY9" fmla="*/ 1035229 h 1113832"/>
                <a:gd name="connsiteX10" fmla="*/ 28501 w 494985"/>
                <a:gd name="connsiteY10" fmla="*/ 1035486 h 1113832"/>
                <a:gd name="connsiteX11" fmla="*/ 0 w 494985"/>
                <a:gd name="connsiteY11" fmla="*/ 1006985 h 1113832"/>
                <a:gd name="connsiteX12" fmla="*/ 0 w 494985"/>
                <a:gd name="connsiteY12" fmla="*/ 28501 h 1113832"/>
                <a:gd name="connsiteX0" fmla="*/ 0 w 494985"/>
                <a:gd name="connsiteY0" fmla="*/ 28501 h 1108699"/>
                <a:gd name="connsiteX1" fmla="*/ 28501 w 494985"/>
                <a:gd name="connsiteY1" fmla="*/ 0 h 1108699"/>
                <a:gd name="connsiteX2" fmla="*/ 466484 w 494985"/>
                <a:gd name="connsiteY2" fmla="*/ 0 h 1108699"/>
                <a:gd name="connsiteX3" fmla="*/ 494985 w 494985"/>
                <a:gd name="connsiteY3" fmla="*/ 28501 h 1108699"/>
                <a:gd name="connsiteX4" fmla="*/ 494985 w 494985"/>
                <a:gd name="connsiteY4" fmla="*/ 1006985 h 1108699"/>
                <a:gd name="connsiteX5" fmla="*/ 466484 w 494985"/>
                <a:gd name="connsiteY5" fmla="*/ 1035486 h 1108699"/>
                <a:gd name="connsiteX6" fmla="*/ 340962 w 494985"/>
                <a:gd name="connsiteY6" fmla="*/ 1036230 h 1108699"/>
                <a:gd name="connsiteX7" fmla="*/ 298535 w 494985"/>
                <a:gd name="connsiteY7" fmla="*/ 1108591 h 1108699"/>
                <a:gd name="connsiteX8" fmla="*/ 200469 w 494985"/>
                <a:gd name="connsiteY8" fmla="*/ 1108699 h 1108699"/>
                <a:gd name="connsiteX9" fmla="*/ 158041 w 494985"/>
                <a:gd name="connsiteY9" fmla="*/ 1035229 h 1108699"/>
                <a:gd name="connsiteX10" fmla="*/ 28501 w 494985"/>
                <a:gd name="connsiteY10" fmla="*/ 1035486 h 1108699"/>
                <a:gd name="connsiteX11" fmla="*/ 0 w 494985"/>
                <a:gd name="connsiteY11" fmla="*/ 1006985 h 1108699"/>
                <a:gd name="connsiteX12" fmla="*/ 0 w 494985"/>
                <a:gd name="connsiteY12" fmla="*/ 28501 h 1108699"/>
                <a:gd name="connsiteX0" fmla="*/ 0 w 494985"/>
                <a:gd name="connsiteY0" fmla="*/ 28501 h 1108699"/>
                <a:gd name="connsiteX1" fmla="*/ 28501 w 494985"/>
                <a:gd name="connsiteY1" fmla="*/ 0 h 1108699"/>
                <a:gd name="connsiteX2" fmla="*/ 466484 w 494985"/>
                <a:gd name="connsiteY2" fmla="*/ 0 h 1108699"/>
                <a:gd name="connsiteX3" fmla="*/ 494985 w 494985"/>
                <a:gd name="connsiteY3" fmla="*/ 28501 h 1108699"/>
                <a:gd name="connsiteX4" fmla="*/ 494985 w 494985"/>
                <a:gd name="connsiteY4" fmla="*/ 1006985 h 1108699"/>
                <a:gd name="connsiteX5" fmla="*/ 466484 w 494985"/>
                <a:gd name="connsiteY5" fmla="*/ 1035486 h 1108699"/>
                <a:gd name="connsiteX6" fmla="*/ 340962 w 494985"/>
                <a:gd name="connsiteY6" fmla="*/ 1036230 h 1108699"/>
                <a:gd name="connsiteX7" fmla="*/ 298535 w 494985"/>
                <a:gd name="connsiteY7" fmla="*/ 1108591 h 1108699"/>
                <a:gd name="connsiteX8" fmla="*/ 186182 w 494985"/>
                <a:gd name="connsiteY8" fmla="*/ 1108699 h 1108699"/>
                <a:gd name="connsiteX9" fmla="*/ 158041 w 494985"/>
                <a:gd name="connsiteY9" fmla="*/ 1035229 h 1108699"/>
                <a:gd name="connsiteX10" fmla="*/ 28501 w 494985"/>
                <a:gd name="connsiteY10" fmla="*/ 1035486 h 1108699"/>
                <a:gd name="connsiteX11" fmla="*/ 0 w 494985"/>
                <a:gd name="connsiteY11" fmla="*/ 1006985 h 1108699"/>
                <a:gd name="connsiteX12" fmla="*/ 0 w 494985"/>
                <a:gd name="connsiteY12" fmla="*/ 28501 h 1108699"/>
                <a:gd name="connsiteX0" fmla="*/ 0 w 494985"/>
                <a:gd name="connsiteY0" fmla="*/ 28501 h 1108699"/>
                <a:gd name="connsiteX1" fmla="*/ 28501 w 494985"/>
                <a:gd name="connsiteY1" fmla="*/ 0 h 1108699"/>
                <a:gd name="connsiteX2" fmla="*/ 466484 w 494985"/>
                <a:gd name="connsiteY2" fmla="*/ 0 h 1108699"/>
                <a:gd name="connsiteX3" fmla="*/ 494985 w 494985"/>
                <a:gd name="connsiteY3" fmla="*/ 28501 h 1108699"/>
                <a:gd name="connsiteX4" fmla="*/ 494985 w 494985"/>
                <a:gd name="connsiteY4" fmla="*/ 1006985 h 1108699"/>
                <a:gd name="connsiteX5" fmla="*/ 466484 w 494985"/>
                <a:gd name="connsiteY5" fmla="*/ 1035486 h 1108699"/>
                <a:gd name="connsiteX6" fmla="*/ 340962 w 494985"/>
                <a:gd name="connsiteY6" fmla="*/ 1036230 h 1108699"/>
                <a:gd name="connsiteX7" fmla="*/ 298535 w 494985"/>
                <a:gd name="connsiteY7" fmla="*/ 1108591 h 1108699"/>
                <a:gd name="connsiteX8" fmla="*/ 186182 w 494985"/>
                <a:gd name="connsiteY8" fmla="*/ 1108699 h 1108699"/>
                <a:gd name="connsiteX9" fmla="*/ 158041 w 494985"/>
                <a:gd name="connsiteY9" fmla="*/ 1035229 h 1108699"/>
                <a:gd name="connsiteX10" fmla="*/ 28501 w 494985"/>
                <a:gd name="connsiteY10" fmla="*/ 1035486 h 1108699"/>
                <a:gd name="connsiteX11" fmla="*/ 0 w 494985"/>
                <a:gd name="connsiteY11" fmla="*/ 1006985 h 1108699"/>
                <a:gd name="connsiteX12" fmla="*/ 0 w 494985"/>
                <a:gd name="connsiteY12" fmla="*/ 28501 h 1108699"/>
                <a:gd name="connsiteX0" fmla="*/ 0 w 494985"/>
                <a:gd name="connsiteY0" fmla="*/ 28501 h 1108699"/>
                <a:gd name="connsiteX1" fmla="*/ 28501 w 494985"/>
                <a:gd name="connsiteY1" fmla="*/ 0 h 1108699"/>
                <a:gd name="connsiteX2" fmla="*/ 466484 w 494985"/>
                <a:gd name="connsiteY2" fmla="*/ 0 h 1108699"/>
                <a:gd name="connsiteX3" fmla="*/ 494985 w 494985"/>
                <a:gd name="connsiteY3" fmla="*/ 28501 h 1108699"/>
                <a:gd name="connsiteX4" fmla="*/ 494985 w 494985"/>
                <a:gd name="connsiteY4" fmla="*/ 1006985 h 1108699"/>
                <a:gd name="connsiteX5" fmla="*/ 466484 w 494985"/>
                <a:gd name="connsiteY5" fmla="*/ 1035486 h 1108699"/>
                <a:gd name="connsiteX6" fmla="*/ 340962 w 494985"/>
                <a:gd name="connsiteY6" fmla="*/ 1036230 h 1108699"/>
                <a:gd name="connsiteX7" fmla="*/ 298535 w 494985"/>
                <a:gd name="connsiteY7" fmla="*/ 1108591 h 1108699"/>
                <a:gd name="connsiteX8" fmla="*/ 186182 w 494985"/>
                <a:gd name="connsiteY8" fmla="*/ 1108699 h 1108699"/>
                <a:gd name="connsiteX9" fmla="*/ 158041 w 494985"/>
                <a:gd name="connsiteY9" fmla="*/ 1035229 h 1108699"/>
                <a:gd name="connsiteX10" fmla="*/ 28501 w 494985"/>
                <a:gd name="connsiteY10" fmla="*/ 1035486 h 1108699"/>
                <a:gd name="connsiteX11" fmla="*/ 0 w 494985"/>
                <a:gd name="connsiteY11" fmla="*/ 1006985 h 1108699"/>
                <a:gd name="connsiteX12" fmla="*/ 0 w 494985"/>
                <a:gd name="connsiteY12" fmla="*/ 28501 h 1108699"/>
                <a:gd name="connsiteX0" fmla="*/ 0 w 494985"/>
                <a:gd name="connsiteY0" fmla="*/ 28501 h 1108699"/>
                <a:gd name="connsiteX1" fmla="*/ 28501 w 494985"/>
                <a:gd name="connsiteY1" fmla="*/ 0 h 1108699"/>
                <a:gd name="connsiteX2" fmla="*/ 466484 w 494985"/>
                <a:gd name="connsiteY2" fmla="*/ 0 h 1108699"/>
                <a:gd name="connsiteX3" fmla="*/ 494985 w 494985"/>
                <a:gd name="connsiteY3" fmla="*/ 28501 h 1108699"/>
                <a:gd name="connsiteX4" fmla="*/ 494985 w 494985"/>
                <a:gd name="connsiteY4" fmla="*/ 1006985 h 1108699"/>
                <a:gd name="connsiteX5" fmla="*/ 466484 w 494985"/>
                <a:gd name="connsiteY5" fmla="*/ 1035486 h 1108699"/>
                <a:gd name="connsiteX6" fmla="*/ 340962 w 494985"/>
                <a:gd name="connsiteY6" fmla="*/ 1036230 h 1108699"/>
                <a:gd name="connsiteX7" fmla="*/ 305679 w 494985"/>
                <a:gd name="connsiteY7" fmla="*/ 1108591 h 1108699"/>
                <a:gd name="connsiteX8" fmla="*/ 186182 w 494985"/>
                <a:gd name="connsiteY8" fmla="*/ 1108699 h 1108699"/>
                <a:gd name="connsiteX9" fmla="*/ 158041 w 494985"/>
                <a:gd name="connsiteY9" fmla="*/ 1035229 h 1108699"/>
                <a:gd name="connsiteX10" fmla="*/ 28501 w 494985"/>
                <a:gd name="connsiteY10" fmla="*/ 1035486 h 1108699"/>
                <a:gd name="connsiteX11" fmla="*/ 0 w 494985"/>
                <a:gd name="connsiteY11" fmla="*/ 1006985 h 1108699"/>
                <a:gd name="connsiteX12" fmla="*/ 0 w 494985"/>
                <a:gd name="connsiteY12" fmla="*/ 28501 h 110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4985" h="1108699">
                  <a:moveTo>
                    <a:pt x="0" y="28501"/>
                  </a:moveTo>
                  <a:cubicBezTo>
                    <a:pt x="0" y="12760"/>
                    <a:pt x="12760" y="0"/>
                    <a:pt x="28501" y="0"/>
                  </a:cubicBezTo>
                  <a:lnTo>
                    <a:pt x="466484" y="0"/>
                  </a:lnTo>
                  <a:cubicBezTo>
                    <a:pt x="482225" y="0"/>
                    <a:pt x="494985" y="12760"/>
                    <a:pt x="494985" y="28501"/>
                  </a:cubicBezTo>
                  <a:lnTo>
                    <a:pt x="494985" y="1006985"/>
                  </a:lnTo>
                  <a:cubicBezTo>
                    <a:pt x="494985" y="1022726"/>
                    <a:pt x="482225" y="1035486"/>
                    <a:pt x="466484" y="1035486"/>
                  </a:cubicBezTo>
                  <a:lnTo>
                    <a:pt x="340962" y="1036230"/>
                  </a:lnTo>
                  <a:lnTo>
                    <a:pt x="305679" y="1108591"/>
                  </a:lnTo>
                  <a:lnTo>
                    <a:pt x="186182" y="1108699"/>
                  </a:lnTo>
                  <a:lnTo>
                    <a:pt x="158041" y="1035229"/>
                  </a:lnTo>
                  <a:lnTo>
                    <a:pt x="28501" y="1035486"/>
                  </a:lnTo>
                  <a:cubicBezTo>
                    <a:pt x="12760" y="1035486"/>
                    <a:pt x="0" y="1022726"/>
                    <a:pt x="0" y="1006985"/>
                  </a:cubicBezTo>
                  <a:lnTo>
                    <a:pt x="0" y="28501"/>
                  </a:lnTo>
                  <a:close/>
                </a:path>
              </a:pathLst>
            </a:custGeom>
            <a:solidFill>
              <a:srgbClr val="0078D7"/>
            </a:solidFill>
            <a:ln w="9525" cmpd="sng">
              <a:solidFill>
                <a:srgbClr val="107C1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89630" tIns="89630" rIns="0" rtlCol="0" anchor="t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112">
                <a:lnSpc>
                  <a:spcPct val="90000"/>
                </a:lnSpc>
              </a:pPr>
              <a:r>
                <a:rPr lang="en-US" sz="2000" kern="0" dirty="0">
                  <a:gradFill>
                    <a:gsLst>
                      <a:gs pos="2917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naconda Libraries</a:t>
              </a:r>
              <a:endParaRPr lang="en-US" sz="1600" b="1" kern="0" dirty="0"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8643759"/>
      </p:ext>
    </p:extLst>
  </p:cSld>
  <p:clrMapOvr>
    <a:masterClrMapping/>
  </p:clrMapOvr>
  <p:transition spd="med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</p:sp>
      <p:sp>
        <p:nvSpPr>
          <p:cNvPr id="7" name="Rectangle 6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21564" y="320040"/>
            <a:ext cx="11548872" cy="6217920"/>
          </a:xfrm>
          <a:prstGeom prst="rect">
            <a:avLst/>
          </a:prstGeom>
          <a:solidFill>
            <a:schemeClr val="tx1">
              <a:alpha val="8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cxnSp>
        <p:nvCxnSpPr>
          <p:cNvPr id="14" name="Straight Connector 7"/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055891" y="2057399"/>
            <a:ext cx="0" cy="27432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380588" y="965199"/>
            <a:ext cx="7193946" cy="4975451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5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emo – HDInsight Spark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177415" y="5998192"/>
            <a:ext cx="106930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GB" kern="0" dirty="0">
                <a:solidFill>
                  <a:sysClr val="windowText" lastClr="000000"/>
                </a:solidFill>
                <a:hlinkClick r:id="rId3"/>
              </a:rPr>
              <a:t>https://docs.microsoft.com/en-us/azure/hdinsight/hdinsight-apache-spark-jupyter-spark-sql</a:t>
            </a:r>
            <a:r>
              <a:rPr lang="en-GB" kern="0" dirty="0">
                <a:solidFill>
                  <a:sysClr val="windowText" lastClr="000000"/>
                </a:solidFill>
              </a:rPr>
              <a:t> </a:t>
            </a: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3280425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GB" dirty="0">
                <a:solidFill>
                  <a:srgbClr val="00B0F0"/>
                </a:solidFill>
              </a:rPr>
              <a:t>Event ingestion patterns</a:t>
            </a:r>
          </a:p>
        </p:txBody>
      </p:sp>
      <p:sp>
        <p:nvSpPr>
          <p:cNvPr id="5" name="Rectangle 4"/>
          <p:cNvSpPr/>
          <p:nvPr/>
        </p:nvSpPr>
        <p:spPr>
          <a:xfrm>
            <a:off x="269241" y="1189494"/>
            <a:ext cx="9605440" cy="452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53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</a:rPr>
              <a:t>A managed cloud service for building and operating data pipeline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067906" y="1978990"/>
            <a:ext cx="2554592" cy="35211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lIns="179285" tIns="44821" rIns="179285" bIns="179285" rtlCol="0" anchor="t">
            <a:noAutofit/>
          </a:bodyPr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Event processing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519994" y="1978990"/>
            <a:ext cx="2554592" cy="35211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lIns="179285" tIns="44821" rIns="179285" bIns="179285" rtlCol="0" anchor="t">
            <a:noAutofit/>
          </a:bodyPr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Stream processing</a:t>
            </a:r>
          </a:p>
        </p:txBody>
      </p:sp>
      <p:sp>
        <p:nvSpPr>
          <p:cNvPr id="9" name="Freeform 34"/>
          <p:cNvSpPr>
            <a:spLocks noEditPoints="1"/>
          </p:cNvSpPr>
          <p:nvPr/>
        </p:nvSpPr>
        <p:spPr bwMode="auto">
          <a:xfrm>
            <a:off x="680618" y="2253018"/>
            <a:ext cx="601443" cy="475809"/>
          </a:xfrm>
          <a:custGeom>
            <a:avLst/>
            <a:gdLst>
              <a:gd name="T0" fmla="*/ 234 w 1464"/>
              <a:gd name="T1" fmla="*/ 815 h 1158"/>
              <a:gd name="T2" fmla="*/ 206 w 1464"/>
              <a:gd name="T3" fmla="*/ 1158 h 1158"/>
              <a:gd name="T4" fmla="*/ 33 w 1464"/>
              <a:gd name="T5" fmla="*/ 1131 h 1158"/>
              <a:gd name="T6" fmla="*/ 89 w 1464"/>
              <a:gd name="T7" fmla="*/ 876 h 1158"/>
              <a:gd name="T8" fmla="*/ 183 w 1464"/>
              <a:gd name="T9" fmla="*/ 876 h 1158"/>
              <a:gd name="T10" fmla="*/ 323 w 1464"/>
              <a:gd name="T11" fmla="*/ 1158 h 1158"/>
              <a:gd name="T12" fmla="*/ 495 w 1464"/>
              <a:gd name="T13" fmla="*/ 1131 h 1158"/>
              <a:gd name="T14" fmla="*/ 295 w 1464"/>
              <a:gd name="T15" fmla="*/ 748 h 1158"/>
              <a:gd name="T16" fmla="*/ 295 w 1464"/>
              <a:gd name="T17" fmla="*/ 1131 h 1158"/>
              <a:gd name="T18" fmla="*/ 584 w 1464"/>
              <a:gd name="T19" fmla="*/ 1158 h 1158"/>
              <a:gd name="T20" fmla="*/ 757 w 1464"/>
              <a:gd name="T21" fmla="*/ 1131 h 1158"/>
              <a:gd name="T22" fmla="*/ 557 w 1464"/>
              <a:gd name="T23" fmla="*/ 493 h 1158"/>
              <a:gd name="T24" fmla="*/ 557 w 1464"/>
              <a:gd name="T25" fmla="*/ 1131 h 1158"/>
              <a:gd name="T26" fmla="*/ 863 w 1464"/>
              <a:gd name="T27" fmla="*/ 676 h 1158"/>
              <a:gd name="T28" fmla="*/ 813 w 1464"/>
              <a:gd name="T29" fmla="*/ 1131 h 1158"/>
              <a:gd name="T30" fmla="*/ 991 w 1464"/>
              <a:gd name="T31" fmla="*/ 1158 h 1158"/>
              <a:gd name="T32" fmla="*/ 1013 w 1464"/>
              <a:gd name="T33" fmla="*/ 610 h 1158"/>
              <a:gd name="T34" fmla="*/ 902 w 1464"/>
              <a:gd name="T35" fmla="*/ 687 h 1158"/>
              <a:gd name="T36" fmla="*/ 1074 w 1464"/>
              <a:gd name="T37" fmla="*/ 1131 h 1158"/>
              <a:gd name="T38" fmla="*/ 1247 w 1464"/>
              <a:gd name="T39" fmla="*/ 1158 h 1158"/>
              <a:gd name="T40" fmla="*/ 1275 w 1464"/>
              <a:gd name="T41" fmla="*/ 366 h 1158"/>
              <a:gd name="T42" fmla="*/ 1074 w 1464"/>
              <a:gd name="T43" fmla="*/ 549 h 1158"/>
              <a:gd name="T44" fmla="*/ 1442 w 1464"/>
              <a:gd name="T45" fmla="*/ 0 h 1158"/>
              <a:gd name="T46" fmla="*/ 1024 w 1464"/>
              <a:gd name="T47" fmla="*/ 33 h 1158"/>
              <a:gd name="T48" fmla="*/ 1130 w 1464"/>
              <a:gd name="T49" fmla="*/ 166 h 1158"/>
              <a:gd name="T50" fmla="*/ 935 w 1464"/>
              <a:gd name="T51" fmla="*/ 410 h 1158"/>
              <a:gd name="T52" fmla="*/ 896 w 1464"/>
              <a:gd name="T53" fmla="*/ 416 h 1158"/>
              <a:gd name="T54" fmla="*/ 540 w 1464"/>
              <a:gd name="T55" fmla="*/ 94 h 1158"/>
              <a:gd name="T56" fmla="*/ 11 w 1464"/>
              <a:gd name="T57" fmla="*/ 704 h 1158"/>
              <a:gd name="T58" fmla="*/ 117 w 1464"/>
              <a:gd name="T59" fmla="*/ 848 h 1158"/>
              <a:gd name="T60" fmla="*/ 156 w 1464"/>
              <a:gd name="T61" fmla="*/ 848 h 1158"/>
              <a:gd name="T62" fmla="*/ 534 w 1464"/>
              <a:gd name="T63" fmla="*/ 443 h 1158"/>
              <a:gd name="T64" fmla="*/ 885 w 1464"/>
              <a:gd name="T65" fmla="*/ 649 h 1158"/>
              <a:gd name="T66" fmla="*/ 930 w 1464"/>
              <a:gd name="T67" fmla="*/ 643 h 1158"/>
              <a:gd name="T68" fmla="*/ 1269 w 1464"/>
              <a:gd name="T69" fmla="*/ 321 h 1158"/>
              <a:gd name="T70" fmla="*/ 1420 w 1464"/>
              <a:gd name="T71" fmla="*/ 460 h 1158"/>
              <a:gd name="T72" fmla="*/ 1442 w 1464"/>
              <a:gd name="T73" fmla="*/ 449 h 1158"/>
              <a:gd name="T74" fmla="*/ 1442 w 1464"/>
              <a:gd name="T75" fmla="*/ 0 h 1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464" h="1158">
                <a:moveTo>
                  <a:pt x="183" y="876"/>
                </a:moveTo>
                <a:cubicBezTo>
                  <a:pt x="234" y="815"/>
                  <a:pt x="234" y="815"/>
                  <a:pt x="234" y="815"/>
                </a:cubicBezTo>
                <a:cubicBezTo>
                  <a:pt x="234" y="1131"/>
                  <a:pt x="234" y="1131"/>
                  <a:pt x="234" y="1131"/>
                </a:cubicBezTo>
                <a:cubicBezTo>
                  <a:pt x="234" y="1147"/>
                  <a:pt x="222" y="1158"/>
                  <a:pt x="206" y="1158"/>
                </a:cubicBezTo>
                <a:cubicBezTo>
                  <a:pt x="61" y="1158"/>
                  <a:pt x="61" y="1158"/>
                  <a:pt x="61" y="1158"/>
                </a:cubicBezTo>
                <a:cubicBezTo>
                  <a:pt x="50" y="1158"/>
                  <a:pt x="33" y="1147"/>
                  <a:pt x="33" y="1131"/>
                </a:cubicBezTo>
                <a:cubicBezTo>
                  <a:pt x="33" y="820"/>
                  <a:pt x="33" y="820"/>
                  <a:pt x="33" y="820"/>
                </a:cubicBezTo>
                <a:cubicBezTo>
                  <a:pt x="89" y="876"/>
                  <a:pt x="89" y="876"/>
                  <a:pt x="89" y="876"/>
                </a:cubicBezTo>
                <a:cubicBezTo>
                  <a:pt x="100" y="887"/>
                  <a:pt x="117" y="898"/>
                  <a:pt x="133" y="898"/>
                </a:cubicBezTo>
                <a:cubicBezTo>
                  <a:pt x="150" y="898"/>
                  <a:pt x="172" y="887"/>
                  <a:pt x="183" y="876"/>
                </a:cubicBezTo>
                <a:close/>
                <a:moveTo>
                  <a:pt x="295" y="1131"/>
                </a:moveTo>
                <a:cubicBezTo>
                  <a:pt x="295" y="1147"/>
                  <a:pt x="306" y="1158"/>
                  <a:pt x="323" y="1158"/>
                </a:cubicBezTo>
                <a:cubicBezTo>
                  <a:pt x="467" y="1158"/>
                  <a:pt x="467" y="1158"/>
                  <a:pt x="467" y="1158"/>
                </a:cubicBezTo>
                <a:cubicBezTo>
                  <a:pt x="484" y="1158"/>
                  <a:pt x="495" y="1147"/>
                  <a:pt x="495" y="1131"/>
                </a:cubicBezTo>
                <a:cubicBezTo>
                  <a:pt x="495" y="527"/>
                  <a:pt x="495" y="527"/>
                  <a:pt x="495" y="527"/>
                </a:cubicBezTo>
                <a:cubicBezTo>
                  <a:pt x="295" y="748"/>
                  <a:pt x="295" y="748"/>
                  <a:pt x="295" y="748"/>
                </a:cubicBezTo>
                <a:cubicBezTo>
                  <a:pt x="295" y="1131"/>
                  <a:pt x="295" y="1131"/>
                  <a:pt x="295" y="1131"/>
                </a:cubicBezTo>
                <a:cubicBezTo>
                  <a:pt x="295" y="1131"/>
                  <a:pt x="295" y="1131"/>
                  <a:pt x="295" y="1131"/>
                </a:cubicBezTo>
                <a:close/>
                <a:moveTo>
                  <a:pt x="557" y="1131"/>
                </a:moveTo>
                <a:cubicBezTo>
                  <a:pt x="557" y="1147"/>
                  <a:pt x="568" y="1158"/>
                  <a:pt x="584" y="1158"/>
                </a:cubicBezTo>
                <a:cubicBezTo>
                  <a:pt x="729" y="1158"/>
                  <a:pt x="729" y="1158"/>
                  <a:pt x="729" y="1158"/>
                </a:cubicBezTo>
                <a:cubicBezTo>
                  <a:pt x="746" y="1158"/>
                  <a:pt x="757" y="1147"/>
                  <a:pt x="757" y="1131"/>
                </a:cubicBezTo>
                <a:cubicBezTo>
                  <a:pt x="757" y="615"/>
                  <a:pt x="757" y="615"/>
                  <a:pt x="757" y="615"/>
                </a:cubicBezTo>
                <a:cubicBezTo>
                  <a:pt x="557" y="493"/>
                  <a:pt x="557" y="493"/>
                  <a:pt x="557" y="493"/>
                </a:cubicBezTo>
                <a:cubicBezTo>
                  <a:pt x="557" y="1131"/>
                  <a:pt x="557" y="1131"/>
                  <a:pt x="557" y="1131"/>
                </a:cubicBezTo>
                <a:cubicBezTo>
                  <a:pt x="557" y="1131"/>
                  <a:pt x="557" y="1131"/>
                  <a:pt x="557" y="1131"/>
                </a:cubicBezTo>
                <a:close/>
                <a:moveTo>
                  <a:pt x="902" y="687"/>
                </a:moveTo>
                <a:cubicBezTo>
                  <a:pt x="891" y="687"/>
                  <a:pt x="874" y="687"/>
                  <a:pt x="863" y="676"/>
                </a:cubicBezTo>
                <a:cubicBezTo>
                  <a:pt x="813" y="649"/>
                  <a:pt x="813" y="649"/>
                  <a:pt x="813" y="649"/>
                </a:cubicBezTo>
                <a:cubicBezTo>
                  <a:pt x="813" y="1131"/>
                  <a:pt x="813" y="1131"/>
                  <a:pt x="813" y="1131"/>
                </a:cubicBezTo>
                <a:cubicBezTo>
                  <a:pt x="813" y="1147"/>
                  <a:pt x="829" y="1158"/>
                  <a:pt x="841" y="1158"/>
                </a:cubicBezTo>
                <a:cubicBezTo>
                  <a:pt x="991" y="1158"/>
                  <a:pt x="991" y="1158"/>
                  <a:pt x="991" y="1158"/>
                </a:cubicBezTo>
                <a:cubicBezTo>
                  <a:pt x="1002" y="1158"/>
                  <a:pt x="1013" y="1147"/>
                  <a:pt x="1013" y="1131"/>
                </a:cubicBezTo>
                <a:cubicBezTo>
                  <a:pt x="1013" y="610"/>
                  <a:pt x="1013" y="610"/>
                  <a:pt x="1013" y="610"/>
                </a:cubicBezTo>
                <a:cubicBezTo>
                  <a:pt x="958" y="671"/>
                  <a:pt x="958" y="671"/>
                  <a:pt x="958" y="671"/>
                </a:cubicBezTo>
                <a:cubicBezTo>
                  <a:pt x="941" y="682"/>
                  <a:pt x="924" y="687"/>
                  <a:pt x="902" y="687"/>
                </a:cubicBezTo>
                <a:close/>
                <a:moveTo>
                  <a:pt x="1074" y="549"/>
                </a:moveTo>
                <a:cubicBezTo>
                  <a:pt x="1074" y="1131"/>
                  <a:pt x="1074" y="1131"/>
                  <a:pt x="1074" y="1131"/>
                </a:cubicBezTo>
                <a:cubicBezTo>
                  <a:pt x="1074" y="1147"/>
                  <a:pt x="1086" y="1158"/>
                  <a:pt x="1102" y="1158"/>
                </a:cubicBezTo>
                <a:cubicBezTo>
                  <a:pt x="1247" y="1158"/>
                  <a:pt x="1247" y="1158"/>
                  <a:pt x="1247" y="1158"/>
                </a:cubicBezTo>
                <a:cubicBezTo>
                  <a:pt x="1264" y="1158"/>
                  <a:pt x="1275" y="1147"/>
                  <a:pt x="1275" y="1131"/>
                </a:cubicBezTo>
                <a:cubicBezTo>
                  <a:pt x="1275" y="366"/>
                  <a:pt x="1275" y="366"/>
                  <a:pt x="1275" y="366"/>
                </a:cubicBezTo>
                <a:cubicBezTo>
                  <a:pt x="1269" y="360"/>
                  <a:pt x="1269" y="360"/>
                  <a:pt x="1269" y="360"/>
                </a:cubicBezTo>
                <a:cubicBezTo>
                  <a:pt x="1074" y="549"/>
                  <a:pt x="1074" y="549"/>
                  <a:pt x="1074" y="549"/>
                </a:cubicBezTo>
                <a:cubicBezTo>
                  <a:pt x="1074" y="549"/>
                  <a:pt x="1074" y="549"/>
                  <a:pt x="1074" y="549"/>
                </a:cubicBezTo>
                <a:close/>
                <a:moveTo>
                  <a:pt x="1442" y="0"/>
                </a:moveTo>
                <a:cubicBezTo>
                  <a:pt x="1442" y="0"/>
                  <a:pt x="1442" y="0"/>
                  <a:pt x="1442" y="0"/>
                </a:cubicBezTo>
                <a:cubicBezTo>
                  <a:pt x="1024" y="33"/>
                  <a:pt x="1024" y="33"/>
                  <a:pt x="1024" y="33"/>
                </a:cubicBezTo>
                <a:cubicBezTo>
                  <a:pt x="1008" y="33"/>
                  <a:pt x="1002" y="44"/>
                  <a:pt x="1013" y="50"/>
                </a:cubicBezTo>
                <a:cubicBezTo>
                  <a:pt x="1130" y="166"/>
                  <a:pt x="1130" y="166"/>
                  <a:pt x="1130" y="166"/>
                </a:cubicBezTo>
                <a:cubicBezTo>
                  <a:pt x="1141" y="177"/>
                  <a:pt x="1141" y="194"/>
                  <a:pt x="1130" y="205"/>
                </a:cubicBezTo>
                <a:cubicBezTo>
                  <a:pt x="935" y="410"/>
                  <a:pt x="935" y="410"/>
                  <a:pt x="935" y="410"/>
                </a:cubicBezTo>
                <a:cubicBezTo>
                  <a:pt x="930" y="416"/>
                  <a:pt x="924" y="421"/>
                  <a:pt x="919" y="421"/>
                </a:cubicBezTo>
                <a:cubicBezTo>
                  <a:pt x="907" y="421"/>
                  <a:pt x="902" y="416"/>
                  <a:pt x="896" y="416"/>
                </a:cubicBezTo>
                <a:cubicBezTo>
                  <a:pt x="557" y="100"/>
                  <a:pt x="557" y="100"/>
                  <a:pt x="557" y="100"/>
                </a:cubicBezTo>
                <a:cubicBezTo>
                  <a:pt x="551" y="94"/>
                  <a:pt x="545" y="94"/>
                  <a:pt x="540" y="94"/>
                </a:cubicBezTo>
                <a:cubicBezTo>
                  <a:pt x="529" y="94"/>
                  <a:pt x="523" y="94"/>
                  <a:pt x="518" y="100"/>
                </a:cubicBezTo>
                <a:cubicBezTo>
                  <a:pt x="11" y="704"/>
                  <a:pt x="11" y="704"/>
                  <a:pt x="11" y="704"/>
                </a:cubicBezTo>
                <a:cubicBezTo>
                  <a:pt x="0" y="715"/>
                  <a:pt x="0" y="737"/>
                  <a:pt x="11" y="748"/>
                </a:cubicBezTo>
                <a:cubicBezTo>
                  <a:pt x="117" y="848"/>
                  <a:pt x="117" y="848"/>
                  <a:pt x="117" y="848"/>
                </a:cubicBezTo>
                <a:cubicBezTo>
                  <a:pt x="122" y="854"/>
                  <a:pt x="128" y="859"/>
                  <a:pt x="133" y="859"/>
                </a:cubicBezTo>
                <a:cubicBezTo>
                  <a:pt x="139" y="859"/>
                  <a:pt x="150" y="854"/>
                  <a:pt x="156" y="848"/>
                </a:cubicBezTo>
                <a:cubicBezTo>
                  <a:pt x="506" y="454"/>
                  <a:pt x="506" y="454"/>
                  <a:pt x="506" y="454"/>
                </a:cubicBezTo>
                <a:cubicBezTo>
                  <a:pt x="512" y="443"/>
                  <a:pt x="523" y="443"/>
                  <a:pt x="534" y="443"/>
                </a:cubicBezTo>
                <a:cubicBezTo>
                  <a:pt x="540" y="443"/>
                  <a:pt x="545" y="443"/>
                  <a:pt x="551" y="443"/>
                </a:cubicBezTo>
                <a:cubicBezTo>
                  <a:pt x="885" y="649"/>
                  <a:pt x="885" y="649"/>
                  <a:pt x="885" y="649"/>
                </a:cubicBezTo>
                <a:cubicBezTo>
                  <a:pt x="891" y="649"/>
                  <a:pt x="896" y="649"/>
                  <a:pt x="902" y="649"/>
                </a:cubicBezTo>
                <a:cubicBezTo>
                  <a:pt x="913" y="649"/>
                  <a:pt x="924" y="649"/>
                  <a:pt x="930" y="643"/>
                </a:cubicBezTo>
                <a:cubicBezTo>
                  <a:pt x="1253" y="327"/>
                  <a:pt x="1253" y="327"/>
                  <a:pt x="1253" y="327"/>
                </a:cubicBezTo>
                <a:cubicBezTo>
                  <a:pt x="1258" y="321"/>
                  <a:pt x="1264" y="321"/>
                  <a:pt x="1269" y="321"/>
                </a:cubicBezTo>
                <a:cubicBezTo>
                  <a:pt x="1281" y="321"/>
                  <a:pt x="1286" y="321"/>
                  <a:pt x="1292" y="327"/>
                </a:cubicBezTo>
                <a:cubicBezTo>
                  <a:pt x="1420" y="460"/>
                  <a:pt x="1420" y="460"/>
                  <a:pt x="1420" y="460"/>
                </a:cubicBezTo>
                <a:cubicBezTo>
                  <a:pt x="1425" y="460"/>
                  <a:pt x="1431" y="466"/>
                  <a:pt x="1431" y="466"/>
                </a:cubicBezTo>
                <a:cubicBezTo>
                  <a:pt x="1436" y="466"/>
                  <a:pt x="1442" y="460"/>
                  <a:pt x="1442" y="449"/>
                </a:cubicBezTo>
                <a:cubicBezTo>
                  <a:pt x="1464" y="28"/>
                  <a:pt x="1464" y="28"/>
                  <a:pt x="1464" y="28"/>
                </a:cubicBezTo>
                <a:cubicBezTo>
                  <a:pt x="1464" y="11"/>
                  <a:pt x="1453" y="0"/>
                  <a:pt x="144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89604" tIns="44802" rIns="89604" bIns="44802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395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6" b="0" i="0" u="none" strike="noStrike" kern="0" cap="none" spc="0" normalizeH="0" baseline="0" noProof="0">
              <a:ln>
                <a:noFill/>
              </a:ln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effectLst/>
              <a:uLnTx/>
              <a:uFillTx/>
              <a:ea typeface="MS PGothic" panose="020B0600070205080204" pitchFamily="34" charset="-128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61094" y="4129963"/>
            <a:ext cx="124049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defTabSz="896214">
              <a:defRPr sz="1400" ker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 Semilight" panose="020B0402040204020203" pitchFamily="34" charset="0"/>
              </a:defRPr>
            </a:lvl1pPr>
          </a:lstStyle>
          <a:p>
            <a:pPr marL="0" marR="0" lvl="0" indent="0" algn="ctr" defTabSz="89621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cs typeface="Segoe UI Semilight" panose="020B0402040204020203" pitchFamily="34" charset="0"/>
              </a:rPr>
              <a:t>Custom apps</a:t>
            </a:r>
          </a:p>
        </p:txBody>
      </p:sp>
      <p:sp>
        <p:nvSpPr>
          <p:cNvPr id="11" name="Freeform 53"/>
          <p:cNvSpPr>
            <a:spLocks noEditPoints="1"/>
          </p:cNvSpPr>
          <p:nvPr/>
        </p:nvSpPr>
        <p:spPr bwMode="auto">
          <a:xfrm>
            <a:off x="759866" y="3501810"/>
            <a:ext cx="442946" cy="632180"/>
          </a:xfrm>
          <a:custGeom>
            <a:avLst/>
            <a:gdLst>
              <a:gd name="T0" fmla="*/ 1011 w 1280"/>
              <a:gd name="T1" fmla="*/ 1048 h 1827"/>
              <a:gd name="T2" fmla="*/ 958 w 1280"/>
              <a:gd name="T3" fmla="*/ 1013 h 1827"/>
              <a:gd name="T4" fmla="*/ 847 w 1280"/>
              <a:gd name="T5" fmla="*/ 961 h 1827"/>
              <a:gd name="T6" fmla="*/ 814 w 1280"/>
              <a:gd name="T7" fmla="*/ 965 h 1827"/>
              <a:gd name="T8" fmla="*/ 710 w 1280"/>
              <a:gd name="T9" fmla="*/ 572 h 1827"/>
              <a:gd name="T10" fmla="*/ 601 w 1280"/>
              <a:gd name="T11" fmla="*/ 594 h 1827"/>
              <a:gd name="T12" fmla="*/ 705 w 1280"/>
              <a:gd name="T13" fmla="*/ 1159 h 1827"/>
              <a:gd name="T14" fmla="*/ 663 w 1280"/>
              <a:gd name="T15" fmla="*/ 1238 h 1827"/>
              <a:gd name="T16" fmla="*/ 504 w 1280"/>
              <a:gd name="T17" fmla="*/ 1112 h 1827"/>
              <a:gd name="T18" fmla="*/ 348 w 1280"/>
              <a:gd name="T19" fmla="*/ 1032 h 1827"/>
              <a:gd name="T20" fmla="*/ 378 w 1280"/>
              <a:gd name="T21" fmla="*/ 1138 h 1827"/>
              <a:gd name="T22" fmla="*/ 416 w 1280"/>
              <a:gd name="T23" fmla="*/ 1245 h 1827"/>
              <a:gd name="T24" fmla="*/ 492 w 1280"/>
              <a:gd name="T25" fmla="*/ 1368 h 1827"/>
              <a:gd name="T26" fmla="*/ 729 w 1280"/>
              <a:gd name="T27" fmla="*/ 1659 h 1827"/>
              <a:gd name="T28" fmla="*/ 805 w 1280"/>
              <a:gd name="T29" fmla="*/ 1827 h 1827"/>
              <a:gd name="T30" fmla="*/ 1238 w 1280"/>
              <a:gd name="T31" fmla="*/ 1652 h 1827"/>
              <a:gd name="T32" fmla="*/ 1257 w 1280"/>
              <a:gd name="T33" fmla="*/ 1576 h 1827"/>
              <a:gd name="T34" fmla="*/ 1273 w 1280"/>
              <a:gd name="T35" fmla="*/ 1354 h 1827"/>
              <a:gd name="T36" fmla="*/ 1198 w 1280"/>
              <a:gd name="T37" fmla="*/ 1207 h 1827"/>
              <a:gd name="T38" fmla="*/ 1131 w 1280"/>
              <a:gd name="T39" fmla="*/ 1112 h 1827"/>
              <a:gd name="T40" fmla="*/ 826 w 1280"/>
              <a:gd name="T41" fmla="*/ 381 h 1827"/>
              <a:gd name="T42" fmla="*/ 442 w 1280"/>
              <a:gd name="T43" fmla="*/ 0 h 1827"/>
              <a:gd name="T44" fmla="*/ 826 w 1280"/>
              <a:gd name="T45" fmla="*/ 381 h 1827"/>
              <a:gd name="T46" fmla="*/ 386 w 1280"/>
              <a:gd name="T47" fmla="*/ 381 h 1827"/>
              <a:gd name="T48" fmla="*/ 0 w 1280"/>
              <a:gd name="T49" fmla="*/ 0 h 1827"/>
              <a:gd name="T50" fmla="*/ 386 w 1280"/>
              <a:gd name="T51" fmla="*/ 381 h 1827"/>
              <a:gd name="T52" fmla="*/ 594 w 1280"/>
              <a:gd name="T53" fmla="*/ 821 h 1827"/>
              <a:gd name="T54" fmla="*/ 442 w 1280"/>
              <a:gd name="T55" fmla="*/ 437 h 1827"/>
              <a:gd name="T56" fmla="*/ 826 w 1280"/>
              <a:gd name="T57" fmla="*/ 821 h 1827"/>
              <a:gd name="T58" fmla="*/ 755 w 1280"/>
              <a:gd name="T59" fmla="*/ 561 h 1827"/>
              <a:gd name="T60" fmla="*/ 755 w 1280"/>
              <a:gd name="T61" fmla="*/ 561 h 1827"/>
              <a:gd name="T62" fmla="*/ 636 w 1280"/>
              <a:gd name="T63" fmla="*/ 480 h 1827"/>
              <a:gd name="T64" fmla="*/ 554 w 1280"/>
              <a:gd name="T65" fmla="*/ 601 h 1827"/>
              <a:gd name="T66" fmla="*/ 594 w 1280"/>
              <a:gd name="T67" fmla="*/ 821 h 1827"/>
              <a:gd name="T68" fmla="*/ 0 w 1280"/>
              <a:gd name="T69" fmla="*/ 1261 h 1827"/>
              <a:gd name="T70" fmla="*/ 606 w 1280"/>
              <a:gd name="T71" fmla="*/ 880 h 1827"/>
              <a:gd name="T72" fmla="*/ 658 w 1280"/>
              <a:gd name="T73" fmla="*/ 1157 h 1827"/>
              <a:gd name="T74" fmla="*/ 658 w 1280"/>
              <a:gd name="T75" fmla="*/ 1159 h 1827"/>
              <a:gd name="T76" fmla="*/ 644 w 1280"/>
              <a:gd name="T77" fmla="*/ 1193 h 1827"/>
              <a:gd name="T78" fmla="*/ 608 w 1280"/>
              <a:gd name="T79" fmla="*/ 1178 h 1827"/>
              <a:gd name="T80" fmla="*/ 563 w 1280"/>
              <a:gd name="T81" fmla="*/ 1117 h 1827"/>
              <a:gd name="T82" fmla="*/ 532 w 1280"/>
              <a:gd name="T83" fmla="*/ 1067 h 1827"/>
              <a:gd name="T84" fmla="*/ 388 w 1280"/>
              <a:gd name="T85" fmla="*/ 972 h 1827"/>
              <a:gd name="T86" fmla="*/ 298 w 1280"/>
              <a:gd name="T87" fmla="*/ 1105 h 1827"/>
              <a:gd name="T88" fmla="*/ 336 w 1280"/>
              <a:gd name="T89" fmla="*/ 1157 h 1827"/>
              <a:gd name="T90" fmla="*/ 357 w 1280"/>
              <a:gd name="T91" fmla="*/ 1219 h 1827"/>
              <a:gd name="T92" fmla="*/ 386 w 1280"/>
              <a:gd name="T93" fmla="*/ 821 h 1827"/>
              <a:gd name="T94" fmla="*/ 0 w 1280"/>
              <a:gd name="T95" fmla="*/ 437 h 1827"/>
              <a:gd name="T96" fmla="*/ 386 w 1280"/>
              <a:gd name="T97" fmla="*/ 821 h 18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280" h="1827">
                <a:moveTo>
                  <a:pt x="1013" y="1048"/>
                </a:moveTo>
                <a:cubicBezTo>
                  <a:pt x="1011" y="1048"/>
                  <a:pt x="1011" y="1048"/>
                  <a:pt x="1011" y="1048"/>
                </a:cubicBezTo>
                <a:cubicBezTo>
                  <a:pt x="977" y="1046"/>
                  <a:pt x="977" y="1046"/>
                  <a:pt x="977" y="1046"/>
                </a:cubicBezTo>
                <a:cubicBezTo>
                  <a:pt x="958" y="1013"/>
                  <a:pt x="958" y="1013"/>
                  <a:pt x="958" y="1013"/>
                </a:cubicBezTo>
                <a:cubicBezTo>
                  <a:pt x="954" y="1008"/>
                  <a:pt x="951" y="1003"/>
                  <a:pt x="947" y="998"/>
                </a:cubicBezTo>
                <a:cubicBezTo>
                  <a:pt x="918" y="975"/>
                  <a:pt x="885" y="961"/>
                  <a:pt x="847" y="961"/>
                </a:cubicBezTo>
                <a:cubicBezTo>
                  <a:pt x="814" y="968"/>
                  <a:pt x="814" y="968"/>
                  <a:pt x="814" y="968"/>
                </a:cubicBezTo>
                <a:cubicBezTo>
                  <a:pt x="814" y="965"/>
                  <a:pt x="814" y="965"/>
                  <a:pt x="814" y="965"/>
                </a:cubicBezTo>
                <a:cubicBezTo>
                  <a:pt x="814" y="963"/>
                  <a:pt x="814" y="963"/>
                  <a:pt x="814" y="963"/>
                </a:cubicBezTo>
                <a:cubicBezTo>
                  <a:pt x="710" y="572"/>
                  <a:pt x="710" y="572"/>
                  <a:pt x="710" y="572"/>
                </a:cubicBezTo>
                <a:cubicBezTo>
                  <a:pt x="696" y="523"/>
                  <a:pt x="672" y="523"/>
                  <a:pt x="644" y="527"/>
                </a:cubicBezTo>
                <a:cubicBezTo>
                  <a:pt x="644" y="527"/>
                  <a:pt x="589" y="535"/>
                  <a:pt x="601" y="594"/>
                </a:cubicBezTo>
                <a:cubicBezTo>
                  <a:pt x="703" y="1140"/>
                  <a:pt x="703" y="1140"/>
                  <a:pt x="703" y="1140"/>
                </a:cubicBezTo>
                <a:cubicBezTo>
                  <a:pt x="703" y="1148"/>
                  <a:pt x="705" y="1152"/>
                  <a:pt x="705" y="1159"/>
                </a:cubicBezTo>
                <a:cubicBezTo>
                  <a:pt x="705" y="1183"/>
                  <a:pt x="696" y="1207"/>
                  <a:pt x="679" y="1226"/>
                </a:cubicBezTo>
                <a:cubicBezTo>
                  <a:pt x="674" y="1233"/>
                  <a:pt x="667" y="1238"/>
                  <a:pt x="663" y="1238"/>
                </a:cubicBezTo>
                <a:cubicBezTo>
                  <a:pt x="632" y="1242"/>
                  <a:pt x="603" y="1235"/>
                  <a:pt x="577" y="1216"/>
                </a:cubicBezTo>
                <a:cubicBezTo>
                  <a:pt x="547" y="1193"/>
                  <a:pt x="525" y="1143"/>
                  <a:pt x="504" y="1112"/>
                </a:cubicBezTo>
                <a:cubicBezTo>
                  <a:pt x="492" y="1093"/>
                  <a:pt x="483" y="1072"/>
                  <a:pt x="468" y="1055"/>
                </a:cubicBezTo>
                <a:cubicBezTo>
                  <a:pt x="440" y="1027"/>
                  <a:pt x="383" y="1003"/>
                  <a:pt x="348" y="1032"/>
                </a:cubicBezTo>
                <a:cubicBezTo>
                  <a:pt x="338" y="1041"/>
                  <a:pt x="326" y="1065"/>
                  <a:pt x="336" y="1077"/>
                </a:cubicBezTo>
                <a:cubicBezTo>
                  <a:pt x="350" y="1096"/>
                  <a:pt x="369" y="1117"/>
                  <a:pt x="378" y="1138"/>
                </a:cubicBezTo>
                <a:cubicBezTo>
                  <a:pt x="388" y="1155"/>
                  <a:pt x="393" y="1174"/>
                  <a:pt x="400" y="1193"/>
                </a:cubicBezTo>
                <a:cubicBezTo>
                  <a:pt x="404" y="1204"/>
                  <a:pt x="407" y="1235"/>
                  <a:pt x="416" y="1245"/>
                </a:cubicBezTo>
                <a:cubicBezTo>
                  <a:pt x="426" y="1254"/>
                  <a:pt x="435" y="1273"/>
                  <a:pt x="442" y="1285"/>
                </a:cubicBezTo>
                <a:cubicBezTo>
                  <a:pt x="459" y="1311"/>
                  <a:pt x="483" y="1339"/>
                  <a:pt x="492" y="1368"/>
                </a:cubicBezTo>
                <a:cubicBezTo>
                  <a:pt x="525" y="1415"/>
                  <a:pt x="539" y="1477"/>
                  <a:pt x="575" y="1522"/>
                </a:cubicBezTo>
                <a:cubicBezTo>
                  <a:pt x="620" y="1576"/>
                  <a:pt x="663" y="1628"/>
                  <a:pt x="729" y="1659"/>
                </a:cubicBezTo>
                <a:cubicBezTo>
                  <a:pt x="752" y="1673"/>
                  <a:pt x="769" y="1692"/>
                  <a:pt x="783" y="1713"/>
                </a:cubicBezTo>
                <a:cubicBezTo>
                  <a:pt x="805" y="1827"/>
                  <a:pt x="805" y="1827"/>
                  <a:pt x="805" y="1827"/>
                </a:cubicBezTo>
                <a:cubicBezTo>
                  <a:pt x="887" y="1813"/>
                  <a:pt x="1224" y="1756"/>
                  <a:pt x="1259" y="1749"/>
                </a:cubicBezTo>
                <a:cubicBezTo>
                  <a:pt x="1238" y="1652"/>
                  <a:pt x="1238" y="1652"/>
                  <a:pt x="1238" y="1652"/>
                </a:cubicBezTo>
                <a:cubicBezTo>
                  <a:pt x="1235" y="1649"/>
                  <a:pt x="1235" y="1649"/>
                  <a:pt x="1235" y="1649"/>
                </a:cubicBezTo>
                <a:cubicBezTo>
                  <a:pt x="1245" y="1626"/>
                  <a:pt x="1250" y="1600"/>
                  <a:pt x="1257" y="1576"/>
                </a:cubicBezTo>
                <a:cubicBezTo>
                  <a:pt x="1262" y="1555"/>
                  <a:pt x="1266" y="1536"/>
                  <a:pt x="1266" y="1514"/>
                </a:cubicBezTo>
                <a:cubicBezTo>
                  <a:pt x="1269" y="1462"/>
                  <a:pt x="1271" y="1408"/>
                  <a:pt x="1273" y="1354"/>
                </a:cubicBezTo>
                <a:cubicBezTo>
                  <a:pt x="1273" y="1344"/>
                  <a:pt x="1273" y="1335"/>
                  <a:pt x="1276" y="1325"/>
                </a:cubicBezTo>
                <a:cubicBezTo>
                  <a:pt x="1280" y="1294"/>
                  <a:pt x="1262" y="1211"/>
                  <a:pt x="1198" y="1207"/>
                </a:cubicBezTo>
                <a:cubicBezTo>
                  <a:pt x="1195" y="1207"/>
                  <a:pt x="1195" y="1207"/>
                  <a:pt x="1195" y="1204"/>
                </a:cubicBezTo>
                <a:cubicBezTo>
                  <a:pt x="1179" y="1171"/>
                  <a:pt x="1157" y="1140"/>
                  <a:pt x="1131" y="1112"/>
                </a:cubicBezTo>
                <a:cubicBezTo>
                  <a:pt x="1101" y="1079"/>
                  <a:pt x="1058" y="1055"/>
                  <a:pt x="1013" y="1048"/>
                </a:cubicBezTo>
                <a:close/>
                <a:moveTo>
                  <a:pt x="826" y="381"/>
                </a:moveTo>
                <a:cubicBezTo>
                  <a:pt x="442" y="381"/>
                  <a:pt x="442" y="381"/>
                  <a:pt x="442" y="381"/>
                </a:cubicBezTo>
                <a:cubicBezTo>
                  <a:pt x="442" y="0"/>
                  <a:pt x="442" y="0"/>
                  <a:pt x="442" y="0"/>
                </a:cubicBezTo>
                <a:cubicBezTo>
                  <a:pt x="826" y="0"/>
                  <a:pt x="826" y="0"/>
                  <a:pt x="826" y="0"/>
                </a:cubicBezTo>
                <a:cubicBezTo>
                  <a:pt x="826" y="381"/>
                  <a:pt x="826" y="381"/>
                  <a:pt x="826" y="381"/>
                </a:cubicBezTo>
                <a:cubicBezTo>
                  <a:pt x="826" y="381"/>
                  <a:pt x="826" y="381"/>
                  <a:pt x="826" y="381"/>
                </a:cubicBezTo>
                <a:close/>
                <a:moveTo>
                  <a:pt x="386" y="381"/>
                </a:moveTo>
                <a:cubicBezTo>
                  <a:pt x="0" y="381"/>
                  <a:pt x="0" y="381"/>
                  <a:pt x="0" y="381"/>
                </a:cubicBezTo>
                <a:cubicBezTo>
                  <a:pt x="0" y="0"/>
                  <a:pt x="0" y="0"/>
                  <a:pt x="0" y="0"/>
                </a:cubicBezTo>
                <a:cubicBezTo>
                  <a:pt x="386" y="0"/>
                  <a:pt x="386" y="0"/>
                  <a:pt x="386" y="0"/>
                </a:cubicBezTo>
                <a:cubicBezTo>
                  <a:pt x="386" y="381"/>
                  <a:pt x="386" y="381"/>
                  <a:pt x="386" y="381"/>
                </a:cubicBezTo>
                <a:cubicBezTo>
                  <a:pt x="386" y="381"/>
                  <a:pt x="386" y="381"/>
                  <a:pt x="386" y="381"/>
                </a:cubicBezTo>
                <a:close/>
                <a:moveTo>
                  <a:pt x="594" y="821"/>
                </a:moveTo>
                <a:cubicBezTo>
                  <a:pt x="442" y="821"/>
                  <a:pt x="442" y="821"/>
                  <a:pt x="442" y="821"/>
                </a:cubicBezTo>
                <a:cubicBezTo>
                  <a:pt x="442" y="437"/>
                  <a:pt x="442" y="437"/>
                  <a:pt x="442" y="437"/>
                </a:cubicBezTo>
                <a:cubicBezTo>
                  <a:pt x="826" y="437"/>
                  <a:pt x="826" y="437"/>
                  <a:pt x="826" y="437"/>
                </a:cubicBezTo>
                <a:cubicBezTo>
                  <a:pt x="826" y="821"/>
                  <a:pt x="826" y="821"/>
                  <a:pt x="826" y="821"/>
                </a:cubicBezTo>
                <a:cubicBezTo>
                  <a:pt x="826" y="821"/>
                  <a:pt x="826" y="821"/>
                  <a:pt x="826" y="821"/>
                </a:cubicBezTo>
                <a:cubicBezTo>
                  <a:pt x="755" y="561"/>
                  <a:pt x="755" y="561"/>
                  <a:pt x="755" y="561"/>
                </a:cubicBezTo>
                <a:cubicBezTo>
                  <a:pt x="755" y="561"/>
                  <a:pt x="755" y="561"/>
                  <a:pt x="755" y="561"/>
                </a:cubicBezTo>
                <a:cubicBezTo>
                  <a:pt x="755" y="561"/>
                  <a:pt x="755" y="561"/>
                  <a:pt x="755" y="561"/>
                </a:cubicBezTo>
                <a:cubicBezTo>
                  <a:pt x="736" y="492"/>
                  <a:pt x="693" y="478"/>
                  <a:pt x="663" y="478"/>
                </a:cubicBezTo>
                <a:cubicBezTo>
                  <a:pt x="653" y="478"/>
                  <a:pt x="644" y="478"/>
                  <a:pt x="636" y="480"/>
                </a:cubicBezTo>
                <a:cubicBezTo>
                  <a:pt x="627" y="482"/>
                  <a:pt x="591" y="490"/>
                  <a:pt x="570" y="520"/>
                </a:cubicBezTo>
                <a:cubicBezTo>
                  <a:pt x="558" y="537"/>
                  <a:pt x="547" y="563"/>
                  <a:pt x="554" y="601"/>
                </a:cubicBezTo>
                <a:cubicBezTo>
                  <a:pt x="594" y="821"/>
                  <a:pt x="594" y="821"/>
                  <a:pt x="594" y="821"/>
                </a:cubicBezTo>
                <a:cubicBezTo>
                  <a:pt x="594" y="821"/>
                  <a:pt x="594" y="821"/>
                  <a:pt x="594" y="821"/>
                </a:cubicBezTo>
                <a:close/>
                <a:moveTo>
                  <a:pt x="371" y="1261"/>
                </a:moveTo>
                <a:cubicBezTo>
                  <a:pt x="0" y="1261"/>
                  <a:pt x="0" y="1261"/>
                  <a:pt x="0" y="1261"/>
                </a:cubicBezTo>
                <a:cubicBezTo>
                  <a:pt x="0" y="880"/>
                  <a:pt x="0" y="880"/>
                  <a:pt x="0" y="880"/>
                </a:cubicBezTo>
                <a:cubicBezTo>
                  <a:pt x="606" y="880"/>
                  <a:pt x="606" y="880"/>
                  <a:pt x="606" y="880"/>
                </a:cubicBezTo>
                <a:cubicBezTo>
                  <a:pt x="655" y="1150"/>
                  <a:pt x="655" y="1150"/>
                  <a:pt x="655" y="1150"/>
                </a:cubicBezTo>
                <a:cubicBezTo>
                  <a:pt x="655" y="1152"/>
                  <a:pt x="658" y="1155"/>
                  <a:pt x="658" y="1157"/>
                </a:cubicBezTo>
                <a:cubicBezTo>
                  <a:pt x="658" y="1157"/>
                  <a:pt x="658" y="1157"/>
                  <a:pt x="658" y="1157"/>
                </a:cubicBezTo>
                <a:cubicBezTo>
                  <a:pt x="658" y="1159"/>
                  <a:pt x="658" y="1159"/>
                  <a:pt x="658" y="1159"/>
                </a:cubicBezTo>
                <a:cubicBezTo>
                  <a:pt x="658" y="1171"/>
                  <a:pt x="653" y="1181"/>
                  <a:pt x="646" y="1193"/>
                </a:cubicBezTo>
                <a:cubicBezTo>
                  <a:pt x="644" y="1193"/>
                  <a:pt x="644" y="1193"/>
                  <a:pt x="644" y="1193"/>
                </a:cubicBezTo>
                <a:cubicBezTo>
                  <a:pt x="632" y="1193"/>
                  <a:pt x="620" y="1188"/>
                  <a:pt x="608" y="1178"/>
                </a:cubicBezTo>
                <a:cubicBezTo>
                  <a:pt x="608" y="1178"/>
                  <a:pt x="608" y="1178"/>
                  <a:pt x="608" y="1178"/>
                </a:cubicBezTo>
                <a:cubicBezTo>
                  <a:pt x="608" y="1178"/>
                  <a:pt x="608" y="1178"/>
                  <a:pt x="608" y="1178"/>
                </a:cubicBezTo>
                <a:cubicBezTo>
                  <a:pt x="591" y="1167"/>
                  <a:pt x="577" y="1140"/>
                  <a:pt x="563" y="1117"/>
                </a:cubicBezTo>
                <a:cubicBezTo>
                  <a:pt x="556" y="1107"/>
                  <a:pt x="551" y="1096"/>
                  <a:pt x="544" y="1086"/>
                </a:cubicBezTo>
                <a:cubicBezTo>
                  <a:pt x="539" y="1079"/>
                  <a:pt x="537" y="1074"/>
                  <a:pt x="532" y="1067"/>
                </a:cubicBezTo>
                <a:cubicBezTo>
                  <a:pt x="525" y="1053"/>
                  <a:pt x="516" y="1036"/>
                  <a:pt x="502" y="1022"/>
                </a:cubicBezTo>
                <a:cubicBezTo>
                  <a:pt x="473" y="991"/>
                  <a:pt x="428" y="972"/>
                  <a:pt x="388" y="972"/>
                </a:cubicBezTo>
                <a:cubicBezTo>
                  <a:pt x="362" y="972"/>
                  <a:pt x="338" y="980"/>
                  <a:pt x="319" y="994"/>
                </a:cubicBezTo>
                <a:cubicBezTo>
                  <a:pt x="293" y="1017"/>
                  <a:pt x="270" y="1069"/>
                  <a:pt x="298" y="1105"/>
                </a:cubicBezTo>
                <a:cubicBezTo>
                  <a:pt x="303" y="1110"/>
                  <a:pt x="305" y="1114"/>
                  <a:pt x="310" y="1119"/>
                </a:cubicBezTo>
                <a:cubicBezTo>
                  <a:pt x="319" y="1133"/>
                  <a:pt x="331" y="1148"/>
                  <a:pt x="336" y="1157"/>
                </a:cubicBezTo>
                <a:cubicBezTo>
                  <a:pt x="343" y="1174"/>
                  <a:pt x="350" y="1193"/>
                  <a:pt x="355" y="1207"/>
                </a:cubicBezTo>
                <a:cubicBezTo>
                  <a:pt x="355" y="1209"/>
                  <a:pt x="357" y="1214"/>
                  <a:pt x="357" y="1219"/>
                </a:cubicBezTo>
                <a:cubicBezTo>
                  <a:pt x="359" y="1233"/>
                  <a:pt x="364" y="1247"/>
                  <a:pt x="371" y="1261"/>
                </a:cubicBezTo>
                <a:close/>
                <a:moveTo>
                  <a:pt x="386" y="821"/>
                </a:moveTo>
                <a:cubicBezTo>
                  <a:pt x="0" y="821"/>
                  <a:pt x="0" y="821"/>
                  <a:pt x="0" y="821"/>
                </a:cubicBezTo>
                <a:cubicBezTo>
                  <a:pt x="0" y="437"/>
                  <a:pt x="0" y="437"/>
                  <a:pt x="0" y="437"/>
                </a:cubicBezTo>
                <a:cubicBezTo>
                  <a:pt x="386" y="437"/>
                  <a:pt x="386" y="437"/>
                  <a:pt x="386" y="437"/>
                </a:cubicBezTo>
                <a:cubicBezTo>
                  <a:pt x="386" y="821"/>
                  <a:pt x="386" y="821"/>
                  <a:pt x="386" y="821"/>
                </a:cubicBezTo>
                <a:cubicBezTo>
                  <a:pt x="386" y="821"/>
                  <a:pt x="386" y="821"/>
                  <a:pt x="386" y="82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89604" tIns="44802" rIns="89604" bIns="44802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395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6" b="0" i="0" u="none" strike="noStrike" kern="0" cap="none" spc="0" normalizeH="0" baseline="0" noProof="0">
              <a:ln>
                <a:noFill/>
              </a:ln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effectLst/>
              <a:uLnTx/>
              <a:uFillTx/>
              <a:ea typeface="MS PGothic" panose="020B0600070205080204" pitchFamily="34" charset="-128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12738" y="5389393"/>
            <a:ext cx="113720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defTabSz="896214">
              <a:defRPr sz="1400" ker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 Semilight" panose="020B0402040204020203" pitchFamily="34" charset="0"/>
              </a:defRPr>
            </a:lvl1pPr>
          </a:lstStyle>
          <a:p>
            <a:pPr marL="0" marR="0" lvl="0" indent="0" algn="ctr" defTabSz="89621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cs typeface="Segoe UI Semilight" panose="020B0402040204020203" pitchFamily="34" charset="0"/>
              </a:rPr>
              <a:t>Sensors </a:t>
            </a:r>
            <a:br>
              <a:rPr kumimoji="0" lang="en-US" sz="1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cs typeface="Segoe UI Semilight" panose="020B0402040204020203" pitchFamily="34" charset="0"/>
              </a:rPr>
            </a:b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cs typeface="Segoe UI Semilight" panose="020B0402040204020203" pitchFamily="34" charset="0"/>
              </a:rPr>
              <a:t>and devices</a:t>
            </a:r>
          </a:p>
        </p:txBody>
      </p:sp>
      <p:sp>
        <p:nvSpPr>
          <p:cNvPr id="13" name="Freeform 16"/>
          <p:cNvSpPr>
            <a:spLocks noChangeAspect="1" noEditPoints="1"/>
          </p:cNvSpPr>
          <p:nvPr/>
        </p:nvSpPr>
        <p:spPr bwMode="auto">
          <a:xfrm>
            <a:off x="698615" y="4863329"/>
            <a:ext cx="565449" cy="519924"/>
          </a:xfrm>
          <a:custGeom>
            <a:avLst/>
            <a:gdLst>
              <a:gd name="T0" fmla="*/ 363 w 400"/>
              <a:gd name="T1" fmla="*/ 0 h 367"/>
              <a:gd name="T2" fmla="*/ 38 w 400"/>
              <a:gd name="T3" fmla="*/ 0 h 367"/>
              <a:gd name="T4" fmla="*/ 0 w 400"/>
              <a:gd name="T5" fmla="*/ 37 h 367"/>
              <a:gd name="T6" fmla="*/ 0 w 400"/>
              <a:gd name="T7" fmla="*/ 255 h 367"/>
              <a:gd name="T8" fmla="*/ 38 w 400"/>
              <a:gd name="T9" fmla="*/ 292 h 367"/>
              <a:gd name="T10" fmla="*/ 184 w 400"/>
              <a:gd name="T11" fmla="*/ 292 h 367"/>
              <a:gd name="T12" fmla="*/ 230 w 400"/>
              <a:gd name="T13" fmla="*/ 335 h 367"/>
              <a:gd name="T14" fmla="*/ 230 w 400"/>
              <a:gd name="T15" fmla="*/ 367 h 367"/>
              <a:gd name="T16" fmla="*/ 328 w 400"/>
              <a:gd name="T17" fmla="*/ 367 h 367"/>
              <a:gd name="T18" fmla="*/ 328 w 400"/>
              <a:gd name="T19" fmla="*/ 292 h 367"/>
              <a:gd name="T20" fmla="*/ 363 w 400"/>
              <a:gd name="T21" fmla="*/ 292 h 367"/>
              <a:gd name="T22" fmla="*/ 400 w 400"/>
              <a:gd name="T23" fmla="*/ 255 h 367"/>
              <a:gd name="T24" fmla="*/ 400 w 400"/>
              <a:gd name="T25" fmla="*/ 37 h 367"/>
              <a:gd name="T26" fmla="*/ 363 w 400"/>
              <a:gd name="T27" fmla="*/ 0 h 367"/>
              <a:gd name="T28" fmla="*/ 361 w 400"/>
              <a:gd name="T29" fmla="*/ 253 h 367"/>
              <a:gd name="T30" fmla="*/ 328 w 400"/>
              <a:gd name="T31" fmla="*/ 253 h 367"/>
              <a:gd name="T32" fmla="*/ 328 w 400"/>
              <a:gd name="T33" fmla="*/ 197 h 367"/>
              <a:gd name="T34" fmla="*/ 305 w 400"/>
              <a:gd name="T35" fmla="*/ 197 h 367"/>
              <a:gd name="T36" fmla="*/ 305 w 400"/>
              <a:gd name="T37" fmla="*/ 219 h 367"/>
              <a:gd name="T38" fmla="*/ 298 w 400"/>
              <a:gd name="T39" fmla="*/ 219 h 367"/>
              <a:gd name="T40" fmla="*/ 298 w 400"/>
              <a:gd name="T41" fmla="*/ 180 h 367"/>
              <a:gd name="T42" fmla="*/ 275 w 400"/>
              <a:gd name="T43" fmla="*/ 180 h 367"/>
              <a:gd name="T44" fmla="*/ 275 w 400"/>
              <a:gd name="T45" fmla="*/ 219 h 367"/>
              <a:gd name="T46" fmla="*/ 269 w 400"/>
              <a:gd name="T47" fmla="*/ 219 h 367"/>
              <a:gd name="T48" fmla="*/ 269 w 400"/>
              <a:gd name="T49" fmla="*/ 166 h 367"/>
              <a:gd name="T50" fmla="*/ 245 w 400"/>
              <a:gd name="T51" fmla="*/ 166 h 367"/>
              <a:gd name="T52" fmla="*/ 245 w 400"/>
              <a:gd name="T53" fmla="*/ 219 h 367"/>
              <a:gd name="T54" fmla="*/ 239 w 400"/>
              <a:gd name="T55" fmla="*/ 219 h 367"/>
              <a:gd name="T56" fmla="*/ 239 w 400"/>
              <a:gd name="T57" fmla="*/ 111 h 367"/>
              <a:gd name="T58" fmla="*/ 216 w 400"/>
              <a:gd name="T59" fmla="*/ 111 h 367"/>
              <a:gd name="T60" fmla="*/ 216 w 400"/>
              <a:gd name="T61" fmla="*/ 249 h 367"/>
              <a:gd name="T62" fmla="*/ 208 w 400"/>
              <a:gd name="T63" fmla="*/ 249 h 367"/>
              <a:gd name="T64" fmla="*/ 208 w 400"/>
              <a:gd name="T65" fmla="*/ 197 h 367"/>
              <a:gd name="T66" fmla="*/ 183 w 400"/>
              <a:gd name="T67" fmla="*/ 197 h 367"/>
              <a:gd name="T68" fmla="*/ 183 w 400"/>
              <a:gd name="T69" fmla="*/ 253 h 367"/>
              <a:gd name="T70" fmla="*/ 39 w 400"/>
              <a:gd name="T71" fmla="*/ 253 h 367"/>
              <a:gd name="T72" fmla="*/ 39 w 400"/>
              <a:gd name="T73" fmla="*/ 39 h 367"/>
              <a:gd name="T74" fmla="*/ 361 w 400"/>
              <a:gd name="T75" fmla="*/ 39 h 367"/>
              <a:gd name="T76" fmla="*/ 361 w 400"/>
              <a:gd name="T77" fmla="*/ 253 h 3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00" h="367">
                <a:moveTo>
                  <a:pt x="363" y="0"/>
                </a:moveTo>
                <a:cubicBezTo>
                  <a:pt x="38" y="0"/>
                  <a:pt x="38" y="0"/>
                  <a:pt x="38" y="0"/>
                </a:cubicBezTo>
                <a:cubicBezTo>
                  <a:pt x="17" y="0"/>
                  <a:pt x="0" y="16"/>
                  <a:pt x="0" y="37"/>
                </a:cubicBezTo>
                <a:cubicBezTo>
                  <a:pt x="0" y="255"/>
                  <a:pt x="0" y="255"/>
                  <a:pt x="0" y="255"/>
                </a:cubicBezTo>
                <a:cubicBezTo>
                  <a:pt x="0" y="275"/>
                  <a:pt x="17" y="292"/>
                  <a:pt x="38" y="292"/>
                </a:cubicBezTo>
                <a:cubicBezTo>
                  <a:pt x="184" y="292"/>
                  <a:pt x="184" y="292"/>
                  <a:pt x="184" y="292"/>
                </a:cubicBezTo>
                <a:cubicBezTo>
                  <a:pt x="191" y="310"/>
                  <a:pt x="230" y="335"/>
                  <a:pt x="230" y="335"/>
                </a:cubicBezTo>
                <a:cubicBezTo>
                  <a:pt x="230" y="367"/>
                  <a:pt x="230" y="367"/>
                  <a:pt x="230" y="367"/>
                </a:cubicBezTo>
                <a:cubicBezTo>
                  <a:pt x="328" y="367"/>
                  <a:pt x="328" y="367"/>
                  <a:pt x="328" y="367"/>
                </a:cubicBezTo>
                <a:cubicBezTo>
                  <a:pt x="328" y="292"/>
                  <a:pt x="328" y="292"/>
                  <a:pt x="328" y="292"/>
                </a:cubicBezTo>
                <a:cubicBezTo>
                  <a:pt x="363" y="292"/>
                  <a:pt x="363" y="292"/>
                  <a:pt x="363" y="292"/>
                </a:cubicBezTo>
                <a:cubicBezTo>
                  <a:pt x="384" y="292"/>
                  <a:pt x="400" y="275"/>
                  <a:pt x="400" y="255"/>
                </a:cubicBezTo>
                <a:cubicBezTo>
                  <a:pt x="400" y="37"/>
                  <a:pt x="400" y="37"/>
                  <a:pt x="400" y="37"/>
                </a:cubicBezTo>
                <a:cubicBezTo>
                  <a:pt x="400" y="16"/>
                  <a:pt x="384" y="0"/>
                  <a:pt x="363" y="0"/>
                </a:cubicBezTo>
                <a:close/>
                <a:moveTo>
                  <a:pt x="361" y="253"/>
                </a:moveTo>
                <a:cubicBezTo>
                  <a:pt x="328" y="253"/>
                  <a:pt x="328" y="253"/>
                  <a:pt x="328" y="253"/>
                </a:cubicBezTo>
                <a:cubicBezTo>
                  <a:pt x="328" y="197"/>
                  <a:pt x="328" y="197"/>
                  <a:pt x="328" y="197"/>
                </a:cubicBezTo>
                <a:cubicBezTo>
                  <a:pt x="328" y="181"/>
                  <a:pt x="305" y="181"/>
                  <a:pt x="305" y="197"/>
                </a:cubicBezTo>
                <a:cubicBezTo>
                  <a:pt x="305" y="219"/>
                  <a:pt x="305" y="219"/>
                  <a:pt x="305" y="219"/>
                </a:cubicBezTo>
                <a:cubicBezTo>
                  <a:pt x="305" y="222"/>
                  <a:pt x="298" y="222"/>
                  <a:pt x="298" y="219"/>
                </a:cubicBezTo>
                <a:cubicBezTo>
                  <a:pt x="298" y="180"/>
                  <a:pt x="298" y="180"/>
                  <a:pt x="298" y="180"/>
                </a:cubicBezTo>
                <a:cubicBezTo>
                  <a:pt x="298" y="165"/>
                  <a:pt x="275" y="165"/>
                  <a:pt x="275" y="180"/>
                </a:cubicBezTo>
                <a:cubicBezTo>
                  <a:pt x="275" y="219"/>
                  <a:pt x="275" y="219"/>
                  <a:pt x="275" y="219"/>
                </a:cubicBezTo>
                <a:cubicBezTo>
                  <a:pt x="275" y="222"/>
                  <a:pt x="269" y="222"/>
                  <a:pt x="269" y="219"/>
                </a:cubicBezTo>
                <a:cubicBezTo>
                  <a:pt x="269" y="166"/>
                  <a:pt x="269" y="166"/>
                  <a:pt x="269" y="166"/>
                </a:cubicBezTo>
                <a:cubicBezTo>
                  <a:pt x="269" y="150"/>
                  <a:pt x="245" y="150"/>
                  <a:pt x="245" y="166"/>
                </a:cubicBezTo>
                <a:cubicBezTo>
                  <a:pt x="245" y="219"/>
                  <a:pt x="245" y="219"/>
                  <a:pt x="245" y="219"/>
                </a:cubicBezTo>
                <a:cubicBezTo>
                  <a:pt x="245" y="222"/>
                  <a:pt x="239" y="222"/>
                  <a:pt x="239" y="219"/>
                </a:cubicBezTo>
                <a:cubicBezTo>
                  <a:pt x="239" y="111"/>
                  <a:pt x="239" y="111"/>
                  <a:pt x="239" y="111"/>
                </a:cubicBezTo>
                <a:cubicBezTo>
                  <a:pt x="239" y="96"/>
                  <a:pt x="216" y="96"/>
                  <a:pt x="216" y="111"/>
                </a:cubicBezTo>
                <a:cubicBezTo>
                  <a:pt x="216" y="249"/>
                  <a:pt x="216" y="249"/>
                  <a:pt x="216" y="249"/>
                </a:cubicBezTo>
                <a:cubicBezTo>
                  <a:pt x="216" y="252"/>
                  <a:pt x="208" y="252"/>
                  <a:pt x="208" y="249"/>
                </a:cubicBezTo>
                <a:cubicBezTo>
                  <a:pt x="208" y="197"/>
                  <a:pt x="208" y="197"/>
                  <a:pt x="208" y="197"/>
                </a:cubicBezTo>
                <a:cubicBezTo>
                  <a:pt x="208" y="178"/>
                  <a:pt x="183" y="179"/>
                  <a:pt x="183" y="197"/>
                </a:cubicBezTo>
                <a:cubicBezTo>
                  <a:pt x="183" y="253"/>
                  <a:pt x="183" y="253"/>
                  <a:pt x="183" y="253"/>
                </a:cubicBezTo>
                <a:cubicBezTo>
                  <a:pt x="39" y="253"/>
                  <a:pt x="39" y="253"/>
                  <a:pt x="39" y="253"/>
                </a:cubicBezTo>
                <a:cubicBezTo>
                  <a:pt x="39" y="39"/>
                  <a:pt x="39" y="39"/>
                  <a:pt x="39" y="39"/>
                </a:cubicBezTo>
                <a:cubicBezTo>
                  <a:pt x="361" y="39"/>
                  <a:pt x="361" y="39"/>
                  <a:pt x="361" y="39"/>
                </a:cubicBezTo>
                <a:cubicBezTo>
                  <a:pt x="361" y="253"/>
                  <a:pt x="361" y="253"/>
                  <a:pt x="361" y="25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89604" tIns="44802" rIns="89604" bIns="44802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395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6" b="0" i="0" u="none" strike="noStrike" kern="0" cap="none" spc="0" normalizeH="0" baseline="0" noProof="0">
              <a:ln>
                <a:noFill/>
              </a:ln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effectLst/>
              <a:uLnTx/>
              <a:uFillTx/>
              <a:ea typeface="MS PGothic" panose="020B0600070205080204" pitchFamily="34" charset="-128"/>
            </a:endParaRPr>
          </a:p>
        </p:txBody>
      </p:sp>
      <p:sp>
        <p:nvSpPr>
          <p:cNvPr id="14" name="Striped Right Arrow 33"/>
          <p:cNvSpPr/>
          <p:nvPr/>
        </p:nvSpPr>
        <p:spPr bwMode="auto">
          <a:xfrm>
            <a:off x="2161209" y="3575991"/>
            <a:ext cx="593228" cy="27698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392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Events</a:t>
            </a:r>
          </a:p>
        </p:txBody>
      </p:sp>
      <p:sp>
        <p:nvSpPr>
          <p:cNvPr id="15" name="Striped Right Arrow 43"/>
          <p:cNvSpPr/>
          <p:nvPr/>
        </p:nvSpPr>
        <p:spPr bwMode="auto">
          <a:xfrm>
            <a:off x="5794566" y="3575991"/>
            <a:ext cx="593228" cy="27698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392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Event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7544522" y="2661770"/>
            <a:ext cx="143641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89615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-29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ea typeface="MS PGothic" panose="020B0600070205080204" pitchFamily="34" charset="-128"/>
                <a:cs typeface="Segoe UI Semilight" panose="020B0402040204020203" pitchFamily="34" charset="0"/>
              </a:rPr>
              <a:t>Azure </a:t>
            </a:r>
          </a:p>
          <a:p>
            <a:pPr marL="0" marR="0" lvl="0" indent="0" defTabSz="89615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-29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ea typeface="MS PGothic" panose="020B0600070205080204" pitchFamily="34" charset="-128"/>
                <a:cs typeface="Segoe UI Semilight" panose="020B0402040204020203" pitchFamily="34" charset="0"/>
              </a:rPr>
              <a:t>Stream Analytics</a:t>
            </a:r>
          </a:p>
        </p:txBody>
      </p:sp>
      <p:sp>
        <p:nvSpPr>
          <p:cNvPr id="17" name="Rectangle 16"/>
          <p:cNvSpPr/>
          <p:nvPr/>
        </p:nvSpPr>
        <p:spPr>
          <a:xfrm>
            <a:off x="7544522" y="4618850"/>
            <a:ext cx="150422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89615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-29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ea typeface="MS PGothic" panose="020B0600070205080204" pitchFamily="34" charset="-128"/>
                <a:cs typeface="Segoe UI Semilight" panose="020B0402040204020203" pitchFamily="34" charset="0"/>
              </a:rPr>
              <a:t>Spark</a:t>
            </a:r>
            <a:br>
              <a:rPr kumimoji="0" lang="en-US" sz="1400" b="1" i="0" u="none" strike="noStrike" kern="0" cap="none" spc="-29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ea typeface="MS PGothic" panose="020B0600070205080204" pitchFamily="34" charset="-128"/>
                <a:cs typeface="Segoe UI Semilight" panose="020B0402040204020203" pitchFamily="34" charset="0"/>
              </a:rPr>
            </a:br>
            <a:r>
              <a:rPr kumimoji="0" lang="en-US" sz="1400" b="0" i="0" u="none" strike="noStrike" kern="0" cap="none" spc="-29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ea typeface="MS PGothic" panose="020B0600070205080204" pitchFamily="34" charset="-128"/>
                <a:cs typeface="Segoe UI Semilight" panose="020B0402040204020203" pitchFamily="34" charset="0"/>
              </a:rPr>
              <a:t>Streaming</a:t>
            </a:r>
          </a:p>
        </p:txBody>
      </p:sp>
      <p:sp>
        <p:nvSpPr>
          <p:cNvPr id="18" name="Rectangle 17"/>
          <p:cNvSpPr/>
          <p:nvPr/>
        </p:nvSpPr>
        <p:spPr>
          <a:xfrm>
            <a:off x="4110077" y="2839436"/>
            <a:ext cx="114397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89621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cs typeface="Segoe UI Semilight" panose="020B0402040204020203" pitchFamily="34" charset="0"/>
              </a:rPr>
              <a:t>Azure Event Hubs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effectLst/>
              <a:uLnTx/>
              <a:uFillTx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110077" y="4333163"/>
            <a:ext cx="124585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89621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cs typeface="Segoe UI Semilight" panose="020B0402040204020203" pitchFamily="34" charset="0"/>
              </a:rPr>
              <a:t>HDInsight</a:t>
            </a:r>
          </a:p>
          <a:p>
            <a:pPr marL="0" marR="0" lvl="0" indent="0" defTabSz="89621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cs typeface="Segoe UI Semilight" panose="020B0402040204020203" pitchFamily="34" charset="0"/>
              </a:rPr>
              <a:t>Kafka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effectLst/>
              <a:uLnTx/>
              <a:uFillTx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0578091" y="4968161"/>
            <a:ext cx="788936" cy="2862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225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</a:rPr>
              <a:t>ADLS</a:t>
            </a:r>
          </a:p>
        </p:txBody>
      </p:sp>
      <p:sp>
        <p:nvSpPr>
          <p:cNvPr id="21" name="Striped Right Arrow 43"/>
          <p:cNvSpPr/>
          <p:nvPr/>
        </p:nvSpPr>
        <p:spPr bwMode="auto">
          <a:xfrm>
            <a:off x="9253666" y="3575991"/>
            <a:ext cx="593228" cy="27698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3" rIns="0" bIns="45713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392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Event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0524263" y="3235570"/>
            <a:ext cx="896592" cy="2862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225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</a:rPr>
              <a:t>Power BI</a:t>
            </a:r>
          </a:p>
        </p:txBody>
      </p:sp>
      <p:sp>
        <p:nvSpPr>
          <p:cNvPr id="23" name="Freeform 5"/>
          <p:cNvSpPr>
            <a:spLocks noEditPoints="1"/>
          </p:cNvSpPr>
          <p:nvPr/>
        </p:nvSpPr>
        <p:spPr bwMode="auto">
          <a:xfrm>
            <a:off x="10625972" y="4352604"/>
            <a:ext cx="693174" cy="545523"/>
          </a:xfrm>
          <a:custGeom>
            <a:avLst/>
            <a:gdLst>
              <a:gd name="T0" fmla="*/ 3752 w 5983"/>
              <a:gd name="T1" fmla="*/ 2549 h 4697"/>
              <a:gd name="T2" fmla="*/ 2693 w 5983"/>
              <a:gd name="T3" fmla="*/ 4063 h 4697"/>
              <a:gd name="T4" fmla="*/ 2651 w 5983"/>
              <a:gd name="T5" fmla="*/ 4087 h 4697"/>
              <a:gd name="T6" fmla="*/ 2627 w 5983"/>
              <a:gd name="T7" fmla="*/ 4081 h 4697"/>
              <a:gd name="T8" fmla="*/ 2603 w 5983"/>
              <a:gd name="T9" fmla="*/ 4021 h 4697"/>
              <a:gd name="T10" fmla="*/ 2878 w 5983"/>
              <a:gd name="T11" fmla="*/ 3117 h 4697"/>
              <a:gd name="T12" fmla="*/ 2262 w 5983"/>
              <a:gd name="T13" fmla="*/ 3117 h 4697"/>
              <a:gd name="T14" fmla="*/ 2214 w 5983"/>
              <a:gd name="T15" fmla="*/ 3087 h 4697"/>
              <a:gd name="T16" fmla="*/ 2220 w 5983"/>
              <a:gd name="T17" fmla="*/ 3034 h 4697"/>
              <a:gd name="T18" fmla="*/ 3249 w 5983"/>
              <a:gd name="T19" fmla="*/ 1538 h 4697"/>
              <a:gd name="T20" fmla="*/ 3291 w 5983"/>
              <a:gd name="T21" fmla="*/ 1514 h 4697"/>
              <a:gd name="T22" fmla="*/ 3315 w 5983"/>
              <a:gd name="T23" fmla="*/ 1520 h 4697"/>
              <a:gd name="T24" fmla="*/ 3339 w 5983"/>
              <a:gd name="T25" fmla="*/ 1580 h 4697"/>
              <a:gd name="T26" fmla="*/ 3075 w 5983"/>
              <a:gd name="T27" fmla="*/ 2465 h 4697"/>
              <a:gd name="T28" fmla="*/ 3710 w 5983"/>
              <a:gd name="T29" fmla="*/ 2465 h 4697"/>
              <a:gd name="T30" fmla="*/ 3763 w 5983"/>
              <a:gd name="T31" fmla="*/ 2519 h 4697"/>
              <a:gd name="T32" fmla="*/ 3752 w 5983"/>
              <a:gd name="T33" fmla="*/ 2549 h 4697"/>
              <a:gd name="T34" fmla="*/ 5750 w 5983"/>
              <a:gd name="T35" fmla="*/ 754 h 4697"/>
              <a:gd name="T36" fmla="*/ 0 w 5983"/>
              <a:gd name="T37" fmla="*/ 754 h 4697"/>
              <a:gd name="T38" fmla="*/ 0 w 5983"/>
              <a:gd name="T39" fmla="*/ 4326 h 4697"/>
              <a:gd name="T40" fmla="*/ 371 w 5983"/>
              <a:gd name="T41" fmla="*/ 4697 h 4697"/>
              <a:gd name="T42" fmla="*/ 5612 w 5983"/>
              <a:gd name="T43" fmla="*/ 4697 h 4697"/>
              <a:gd name="T44" fmla="*/ 5983 w 5983"/>
              <a:gd name="T45" fmla="*/ 4326 h 4697"/>
              <a:gd name="T46" fmla="*/ 5983 w 5983"/>
              <a:gd name="T47" fmla="*/ 1095 h 4697"/>
              <a:gd name="T48" fmla="*/ 5750 w 5983"/>
              <a:gd name="T49" fmla="*/ 754 h 4697"/>
              <a:gd name="T50" fmla="*/ 3536 w 5983"/>
              <a:gd name="T51" fmla="*/ 485 h 4697"/>
              <a:gd name="T52" fmla="*/ 3363 w 5983"/>
              <a:gd name="T53" fmla="*/ 186 h 4697"/>
              <a:gd name="T54" fmla="*/ 3040 w 5983"/>
              <a:gd name="T55" fmla="*/ 0 h 4697"/>
              <a:gd name="T56" fmla="*/ 371 w 5983"/>
              <a:gd name="T57" fmla="*/ 0 h 4697"/>
              <a:gd name="T58" fmla="*/ 0 w 5983"/>
              <a:gd name="T59" fmla="*/ 371 h 4697"/>
              <a:gd name="T60" fmla="*/ 0 w 5983"/>
              <a:gd name="T61" fmla="*/ 563 h 4697"/>
              <a:gd name="T62" fmla="*/ 3602 w 5983"/>
              <a:gd name="T63" fmla="*/ 563 h 4697"/>
              <a:gd name="T64" fmla="*/ 3536 w 5983"/>
              <a:gd name="T65" fmla="*/ 485 h 46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3" h="4697">
                <a:moveTo>
                  <a:pt x="3752" y="2549"/>
                </a:moveTo>
                <a:lnTo>
                  <a:pt x="2693" y="4063"/>
                </a:lnTo>
                <a:cubicBezTo>
                  <a:pt x="2681" y="4075"/>
                  <a:pt x="2669" y="4087"/>
                  <a:pt x="2651" y="4087"/>
                </a:cubicBezTo>
                <a:cubicBezTo>
                  <a:pt x="2645" y="4087"/>
                  <a:pt x="2633" y="4087"/>
                  <a:pt x="2627" y="4081"/>
                </a:cubicBezTo>
                <a:cubicBezTo>
                  <a:pt x="2603" y="4069"/>
                  <a:pt x="2591" y="4045"/>
                  <a:pt x="2603" y="4021"/>
                </a:cubicBezTo>
                <a:lnTo>
                  <a:pt x="2878" y="3117"/>
                </a:lnTo>
                <a:lnTo>
                  <a:pt x="2262" y="3117"/>
                </a:lnTo>
                <a:cubicBezTo>
                  <a:pt x="2244" y="3117"/>
                  <a:pt x="2226" y="3105"/>
                  <a:pt x="2214" y="3087"/>
                </a:cubicBezTo>
                <a:cubicBezTo>
                  <a:pt x="2208" y="3070"/>
                  <a:pt x="2208" y="3052"/>
                  <a:pt x="2220" y="3034"/>
                </a:cubicBezTo>
                <a:lnTo>
                  <a:pt x="3249" y="1538"/>
                </a:lnTo>
                <a:cubicBezTo>
                  <a:pt x="3261" y="1526"/>
                  <a:pt x="3273" y="1514"/>
                  <a:pt x="3291" y="1514"/>
                </a:cubicBezTo>
                <a:cubicBezTo>
                  <a:pt x="3297" y="1514"/>
                  <a:pt x="3303" y="1514"/>
                  <a:pt x="3315" y="1520"/>
                </a:cubicBezTo>
                <a:cubicBezTo>
                  <a:pt x="3339" y="1532"/>
                  <a:pt x="3351" y="1556"/>
                  <a:pt x="3339" y="1580"/>
                </a:cubicBezTo>
                <a:lnTo>
                  <a:pt x="3075" y="2465"/>
                </a:lnTo>
                <a:lnTo>
                  <a:pt x="3710" y="2465"/>
                </a:lnTo>
                <a:cubicBezTo>
                  <a:pt x="3740" y="2465"/>
                  <a:pt x="3763" y="2489"/>
                  <a:pt x="3763" y="2519"/>
                </a:cubicBezTo>
                <a:cubicBezTo>
                  <a:pt x="3763" y="2531"/>
                  <a:pt x="3758" y="2537"/>
                  <a:pt x="3752" y="2549"/>
                </a:cubicBezTo>
                <a:close/>
                <a:moveTo>
                  <a:pt x="5750" y="754"/>
                </a:moveTo>
                <a:lnTo>
                  <a:pt x="0" y="754"/>
                </a:lnTo>
                <a:lnTo>
                  <a:pt x="0" y="4326"/>
                </a:lnTo>
                <a:cubicBezTo>
                  <a:pt x="0" y="4529"/>
                  <a:pt x="168" y="4697"/>
                  <a:pt x="371" y="4697"/>
                </a:cubicBezTo>
                <a:lnTo>
                  <a:pt x="5612" y="4697"/>
                </a:lnTo>
                <a:cubicBezTo>
                  <a:pt x="5816" y="4697"/>
                  <a:pt x="5983" y="4529"/>
                  <a:pt x="5983" y="4326"/>
                </a:cubicBezTo>
                <a:lnTo>
                  <a:pt x="5983" y="1095"/>
                </a:lnTo>
                <a:cubicBezTo>
                  <a:pt x="5983" y="946"/>
                  <a:pt x="5887" y="814"/>
                  <a:pt x="5750" y="754"/>
                </a:cubicBezTo>
                <a:close/>
                <a:moveTo>
                  <a:pt x="3536" y="485"/>
                </a:moveTo>
                <a:lnTo>
                  <a:pt x="3363" y="186"/>
                </a:lnTo>
                <a:cubicBezTo>
                  <a:pt x="3297" y="72"/>
                  <a:pt x="3171" y="0"/>
                  <a:pt x="3040" y="0"/>
                </a:cubicBezTo>
                <a:lnTo>
                  <a:pt x="371" y="0"/>
                </a:lnTo>
                <a:cubicBezTo>
                  <a:pt x="168" y="0"/>
                  <a:pt x="0" y="168"/>
                  <a:pt x="0" y="371"/>
                </a:cubicBezTo>
                <a:lnTo>
                  <a:pt x="0" y="563"/>
                </a:lnTo>
                <a:lnTo>
                  <a:pt x="3602" y="563"/>
                </a:lnTo>
                <a:cubicBezTo>
                  <a:pt x="3572" y="545"/>
                  <a:pt x="3554" y="515"/>
                  <a:pt x="3536" y="485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4702" tIns="37351" rIns="74702" bIns="37351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896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24" name="Freeform 271"/>
          <p:cNvSpPr/>
          <p:nvPr/>
        </p:nvSpPr>
        <p:spPr>
          <a:xfrm>
            <a:off x="10646410" y="2692505"/>
            <a:ext cx="652299" cy="492485"/>
          </a:xfrm>
          <a:custGeom>
            <a:avLst/>
            <a:gdLst>
              <a:gd name="connsiteX0" fmla="*/ 1765758 w 7620000"/>
              <a:gd name="connsiteY0" fmla="*/ 3905250 h 5753101"/>
              <a:gd name="connsiteX1" fmla="*/ 2193023 w 7620000"/>
              <a:gd name="connsiteY1" fmla="*/ 4332515 h 5753101"/>
              <a:gd name="connsiteX2" fmla="*/ 2193022 w 7620000"/>
              <a:gd name="connsiteY2" fmla="*/ 5325836 h 5753101"/>
              <a:gd name="connsiteX3" fmla="*/ 1765757 w 7620000"/>
              <a:gd name="connsiteY3" fmla="*/ 5753101 h 5753101"/>
              <a:gd name="connsiteX4" fmla="*/ 1765758 w 7620000"/>
              <a:gd name="connsiteY4" fmla="*/ 5753100 h 5753101"/>
              <a:gd name="connsiteX5" fmla="*/ 1338493 w 7620000"/>
              <a:gd name="connsiteY5" fmla="*/ 5325835 h 5753101"/>
              <a:gd name="connsiteX6" fmla="*/ 1338493 w 7620000"/>
              <a:gd name="connsiteY6" fmla="*/ 4332515 h 5753101"/>
              <a:gd name="connsiteX7" fmla="*/ 1765758 w 7620000"/>
              <a:gd name="connsiteY7" fmla="*/ 3905250 h 5753101"/>
              <a:gd name="connsiteX8" fmla="*/ 4501698 w 7620000"/>
              <a:gd name="connsiteY8" fmla="*/ 2990850 h 5753101"/>
              <a:gd name="connsiteX9" fmla="*/ 4928963 w 7620000"/>
              <a:gd name="connsiteY9" fmla="*/ 3418115 h 5753101"/>
              <a:gd name="connsiteX10" fmla="*/ 4928962 w 7620000"/>
              <a:gd name="connsiteY10" fmla="*/ 5325836 h 5753101"/>
              <a:gd name="connsiteX11" fmla="*/ 4501697 w 7620000"/>
              <a:gd name="connsiteY11" fmla="*/ 5753101 h 5753101"/>
              <a:gd name="connsiteX12" fmla="*/ 4501698 w 7620000"/>
              <a:gd name="connsiteY12" fmla="*/ 5753100 h 5753101"/>
              <a:gd name="connsiteX13" fmla="*/ 4074433 w 7620000"/>
              <a:gd name="connsiteY13" fmla="*/ 5325835 h 5753101"/>
              <a:gd name="connsiteX14" fmla="*/ 4074433 w 7620000"/>
              <a:gd name="connsiteY14" fmla="*/ 3418115 h 5753101"/>
              <a:gd name="connsiteX15" fmla="*/ 4501698 w 7620000"/>
              <a:gd name="connsiteY15" fmla="*/ 2990850 h 5753101"/>
              <a:gd name="connsiteX16" fmla="*/ 3133728 w 7620000"/>
              <a:gd name="connsiteY16" fmla="*/ 2352675 h 5753101"/>
              <a:gd name="connsiteX17" fmla="*/ 3560993 w 7620000"/>
              <a:gd name="connsiteY17" fmla="*/ 2779940 h 5753101"/>
              <a:gd name="connsiteX18" fmla="*/ 3560992 w 7620000"/>
              <a:gd name="connsiteY18" fmla="*/ 5325836 h 5753101"/>
              <a:gd name="connsiteX19" fmla="*/ 3133727 w 7620000"/>
              <a:gd name="connsiteY19" fmla="*/ 5753101 h 5753101"/>
              <a:gd name="connsiteX20" fmla="*/ 3133728 w 7620000"/>
              <a:gd name="connsiteY20" fmla="*/ 5753100 h 5753101"/>
              <a:gd name="connsiteX21" fmla="*/ 2706463 w 7620000"/>
              <a:gd name="connsiteY21" fmla="*/ 5325835 h 5753101"/>
              <a:gd name="connsiteX22" fmla="*/ 2706463 w 7620000"/>
              <a:gd name="connsiteY22" fmla="*/ 2779940 h 5753101"/>
              <a:gd name="connsiteX23" fmla="*/ 3133728 w 7620000"/>
              <a:gd name="connsiteY23" fmla="*/ 2352675 h 5753101"/>
              <a:gd name="connsiteX24" fmla="*/ 5846990 w 7620000"/>
              <a:gd name="connsiteY24" fmla="*/ 1247321 h 5753101"/>
              <a:gd name="connsiteX25" fmla="*/ 6274255 w 7620000"/>
              <a:gd name="connsiteY25" fmla="*/ 1674586 h 5753101"/>
              <a:gd name="connsiteX26" fmla="*/ 6274254 w 7620000"/>
              <a:gd name="connsiteY26" fmla="*/ 5325836 h 5753101"/>
              <a:gd name="connsiteX27" fmla="*/ 5846989 w 7620000"/>
              <a:gd name="connsiteY27" fmla="*/ 5753101 h 5753101"/>
              <a:gd name="connsiteX28" fmla="*/ 5846990 w 7620000"/>
              <a:gd name="connsiteY28" fmla="*/ 5753100 h 5753101"/>
              <a:gd name="connsiteX29" fmla="*/ 5419725 w 7620000"/>
              <a:gd name="connsiteY29" fmla="*/ 5325835 h 5753101"/>
              <a:gd name="connsiteX30" fmla="*/ 5419725 w 7620000"/>
              <a:gd name="connsiteY30" fmla="*/ 1674586 h 5753101"/>
              <a:gd name="connsiteX31" fmla="*/ 5846990 w 7620000"/>
              <a:gd name="connsiteY31" fmla="*/ 1247321 h 5753101"/>
              <a:gd name="connsiteX32" fmla="*/ 946184 w 7620000"/>
              <a:gd name="connsiteY32" fmla="*/ 0 h 5753101"/>
              <a:gd name="connsiteX33" fmla="*/ 6673816 w 7620000"/>
              <a:gd name="connsiteY33" fmla="*/ 0 h 5753101"/>
              <a:gd name="connsiteX34" fmla="*/ 7620000 w 7620000"/>
              <a:gd name="connsiteY34" fmla="*/ 946185 h 5753101"/>
              <a:gd name="connsiteX35" fmla="*/ 7620000 w 7620000"/>
              <a:gd name="connsiteY35" fmla="*/ 3987766 h 5753101"/>
              <a:gd name="connsiteX36" fmla="*/ 6673816 w 7620000"/>
              <a:gd name="connsiteY36" fmla="*/ 4933950 h 5753101"/>
              <a:gd name="connsiteX37" fmla="*/ 6572250 w 7620000"/>
              <a:gd name="connsiteY37" fmla="*/ 4933950 h 5753101"/>
              <a:gd name="connsiteX38" fmla="*/ 6572250 w 7620000"/>
              <a:gd name="connsiteY38" fmla="*/ 4613702 h 5753101"/>
              <a:gd name="connsiteX39" fmla="*/ 6711353 w 7620000"/>
              <a:gd name="connsiteY39" fmla="*/ 4613702 h 5753101"/>
              <a:gd name="connsiteX40" fmla="*/ 7324725 w 7620000"/>
              <a:gd name="connsiteY40" fmla="*/ 4000330 h 5753101"/>
              <a:gd name="connsiteX41" fmla="*/ 7324725 w 7620000"/>
              <a:gd name="connsiteY41" fmla="*/ 918172 h 5753101"/>
              <a:gd name="connsiteX42" fmla="*/ 6711353 w 7620000"/>
              <a:gd name="connsiteY42" fmla="*/ 304800 h 5753101"/>
              <a:gd name="connsiteX43" fmla="*/ 937223 w 7620000"/>
              <a:gd name="connsiteY43" fmla="*/ 304800 h 5753101"/>
              <a:gd name="connsiteX44" fmla="*/ 323850 w 7620000"/>
              <a:gd name="connsiteY44" fmla="*/ 918172 h 5753101"/>
              <a:gd name="connsiteX45" fmla="*/ 323850 w 7620000"/>
              <a:gd name="connsiteY45" fmla="*/ 4000330 h 5753101"/>
              <a:gd name="connsiteX46" fmla="*/ 937223 w 7620000"/>
              <a:gd name="connsiteY46" fmla="*/ 4613702 h 5753101"/>
              <a:gd name="connsiteX47" fmla="*/ 1076325 w 7620000"/>
              <a:gd name="connsiteY47" fmla="*/ 4613702 h 5753101"/>
              <a:gd name="connsiteX48" fmla="*/ 1076325 w 7620000"/>
              <a:gd name="connsiteY48" fmla="*/ 4933950 h 5753101"/>
              <a:gd name="connsiteX49" fmla="*/ 946184 w 7620000"/>
              <a:gd name="connsiteY49" fmla="*/ 4933950 h 5753101"/>
              <a:gd name="connsiteX50" fmla="*/ 0 w 7620000"/>
              <a:gd name="connsiteY50" fmla="*/ 3987766 h 5753101"/>
              <a:gd name="connsiteX51" fmla="*/ 0 w 7620000"/>
              <a:gd name="connsiteY51" fmla="*/ 946185 h 5753101"/>
              <a:gd name="connsiteX52" fmla="*/ 946184 w 7620000"/>
              <a:gd name="connsiteY52" fmla="*/ 0 h 5753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7620000" h="5753101">
                <a:moveTo>
                  <a:pt x="1765758" y="3905250"/>
                </a:moveTo>
                <a:cubicBezTo>
                  <a:pt x="2001730" y="3905250"/>
                  <a:pt x="2193023" y="4096543"/>
                  <a:pt x="2193023" y="4332515"/>
                </a:cubicBezTo>
                <a:cubicBezTo>
                  <a:pt x="2193023" y="4663622"/>
                  <a:pt x="2193022" y="4994729"/>
                  <a:pt x="2193022" y="5325836"/>
                </a:cubicBezTo>
                <a:cubicBezTo>
                  <a:pt x="2193022" y="5561808"/>
                  <a:pt x="2001729" y="5753101"/>
                  <a:pt x="1765757" y="5753101"/>
                </a:cubicBezTo>
                <a:lnTo>
                  <a:pt x="1765758" y="5753100"/>
                </a:lnTo>
                <a:cubicBezTo>
                  <a:pt x="1529786" y="5753100"/>
                  <a:pt x="1338493" y="5561807"/>
                  <a:pt x="1338493" y="5325835"/>
                </a:cubicBezTo>
                <a:lnTo>
                  <a:pt x="1338493" y="4332515"/>
                </a:lnTo>
                <a:cubicBezTo>
                  <a:pt x="1338493" y="4096543"/>
                  <a:pt x="1529786" y="3905250"/>
                  <a:pt x="1765758" y="3905250"/>
                </a:cubicBezTo>
                <a:close/>
                <a:moveTo>
                  <a:pt x="4501698" y="2990850"/>
                </a:moveTo>
                <a:cubicBezTo>
                  <a:pt x="4737670" y="2990850"/>
                  <a:pt x="4928963" y="3182143"/>
                  <a:pt x="4928963" y="3418115"/>
                </a:cubicBezTo>
                <a:cubicBezTo>
                  <a:pt x="4928963" y="4054022"/>
                  <a:pt x="4928962" y="4689929"/>
                  <a:pt x="4928962" y="5325836"/>
                </a:cubicBezTo>
                <a:cubicBezTo>
                  <a:pt x="4928962" y="5561808"/>
                  <a:pt x="4737669" y="5753101"/>
                  <a:pt x="4501697" y="5753101"/>
                </a:cubicBezTo>
                <a:lnTo>
                  <a:pt x="4501698" y="5753100"/>
                </a:lnTo>
                <a:cubicBezTo>
                  <a:pt x="4265726" y="5753100"/>
                  <a:pt x="4074433" y="5561807"/>
                  <a:pt x="4074433" y="5325835"/>
                </a:cubicBezTo>
                <a:lnTo>
                  <a:pt x="4074433" y="3418115"/>
                </a:lnTo>
                <a:cubicBezTo>
                  <a:pt x="4074433" y="3182143"/>
                  <a:pt x="4265726" y="2990850"/>
                  <a:pt x="4501698" y="2990850"/>
                </a:cubicBezTo>
                <a:close/>
                <a:moveTo>
                  <a:pt x="3133728" y="2352675"/>
                </a:moveTo>
                <a:cubicBezTo>
                  <a:pt x="3369700" y="2352675"/>
                  <a:pt x="3560993" y="2543968"/>
                  <a:pt x="3560993" y="2779940"/>
                </a:cubicBezTo>
                <a:cubicBezTo>
                  <a:pt x="3560993" y="3628572"/>
                  <a:pt x="3560992" y="4477204"/>
                  <a:pt x="3560992" y="5325836"/>
                </a:cubicBezTo>
                <a:cubicBezTo>
                  <a:pt x="3560992" y="5561808"/>
                  <a:pt x="3369699" y="5753101"/>
                  <a:pt x="3133727" y="5753101"/>
                </a:cubicBezTo>
                <a:lnTo>
                  <a:pt x="3133728" y="5753100"/>
                </a:lnTo>
                <a:cubicBezTo>
                  <a:pt x="2897756" y="5753100"/>
                  <a:pt x="2706463" y="5561807"/>
                  <a:pt x="2706463" y="5325835"/>
                </a:cubicBezTo>
                <a:lnTo>
                  <a:pt x="2706463" y="2779940"/>
                </a:lnTo>
                <a:cubicBezTo>
                  <a:pt x="2706463" y="2543968"/>
                  <a:pt x="2897756" y="2352675"/>
                  <a:pt x="3133728" y="2352675"/>
                </a:cubicBezTo>
                <a:close/>
                <a:moveTo>
                  <a:pt x="5846990" y="1247321"/>
                </a:moveTo>
                <a:cubicBezTo>
                  <a:pt x="6082962" y="1247321"/>
                  <a:pt x="6274255" y="1438614"/>
                  <a:pt x="6274255" y="1674586"/>
                </a:cubicBezTo>
                <a:cubicBezTo>
                  <a:pt x="6274255" y="2891669"/>
                  <a:pt x="6274254" y="4108753"/>
                  <a:pt x="6274254" y="5325836"/>
                </a:cubicBezTo>
                <a:cubicBezTo>
                  <a:pt x="6274254" y="5561808"/>
                  <a:pt x="6082961" y="5753101"/>
                  <a:pt x="5846989" y="5753101"/>
                </a:cubicBezTo>
                <a:lnTo>
                  <a:pt x="5846990" y="5753100"/>
                </a:lnTo>
                <a:cubicBezTo>
                  <a:pt x="5611018" y="5753100"/>
                  <a:pt x="5419725" y="5561807"/>
                  <a:pt x="5419725" y="5325835"/>
                </a:cubicBezTo>
                <a:lnTo>
                  <a:pt x="5419725" y="1674586"/>
                </a:lnTo>
                <a:cubicBezTo>
                  <a:pt x="5419725" y="1438614"/>
                  <a:pt x="5611018" y="1247321"/>
                  <a:pt x="5846990" y="1247321"/>
                </a:cubicBezTo>
                <a:close/>
                <a:moveTo>
                  <a:pt x="946184" y="0"/>
                </a:moveTo>
                <a:lnTo>
                  <a:pt x="6673816" y="0"/>
                </a:lnTo>
                <a:cubicBezTo>
                  <a:pt x="7196379" y="0"/>
                  <a:pt x="7620000" y="423621"/>
                  <a:pt x="7620000" y="946185"/>
                </a:cubicBezTo>
                <a:lnTo>
                  <a:pt x="7620000" y="3987766"/>
                </a:lnTo>
                <a:cubicBezTo>
                  <a:pt x="7620000" y="4510329"/>
                  <a:pt x="7196379" y="4933950"/>
                  <a:pt x="6673816" y="4933950"/>
                </a:cubicBezTo>
                <a:lnTo>
                  <a:pt x="6572250" y="4933950"/>
                </a:lnTo>
                <a:lnTo>
                  <a:pt x="6572250" y="4613702"/>
                </a:lnTo>
                <a:lnTo>
                  <a:pt x="6711353" y="4613702"/>
                </a:lnTo>
                <a:cubicBezTo>
                  <a:pt x="7050109" y="4613702"/>
                  <a:pt x="7324725" y="4339086"/>
                  <a:pt x="7324725" y="4000330"/>
                </a:cubicBezTo>
                <a:lnTo>
                  <a:pt x="7324725" y="918172"/>
                </a:lnTo>
                <a:cubicBezTo>
                  <a:pt x="7324725" y="579416"/>
                  <a:pt x="7050109" y="304800"/>
                  <a:pt x="6711353" y="304800"/>
                </a:cubicBezTo>
                <a:lnTo>
                  <a:pt x="937223" y="304800"/>
                </a:lnTo>
                <a:cubicBezTo>
                  <a:pt x="598466" y="304800"/>
                  <a:pt x="323850" y="579416"/>
                  <a:pt x="323850" y="918172"/>
                </a:cubicBezTo>
                <a:lnTo>
                  <a:pt x="323850" y="4000330"/>
                </a:lnTo>
                <a:cubicBezTo>
                  <a:pt x="323850" y="4339086"/>
                  <a:pt x="598466" y="4613702"/>
                  <a:pt x="937223" y="4613702"/>
                </a:cubicBezTo>
                <a:lnTo>
                  <a:pt x="1076325" y="4613702"/>
                </a:lnTo>
                <a:lnTo>
                  <a:pt x="1076325" y="4933950"/>
                </a:lnTo>
                <a:lnTo>
                  <a:pt x="946184" y="4933950"/>
                </a:lnTo>
                <a:cubicBezTo>
                  <a:pt x="423621" y="4933950"/>
                  <a:pt x="0" y="4510329"/>
                  <a:pt x="0" y="3987766"/>
                </a:cubicBezTo>
                <a:lnTo>
                  <a:pt x="0" y="946185"/>
                </a:lnTo>
                <a:cubicBezTo>
                  <a:pt x="0" y="423621"/>
                  <a:pt x="423621" y="0"/>
                  <a:pt x="946184" y="0"/>
                </a:cubicBezTo>
                <a:close/>
              </a:path>
            </a:pathLst>
          </a:custGeom>
          <a:solidFill>
            <a:schemeClr val="accent1"/>
          </a:solidFill>
          <a:ln w="342900" cap="sq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5" name="Freeform 189"/>
          <p:cNvSpPr/>
          <p:nvPr/>
        </p:nvSpPr>
        <p:spPr bwMode="auto">
          <a:xfrm>
            <a:off x="6890025" y="2705650"/>
            <a:ext cx="560852" cy="435460"/>
          </a:xfrm>
          <a:custGeom>
            <a:avLst/>
            <a:gdLst>
              <a:gd name="connsiteX0" fmla="*/ 2872895 w 6005359"/>
              <a:gd name="connsiteY0" fmla="*/ 2451096 h 4662711"/>
              <a:gd name="connsiteX1" fmla="*/ 3517361 w 6005359"/>
              <a:gd name="connsiteY1" fmla="*/ 2725050 h 4662711"/>
              <a:gd name="connsiteX2" fmla="*/ 3369823 w 6005359"/>
              <a:gd name="connsiteY2" fmla="*/ 2908295 h 4662711"/>
              <a:gd name="connsiteX3" fmla="*/ 2856088 w 6005359"/>
              <a:gd name="connsiteY3" fmla="*/ 2685137 h 4662711"/>
              <a:gd name="connsiteX4" fmla="*/ 1259622 w 6005359"/>
              <a:gd name="connsiteY4" fmla="*/ 3419922 h 4662711"/>
              <a:gd name="connsiteX5" fmla="*/ 25456 w 6005359"/>
              <a:gd name="connsiteY5" fmla="*/ 2842979 h 4662711"/>
              <a:gd name="connsiteX6" fmla="*/ 169704 w 6005359"/>
              <a:gd name="connsiteY6" fmla="*/ 2663366 h 4662711"/>
              <a:gd name="connsiteX7" fmla="*/ 1274016 w 6005359"/>
              <a:gd name="connsiteY7" fmla="*/ 3178623 h 4662711"/>
              <a:gd name="connsiteX8" fmla="*/ 2872895 w 6005359"/>
              <a:gd name="connsiteY8" fmla="*/ 2451096 h 4662711"/>
              <a:gd name="connsiteX9" fmla="*/ 2902933 w 6005359"/>
              <a:gd name="connsiteY9" fmla="*/ 1845126 h 4662711"/>
              <a:gd name="connsiteX10" fmla="*/ 3806450 w 6005359"/>
              <a:gd name="connsiteY10" fmla="*/ 2293252 h 4662711"/>
              <a:gd name="connsiteX11" fmla="*/ 3661306 w 6005359"/>
              <a:gd name="connsiteY11" fmla="*/ 2494639 h 4662711"/>
              <a:gd name="connsiteX12" fmla="*/ 2873905 w 6005359"/>
              <a:gd name="connsiteY12" fmla="*/ 2115453 h 4662711"/>
              <a:gd name="connsiteX13" fmla="*/ 1340834 w 6005359"/>
              <a:gd name="connsiteY13" fmla="*/ 2813953 h 4662711"/>
              <a:gd name="connsiteX14" fmla="*/ 433692 w 6005359"/>
              <a:gd name="connsiteY14" fmla="*/ 2485566 h 4662711"/>
              <a:gd name="connsiteX15" fmla="*/ 379264 w 6005359"/>
              <a:gd name="connsiteY15" fmla="*/ 2189838 h 4662711"/>
              <a:gd name="connsiteX16" fmla="*/ 593346 w 6005359"/>
              <a:gd name="connsiteY16" fmla="*/ 2264227 h 4662711"/>
              <a:gd name="connsiteX17" fmla="*/ 1333576 w 6005359"/>
              <a:gd name="connsiteY17" fmla="*/ 2556324 h 4662711"/>
              <a:gd name="connsiteX18" fmla="*/ 2902933 w 6005359"/>
              <a:gd name="connsiteY18" fmla="*/ 1845126 h 4662711"/>
              <a:gd name="connsiteX19" fmla="*/ 2939216 w 6005359"/>
              <a:gd name="connsiteY19" fmla="*/ 1244596 h 4662711"/>
              <a:gd name="connsiteX20" fmla="*/ 4006017 w 6005359"/>
              <a:gd name="connsiteY20" fmla="*/ 1705423 h 4662711"/>
              <a:gd name="connsiteX21" fmla="*/ 4136647 w 6005359"/>
              <a:gd name="connsiteY21" fmla="*/ 1883224 h 4662711"/>
              <a:gd name="connsiteX22" fmla="*/ 4136646 w 6005359"/>
              <a:gd name="connsiteY22" fmla="*/ 1883224 h 4662711"/>
              <a:gd name="connsiteX23" fmla="*/ 3995131 w 6005359"/>
              <a:gd name="connsiteY23" fmla="*/ 2024739 h 4662711"/>
              <a:gd name="connsiteX24" fmla="*/ 2928331 w 6005359"/>
              <a:gd name="connsiteY24" fmla="*/ 1509481 h 4662711"/>
              <a:gd name="connsiteX25" fmla="*/ 1244674 w 6005359"/>
              <a:gd name="connsiteY25" fmla="*/ 2264224 h 4662711"/>
              <a:gd name="connsiteX26" fmla="*/ 740304 w 6005359"/>
              <a:gd name="connsiteY26" fmla="*/ 2062837 h 4662711"/>
              <a:gd name="connsiteX27" fmla="*/ 693133 w 6005359"/>
              <a:gd name="connsiteY27" fmla="*/ 1788881 h 4662711"/>
              <a:gd name="connsiteX28" fmla="*/ 909029 w 6005359"/>
              <a:gd name="connsiteY28" fmla="*/ 1826984 h 4662711"/>
              <a:gd name="connsiteX29" fmla="*/ 1201131 w 6005359"/>
              <a:gd name="connsiteY29" fmla="*/ 1970310 h 4662711"/>
              <a:gd name="connsiteX30" fmla="*/ 2939216 w 6005359"/>
              <a:gd name="connsiteY30" fmla="*/ 1244596 h 4662711"/>
              <a:gd name="connsiteX31" fmla="*/ 3405494 w 6005359"/>
              <a:gd name="connsiteY31" fmla="*/ 0 h 4662711"/>
              <a:gd name="connsiteX32" fmla="*/ 3942516 w 6005359"/>
              <a:gd name="connsiteY32" fmla="*/ 0 h 4662711"/>
              <a:gd name="connsiteX33" fmla="*/ 4175075 w 6005359"/>
              <a:gd name="connsiteY33" fmla="*/ 638390 h 4662711"/>
              <a:gd name="connsiteX34" fmla="*/ 4176609 w 6005359"/>
              <a:gd name="connsiteY34" fmla="*/ 638764 h 4662711"/>
              <a:gd name="connsiteX35" fmla="*/ 4494947 w 6005359"/>
              <a:gd name="connsiteY35" fmla="*/ 768026 h 4662711"/>
              <a:gd name="connsiteX36" fmla="*/ 4515854 w 6005359"/>
              <a:gd name="connsiteY36" fmla="*/ 780380 h 4662711"/>
              <a:gd name="connsiteX37" fmla="*/ 5132655 w 6005359"/>
              <a:gd name="connsiteY37" fmla="*/ 492973 h 4662711"/>
              <a:gd name="connsiteX38" fmla="*/ 5512387 w 6005359"/>
              <a:gd name="connsiteY38" fmla="*/ 872705 h 4662711"/>
              <a:gd name="connsiteX39" fmla="*/ 5224980 w 6005359"/>
              <a:gd name="connsiteY39" fmla="*/ 1489506 h 4662711"/>
              <a:gd name="connsiteX40" fmla="*/ 5237334 w 6005359"/>
              <a:gd name="connsiteY40" fmla="*/ 1510412 h 4662711"/>
              <a:gd name="connsiteX41" fmla="*/ 5366595 w 6005359"/>
              <a:gd name="connsiteY41" fmla="*/ 1828751 h 4662711"/>
              <a:gd name="connsiteX42" fmla="*/ 5366970 w 6005359"/>
              <a:gd name="connsiteY42" fmla="*/ 1830287 h 4662711"/>
              <a:gd name="connsiteX43" fmla="*/ 6005359 w 6005359"/>
              <a:gd name="connsiteY43" fmla="*/ 2062845 h 4662711"/>
              <a:gd name="connsiteX44" fmla="*/ 6005359 w 6005359"/>
              <a:gd name="connsiteY44" fmla="*/ 2599867 h 4662711"/>
              <a:gd name="connsiteX45" fmla="*/ 5366970 w 6005359"/>
              <a:gd name="connsiteY45" fmla="*/ 2832426 h 4662711"/>
              <a:gd name="connsiteX46" fmla="*/ 5366595 w 6005359"/>
              <a:gd name="connsiteY46" fmla="*/ 2833962 h 4662711"/>
              <a:gd name="connsiteX47" fmla="*/ 5237334 w 6005359"/>
              <a:gd name="connsiteY47" fmla="*/ 3152300 h 4662711"/>
              <a:gd name="connsiteX48" fmla="*/ 5224981 w 6005359"/>
              <a:gd name="connsiteY48" fmla="*/ 3173204 h 4662711"/>
              <a:gd name="connsiteX49" fmla="*/ 5512389 w 6005359"/>
              <a:gd name="connsiteY49" fmla="*/ 3790005 h 4662711"/>
              <a:gd name="connsiteX50" fmla="*/ 5132657 w 6005359"/>
              <a:gd name="connsiteY50" fmla="*/ 4169737 h 4662711"/>
              <a:gd name="connsiteX51" fmla="*/ 4515857 w 6005359"/>
              <a:gd name="connsiteY51" fmla="*/ 3882331 h 4662711"/>
              <a:gd name="connsiteX52" fmla="*/ 4494947 w 6005359"/>
              <a:gd name="connsiteY52" fmla="*/ 3894687 h 4662711"/>
              <a:gd name="connsiteX53" fmla="*/ 4176609 w 6005359"/>
              <a:gd name="connsiteY53" fmla="*/ 4023948 h 4662711"/>
              <a:gd name="connsiteX54" fmla="*/ 4175075 w 6005359"/>
              <a:gd name="connsiteY54" fmla="*/ 4024322 h 4662711"/>
              <a:gd name="connsiteX55" fmla="*/ 3942517 w 6005359"/>
              <a:gd name="connsiteY55" fmla="*/ 4662711 h 4662711"/>
              <a:gd name="connsiteX56" fmla="*/ 3405495 w 6005359"/>
              <a:gd name="connsiteY56" fmla="*/ 4662711 h 4662711"/>
              <a:gd name="connsiteX57" fmla="*/ 3172937 w 6005359"/>
              <a:gd name="connsiteY57" fmla="*/ 4024324 h 4662711"/>
              <a:gd name="connsiteX58" fmla="*/ 3171398 w 6005359"/>
              <a:gd name="connsiteY58" fmla="*/ 4023948 h 4662711"/>
              <a:gd name="connsiteX59" fmla="*/ 2853060 w 6005359"/>
              <a:gd name="connsiteY59" fmla="*/ 3894687 h 4662711"/>
              <a:gd name="connsiteX60" fmla="*/ 2832154 w 6005359"/>
              <a:gd name="connsiteY60" fmla="*/ 3882333 h 4662711"/>
              <a:gd name="connsiteX61" fmla="*/ 2215353 w 6005359"/>
              <a:gd name="connsiteY61" fmla="*/ 4169740 h 4662711"/>
              <a:gd name="connsiteX62" fmla="*/ 1835621 w 6005359"/>
              <a:gd name="connsiteY62" fmla="*/ 3790008 h 4662711"/>
              <a:gd name="connsiteX63" fmla="*/ 1926018 w 6005359"/>
              <a:gd name="connsiteY63" fmla="*/ 3596008 h 4662711"/>
              <a:gd name="connsiteX64" fmla="*/ 3047624 w 6005359"/>
              <a:gd name="connsiteY64" fmla="*/ 2952993 h 4662711"/>
              <a:gd name="connsiteX65" fmla="*/ 4298131 w 6005359"/>
              <a:gd name="connsiteY65" fmla="*/ 2955483 h 4662711"/>
              <a:gd name="connsiteX66" fmla="*/ 4298131 w 6005359"/>
              <a:gd name="connsiteY66" fmla="*/ 1707228 h 4662711"/>
              <a:gd name="connsiteX67" fmla="*/ 4084475 w 6005359"/>
              <a:gd name="connsiteY67" fmla="*/ 1549691 h 4662711"/>
              <a:gd name="connsiteX68" fmla="*/ 2017033 w 6005359"/>
              <a:gd name="connsiteY68" fmla="*/ 1262028 h 4662711"/>
              <a:gd name="connsiteX69" fmla="*/ 1835621 w 6005359"/>
              <a:gd name="connsiteY69" fmla="*/ 872703 h 4662711"/>
              <a:gd name="connsiteX70" fmla="*/ 2215353 w 6005359"/>
              <a:gd name="connsiteY70" fmla="*/ 492971 h 4662711"/>
              <a:gd name="connsiteX71" fmla="*/ 2832155 w 6005359"/>
              <a:gd name="connsiteY71" fmla="*/ 780379 h 4662711"/>
              <a:gd name="connsiteX72" fmla="*/ 2853060 w 6005359"/>
              <a:gd name="connsiteY72" fmla="*/ 768026 h 4662711"/>
              <a:gd name="connsiteX73" fmla="*/ 3171398 w 6005359"/>
              <a:gd name="connsiteY73" fmla="*/ 638765 h 4662711"/>
              <a:gd name="connsiteX74" fmla="*/ 3172935 w 6005359"/>
              <a:gd name="connsiteY74" fmla="*/ 638389 h 46627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6005359" h="4662711">
                <a:moveTo>
                  <a:pt x="2872895" y="2451096"/>
                </a:moveTo>
                <a:cubicBezTo>
                  <a:pt x="3254059" y="2453876"/>
                  <a:pt x="3458125" y="2632521"/>
                  <a:pt x="3517361" y="2725050"/>
                </a:cubicBezTo>
                <a:cubicBezTo>
                  <a:pt x="3576596" y="2817579"/>
                  <a:pt x="3480035" y="2914947"/>
                  <a:pt x="3369823" y="2908295"/>
                </a:cubicBezTo>
                <a:cubicBezTo>
                  <a:pt x="3259611" y="2901643"/>
                  <a:pt x="3117388" y="2686742"/>
                  <a:pt x="2856088" y="2685137"/>
                </a:cubicBezTo>
                <a:cubicBezTo>
                  <a:pt x="2560630" y="2683322"/>
                  <a:pt x="2095973" y="3434610"/>
                  <a:pt x="1259622" y="3419922"/>
                </a:cubicBezTo>
                <a:cubicBezTo>
                  <a:pt x="480502" y="3406239"/>
                  <a:pt x="112766" y="2952743"/>
                  <a:pt x="25456" y="2842979"/>
                </a:cubicBezTo>
                <a:cubicBezTo>
                  <a:pt x="-61854" y="2733215"/>
                  <a:pt x="97681" y="2600167"/>
                  <a:pt x="169704" y="2663366"/>
                </a:cubicBezTo>
                <a:cubicBezTo>
                  <a:pt x="320141" y="2795373"/>
                  <a:pt x="822086" y="3184094"/>
                  <a:pt x="1274016" y="3178623"/>
                </a:cubicBezTo>
                <a:cubicBezTo>
                  <a:pt x="2098292" y="3168645"/>
                  <a:pt x="2291644" y="2446857"/>
                  <a:pt x="2872895" y="2451096"/>
                </a:cubicBezTo>
                <a:close/>
                <a:moveTo>
                  <a:pt x="2902933" y="1845126"/>
                </a:moveTo>
                <a:cubicBezTo>
                  <a:pt x="3334590" y="1864811"/>
                  <a:pt x="3723598" y="2161414"/>
                  <a:pt x="3806450" y="2293252"/>
                </a:cubicBezTo>
                <a:cubicBezTo>
                  <a:pt x="3889302" y="2425090"/>
                  <a:pt x="3735087" y="2540600"/>
                  <a:pt x="3661306" y="2494639"/>
                </a:cubicBezTo>
                <a:cubicBezTo>
                  <a:pt x="3587525" y="2448678"/>
                  <a:pt x="3373136" y="2152948"/>
                  <a:pt x="2873905" y="2115453"/>
                </a:cubicBezTo>
                <a:cubicBezTo>
                  <a:pt x="2374674" y="2077958"/>
                  <a:pt x="1907194" y="2826654"/>
                  <a:pt x="1340834" y="2813953"/>
                </a:cubicBezTo>
                <a:cubicBezTo>
                  <a:pt x="774474" y="2801252"/>
                  <a:pt x="581254" y="2602285"/>
                  <a:pt x="433692" y="2485566"/>
                </a:cubicBezTo>
                <a:cubicBezTo>
                  <a:pt x="286130" y="2368847"/>
                  <a:pt x="310926" y="2226728"/>
                  <a:pt x="379264" y="2189838"/>
                </a:cubicBezTo>
                <a:cubicBezTo>
                  <a:pt x="447602" y="2152948"/>
                  <a:pt x="506866" y="2155975"/>
                  <a:pt x="593346" y="2264227"/>
                </a:cubicBezTo>
                <a:cubicBezTo>
                  <a:pt x="679826" y="2372479"/>
                  <a:pt x="942447" y="2564601"/>
                  <a:pt x="1333576" y="2556324"/>
                </a:cubicBezTo>
                <a:cubicBezTo>
                  <a:pt x="1890863" y="2544531"/>
                  <a:pt x="2274378" y="1816462"/>
                  <a:pt x="2902933" y="1845126"/>
                </a:cubicBezTo>
                <a:close/>
                <a:moveTo>
                  <a:pt x="2939216" y="1244596"/>
                </a:moveTo>
                <a:cubicBezTo>
                  <a:pt x="3431559" y="1268032"/>
                  <a:pt x="3674386" y="1455591"/>
                  <a:pt x="4006017" y="1705423"/>
                </a:cubicBezTo>
                <a:cubicBezTo>
                  <a:pt x="4109574" y="1783437"/>
                  <a:pt x="4136647" y="1805067"/>
                  <a:pt x="4136647" y="1883224"/>
                </a:cubicBezTo>
                <a:lnTo>
                  <a:pt x="4136646" y="1883224"/>
                </a:lnTo>
                <a:cubicBezTo>
                  <a:pt x="4136646" y="1961381"/>
                  <a:pt x="4073288" y="2024739"/>
                  <a:pt x="3995131" y="2024739"/>
                </a:cubicBezTo>
                <a:cubicBezTo>
                  <a:pt x="3793140" y="2061630"/>
                  <a:pt x="3633483" y="1545767"/>
                  <a:pt x="2928331" y="1509481"/>
                </a:cubicBezTo>
                <a:cubicBezTo>
                  <a:pt x="2223179" y="1473195"/>
                  <a:pt x="1809671" y="2256756"/>
                  <a:pt x="1244674" y="2264224"/>
                </a:cubicBezTo>
                <a:cubicBezTo>
                  <a:pt x="969105" y="2267866"/>
                  <a:pt x="832228" y="2142061"/>
                  <a:pt x="740304" y="2062837"/>
                </a:cubicBezTo>
                <a:cubicBezTo>
                  <a:pt x="648381" y="1983613"/>
                  <a:pt x="612398" y="1857218"/>
                  <a:pt x="693133" y="1788881"/>
                </a:cubicBezTo>
                <a:cubicBezTo>
                  <a:pt x="773868" y="1720544"/>
                  <a:pt x="824363" y="1744131"/>
                  <a:pt x="909029" y="1826984"/>
                </a:cubicBezTo>
                <a:cubicBezTo>
                  <a:pt x="993695" y="1909837"/>
                  <a:pt x="1009740" y="1973989"/>
                  <a:pt x="1201131" y="1970310"/>
                </a:cubicBezTo>
                <a:cubicBezTo>
                  <a:pt x="1806386" y="1958674"/>
                  <a:pt x="2015759" y="1200638"/>
                  <a:pt x="2939216" y="1244596"/>
                </a:cubicBezTo>
                <a:close/>
                <a:moveTo>
                  <a:pt x="3405494" y="0"/>
                </a:moveTo>
                <a:lnTo>
                  <a:pt x="3942516" y="0"/>
                </a:lnTo>
                <a:lnTo>
                  <a:pt x="4175075" y="638390"/>
                </a:lnTo>
                <a:lnTo>
                  <a:pt x="4176609" y="638764"/>
                </a:lnTo>
                <a:cubicBezTo>
                  <a:pt x="4285789" y="671080"/>
                  <a:pt x="4392460" y="714167"/>
                  <a:pt x="4494947" y="768026"/>
                </a:cubicBezTo>
                <a:lnTo>
                  <a:pt x="4515854" y="780380"/>
                </a:lnTo>
                <a:lnTo>
                  <a:pt x="5132655" y="492973"/>
                </a:lnTo>
                <a:lnTo>
                  <a:pt x="5512387" y="872705"/>
                </a:lnTo>
                <a:lnTo>
                  <a:pt x="5224980" y="1489506"/>
                </a:lnTo>
                <a:lnTo>
                  <a:pt x="5237334" y="1510412"/>
                </a:lnTo>
                <a:cubicBezTo>
                  <a:pt x="5291193" y="1612900"/>
                  <a:pt x="5334280" y="1719571"/>
                  <a:pt x="5366595" y="1828751"/>
                </a:cubicBezTo>
                <a:lnTo>
                  <a:pt x="5366970" y="1830287"/>
                </a:lnTo>
                <a:lnTo>
                  <a:pt x="6005359" y="2062845"/>
                </a:lnTo>
                <a:lnTo>
                  <a:pt x="6005359" y="2599867"/>
                </a:lnTo>
                <a:lnTo>
                  <a:pt x="5366970" y="2832426"/>
                </a:lnTo>
                <a:lnTo>
                  <a:pt x="5366595" y="2833962"/>
                </a:lnTo>
                <a:cubicBezTo>
                  <a:pt x="5334280" y="2943142"/>
                  <a:pt x="5291193" y="3049813"/>
                  <a:pt x="5237334" y="3152300"/>
                </a:cubicBezTo>
                <a:lnTo>
                  <a:pt x="5224981" y="3173204"/>
                </a:lnTo>
                <a:lnTo>
                  <a:pt x="5512389" y="3790005"/>
                </a:lnTo>
                <a:lnTo>
                  <a:pt x="5132657" y="4169737"/>
                </a:lnTo>
                <a:lnTo>
                  <a:pt x="4515857" y="3882331"/>
                </a:lnTo>
                <a:lnTo>
                  <a:pt x="4494947" y="3894687"/>
                </a:lnTo>
                <a:cubicBezTo>
                  <a:pt x="4392460" y="3948546"/>
                  <a:pt x="4285789" y="3991632"/>
                  <a:pt x="4176609" y="4023948"/>
                </a:cubicBezTo>
                <a:lnTo>
                  <a:pt x="4175075" y="4024322"/>
                </a:lnTo>
                <a:lnTo>
                  <a:pt x="3942517" y="4662711"/>
                </a:lnTo>
                <a:lnTo>
                  <a:pt x="3405495" y="4662711"/>
                </a:lnTo>
                <a:lnTo>
                  <a:pt x="3172937" y="4024324"/>
                </a:lnTo>
                <a:lnTo>
                  <a:pt x="3171398" y="4023948"/>
                </a:lnTo>
                <a:cubicBezTo>
                  <a:pt x="3062218" y="3991633"/>
                  <a:pt x="2955547" y="3948545"/>
                  <a:pt x="2853060" y="3894687"/>
                </a:cubicBezTo>
                <a:lnTo>
                  <a:pt x="2832154" y="3882333"/>
                </a:lnTo>
                <a:lnTo>
                  <a:pt x="2215353" y="4169740"/>
                </a:lnTo>
                <a:lnTo>
                  <a:pt x="1835621" y="3790008"/>
                </a:lnTo>
                <a:lnTo>
                  <a:pt x="1926018" y="3596008"/>
                </a:lnTo>
                <a:cubicBezTo>
                  <a:pt x="2426887" y="3519556"/>
                  <a:pt x="2593926" y="3116531"/>
                  <a:pt x="3047624" y="2952993"/>
                </a:cubicBezTo>
                <a:cubicBezTo>
                  <a:pt x="3413947" y="3346982"/>
                  <a:pt x="4089713" y="3163111"/>
                  <a:pt x="4298131" y="2955483"/>
                </a:cubicBezTo>
                <a:cubicBezTo>
                  <a:pt x="4642827" y="2610787"/>
                  <a:pt x="4642827" y="2051924"/>
                  <a:pt x="4298131" y="1707228"/>
                </a:cubicBezTo>
                <a:cubicBezTo>
                  <a:pt x="4233501" y="1642598"/>
                  <a:pt x="4161341" y="1590085"/>
                  <a:pt x="4084475" y="1549691"/>
                </a:cubicBezTo>
                <a:cubicBezTo>
                  <a:pt x="3707385" y="1101832"/>
                  <a:pt x="2971066" y="875316"/>
                  <a:pt x="2017033" y="1262028"/>
                </a:cubicBezTo>
                <a:lnTo>
                  <a:pt x="1835621" y="872703"/>
                </a:lnTo>
                <a:lnTo>
                  <a:pt x="2215353" y="492971"/>
                </a:lnTo>
                <a:lnTo>
                  <a:pt x="2832155" y="780379"/>
                </a:lnTo>
                <a:lnTo>
                  <a:pt x="2853060" y="768026"/>
                </a:lnTo>
                <a:cubicBezTo>
                  <a:pt x="2955547" y="714167"/>
                  <a:pt x="3062218" y="671080"/>
                  <a:pt x="3171398" y="638765"/>
                </a:cubicBezTo>
                <a:lnTo>
                  <a:pt x="3172935" y="638389"/>
                </a:lnTo>
                <a:close/>
              </a:path>
            </a:pathLst>
          </a:cu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6" name="Freeform 142"/>
          <p:cNvSpPr/>
          <p:nvPr/>
        </p:nvSpPr>
        <p:spPr>
          <a:xfrm>
            <a:off x="3569228" y="2874843"/>
            <a:ext cx="437688" cy="452406"/>
          </a:xfrm>
          <a:custGeom>
            <a:avLst/>
            <a:gdLst>
              <a:gd name="connsiteX0" fmla="*/ 2007579 w 2309448"/>
              <a:gd name="connsiteY0" fmla="*/ 1828800 h 2387112"/>
              <a:gd name="connsiteX1" fmla="*/ 2309448 w 2309448"/>
              <a:gd name="connsiteY1" fmla="*/ 1828800 h 2387112"/>
              <a:gd name="connsiteX2" fmla="*/ 2309448 w 2309448"/>
              <a:gd name="connsiteY2" fmla="*/ 2387111 h 2387112"/>
              <a:gd name="connsiteX3" fmla="*/ 2309447 w 2309448"/>
              <a:gd name="connsiteY3" fmla="*/ 2387111 h 2387112"/>
              <a:gd name="connsiteX4" fmla="*/ 0 w 2309448"/>
              <a:gd name="connsiteY4" fmla="*/ 2387112 h 2387112"/>
              <a:gd name="connsiteX5" fmla="*/ 0 w 2309448"/>
              <a:gd name="connsiteY5" fmla="*/ 2387111 h 2387112"/>
              <a:gd name="connsiteX6" fmla="*/ 0 w 2309448"/>
              <a:gd name="connsiteY6" fmla="*/ 1828801 h 2387112"/>
              <a:gd name="connsiteX7" fmla="*/ 301869 w 2309448"/>
              <a:gd name="connsiteY7" fmla="*/ 1828801 h 2387112"/>
              <a:gd name="connsiteX8" fmla="*/ 301869 w 2309448"/>
              <a:gd name="connsiteY8" fmla="*/ 2085242 h 2387112"/>
              <a:gd name="connsiteX9" fmla="*/ 2007579 w 2309448"/>
              <a:gd name="connsiteY9" fmla="*/ 2085242 h 2387112"/>
              <a:gd name="connsiteX10" fmla="*/ 495301 w 2309448"/>
              <a:gd name="connsiteY10" fmla="*/ 1538655 h 2387112"/>
              <a:gd name="connsiteX11" fmla="*/ 858717 w 2309448"/>
              <a:gd name="connsiteY11" fmla="*/ 1538655 h 2387112"/>
              <a:gd name="connsiteX12" fmla="*/ 858717 w 2309448"/>
              <a:gd name="connsiteY12" fmla="*/ 1818541 h 2387112"/>
              <a:gd name="connsiteX13" fmla="*/ 495301 w 2309448"/>
              <a:gd name="connsiteY13" fmla="*/ 1818541 h 2387112"/>
              <a:gd name="connsiteX14" fmla="*/ 1060094 w 2309448"/>
              <a:gd name="connsiteY14" fmla="*/ 1296134 h 2387112"/>
              <a:gd name="connsiteX15" fmla="*/ 1423510 w 2309448"/>
              <a:gd name="connsiteY15" fmla="*/ 1296134 h 2387112"/>
              <a:gd name="connsiteX16" fmla="*/ 1423510 w 2309448"/>
              <a:gd name="connsiteY16" fmla="*/ 1576020 h 2387112"/>
              <a:gd name="connsiteX17" fmla="*/ 1060094 w 2309448"/>
              <a:gd name="connsiteY17" fmla="*/ 1576020 h 2387112"/>
              <a:gd name="connsiteX18" fmla="*/ 1624886 w 2309448"/>
              <a:gd name="connsiteY18" fmla="*/ 1053613 h 2387112"/>
              <a:gd name="connsiteX19" fmla="*/ 1988302 w 2309448"/>
              <a:gd name="connsiteY19" fmla="*/ 1053613 h 2387112"/>
              <a:gd name="connsiteX20" fmla="*/ 1988302 w 2309448"/>
              <a:gd name="connsiteY20" fmla="*/ 1333499 h 2387112"/>
              <a:gd name="connsiteX21" fmla="*/ 1624886 w 2309448"/>
              <a:gd name="connsiteY21" fmla="*/ 1333499 h 2387112"/>
              <a:gd name="connsiteX22" fmla="*/ 495301 w 2309448"/>
              <a:gd name="connsiteY22" fmla="*/ 1053613 h 2387112"/>
              <a:gd name="connsiteX23" fmla="*/ 858717 w 2309448"/>
              <a:gd name="connsiteY23" fmla="*/ 1053613 h 2387112"/>
              <a:gd name="connsiteX24" fmla="*/ 858717 w 2309448"/>
              <a:gd name="connsiteY24" fmla="*/ 1333499 h 2387112"/>
              <a:gd name="connsiteX25" fmla="*/ 495301 w 2309448"/>
              <a:gd name="connsiteY25" fmla="*/ 1333499 h 2387112"/>
              <a:gd name="connsiteX26" fmla="*/ 1060094 w 2309448"/>
              <a:gd name="connsiteY26" fmla="*/ 811092 h 2387112"/>
              <a:gd name="connsiteX27" fmla="*/ 1423510 w 2309448"/>
              <a:gd name="connsiteY27" fmla="*/ 811092 h 2387112"/>
              <a:gd name="connsiteX28" fmla="*/ 1423510 w 2309448"/>
              <a:gd name="connsiteY28" fmla="*/ 1090978 h 2387112"/>
              <a:gd name="connsiteX29" fmla="*/ 1060094 w 2309448"/>
              <a:gd name="connsiteY29" fmla="*/ 1090978 h 2387112"/>
              <a:gd name="connsiteX30" fmla="*/ 495301 w 2309448"/>
              <a:gd name="connsiteY30" fmla="*/ 568571 h 2387112"/>
              <a:gd name="connsiteX31" fmla="*/ 858717 w 2309448"/>
              <a:gd name="connsiteY31" fmla="*/ 568571 h 2387112"/>
              <a:gd name="connsiteX32" fmla="*/ 858717 w 2309448"/>
              <a:gd name="connsiteY32" fmla="*/ 848457 h 2387112"/>
              <a:gd name="connsiteX33" fmla="*/ 495301 w 2309448"/>
              <a:gd name="connsiteY33" fmla="*/ 848457 h 2387112"/>
              <a:gd name="connsiteX34" fmla="*/ 2309448 w 2309448"/>
              <a:gd name="connsiteY34" fmla="*/ 0 h 2387112"/>
              <a:gd name="connsiteX35" fmla="*/ 2309448 w 2309448"/>
              <a:gd name="connsiteY35" fmla="*/ 1 h 2387112"/>
              <a:gd name="connsiteX36" fmla="*/ 2309448 w 2309448"/>
              <a:gd name="connsiteY36" fmla="*/ 558311 h 2387112"/>
              <a:gd name="connsiteX37" fmla="*/ 2007579 w 2309448"/>
              <a:gd name="connsiteY37" fmla="*/ 558311 h 2387112"/>
              <a:gd name="connsiteX38" fmla="*/ 2007579 w 2309448"/>
              <a:gd name="connsiteY38" fmla="*/ 301870 h 2387112"/>
              <a:gd name="connsiteX39" fmla="*/ 301869 w 2309448"/>
              <a:gd name="connsiteY39" fmla="*/ 301870 h 2387112"/>
              <a:gd name="connsiteX40" fmla="*/ 301869 w 2309448"/>
              <a:gd name="connsiteY40" fmla="*/ 558312 h 2387112"/>
              <a:gd name="connsiteX41" fmla="*/ 0 w 2309448"/>
              <a:gd name="connsiteY41" fmla="*/ 558312 h 2387112"/>
              <a:gd name="connsiteX42" fmla="*/ 0 w 2309448"/>
              <a:gd name="connsiteY42" fmla="*/ 1 h 2387112"/>
              <a:gd name="connsiteX43" fmla="*/ 1 w 2309448"/>
              <a:gd name="connsiteY43" fmla="*/ 1 h 2387112"/>
              <a:gd name="connsiteX44" fmla="*/ 2309448 w 2309448"/>
              <a:gd name="connsiteY44" fmla="*/ 0 h 2387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2309448" h="2387112">
                <a:moveTo>
                  <a:pt x="2007579" y="1828800"/>
                </a:moveTo>
                <a:lnTo>
                  <a:pt x="2309448" y="1828800"/>
                </a:lnTo>
                <a:lnTo>
                  <a:pt x="2309448" y="2387111"/>
                </a:lnTo>
                <a:lnTo>
                  <a:pt x="2309447" y="2387111"/>
                </a:lnTo>
                <a:cubicBezTo>
                  <a:pt x="1539631" y="2387111"/>
                  <a:pt x="769816" y="2387112"/>
                  <a:pt x="0" y="2387112"/>
                </a:cubicBezTo>
                <a:lnTo>
                  <a:pt x="0" y="2387111"/>
                </a:lnTo>
                <a:lnTo>
                  <a:pt x="0" y="1828801"/>
                </a:lnTo>
                <a:lnTo>
                  <a:pt x="301869" y="1828801"/>
                </a:lnTo>
                <a:lnTo>
                  <a:pt x="301869" y="2085242"/>
                </a:lnTo>
                <a:lnTo>
                  <a:pt x="2007579" y="2085242"/>
                </a:lnTo>
                <a:close/>
                <a:moveTo>
                  <a:pt x="495301" y="1538655"/>
                </a:moveTo>
                <a:lnTo>
                  <a:pt x="858717" y="1538655"/>
                </a:lnTo>
                <a:lnTo>
                  <a:pt x="858717" y="1818541"/>
                </a:lnTo>
                <a:lnTo>
                  <a:pt x="495301" y="1818541"/>
                </a:lnTo>
                <a:close/>
                <a:moveTo>
                  <a:pt x="1060094" y="1296134"/>
                </a:moveTo>
                <a:lnTo>
                  <a:pt x="1423510" y="1296134"/>
                </a:lnTo>
                <a:lnTo>
                  <a:pt x="1423510" y="1576020"/>
                </a:lnTo>
                <a:lnTo>
                  <a:pt x="1060094" y="1576020"/>
                </a:lnTo>
                <a:close/>
                <a:moveTo>
                  <a:pt x="1624886" y="1053613"/>
                </a:moveTo>
                <a:lnTo>
                  <a:pt x="1988302" y="1053613"/>
                </a:lnTo>
                <a:lnTo>
                  <a:pt x="1988302" y="1333499"/>
                </a:lnTo>
                <a:lnTo>
                  <a:pt x="1624886" y="1333499"/>
                </a:lnTo>
                <a:close/>
                <a:moveTo>
                  <a:pt x="495301" y="1053613"/>
                </a:moveTo>
                <a:lnTo>
                  <a:pt x="858717" y="1053613"/>
                </a:lnTo>
                <a:lnTo>
                  <a:pt x="858717" y="1333499"/>
                </a:lnTo>
                <a:lnTo>
                  <a:pt x="495301" y="1333499"/>
                </a:lnTo>
                <a:close/>
                <a:moveTo>
                  <a:pt x="1060094" y="811092"/>
                </a:moveTo>
                <a:lnTo>
                  <a:pt x="1423510" y="811092"/>
                </a:lnTo>
                <a:lnTo>
                  <a:pt x="1423510" y="1090978"/>
                </a:lnTo>
                <a:lnTo>
                  <a:pt x="1060094" y="1090978"/>
                </a:lnTo>
                <a:close/>
                <a:moveTo>
                  <a:pt x="495301" y="568571"/>
                </a:moveTo>
                <a:lnTo>
                  <a:pt x="858717" y="568571"/>
                </a:lnTo>
                <a:lnTo>
                  <a:pt x="858717" y="848457"/>
                </a:lnTo>
                <a:lnTo>
                  <a:pt x="495301" y="848457"/>
                </a:lnTo>
                <a:close/>
                <a:moveTo>
                  <a:pt x="2309448" y="0"/>
                </a:moveTo>
                <a:lnTo>
                  <a:pt x="2309448" y="1"/>
                </a:lnTo>
                <a:lnTo>
                  <a:pt x="2309448" y="558311"/>
                </a:lnTo>
                <a:lnTo>
                  <a:pt x="2007579" y="558311"/>
                </a:lnTo>
                <a:lnTo>
                  <a:pt x="2007579" y="301870"/>
                </a:lnTo>
                <a:lnTo>
                  <a:pt x="301869" y="301870"/>
                </a:lnTo>
                <a:lnTo>
                  <a:pt x="301869" y="558312"/>
                </a:lnTo>
                <a:lnTo>
                  <a:pt x="0" y="558312"/>
                </a:lnTo>
                <a:lnTo>
                  <a:pt x="0" y="1"/>
                </a:lnTo>
                <a:lnTo>
                  <a:pt x="1" y="1"/>
                </a:lnTo>
                <a:cubicBezTo>
                  <a:pt x="769817" y="1"/>
                  <a:pt x="1539632" y="0"/>
                  <a:pt x="2309448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6149" y="4352604"/>
            <a:ext cx="313741" cy="503779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401" y="4676412"/>
            <a:ext cx="604102" cy="319106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9384"/>
          <a:stretch/>
        </p:blipFill>
        <p:spPr>
          <a:xfrm>
            <a:off x="7001730" y="3754211"/>
            <a:ext cx="343952" cy="309098"/>
          </a:xfrm>
          <a:prstGeom prst="rect">
            <a:avLst/>
          </a:prstGeom>
        </p:spPr>
      </p:pic>
      <p:sp>
        <p:nvSpPr>
          <p:cNvPr id="30" name="Rectangle 29"/>
          <p:cNvSpPr/>
          <p:nvPr/>
        </p:nvSpPr>
        <p:spPr>
          <a:xfrm>
            <a:off x="7544522" y="3712964"/>
            <a:ext cx="64536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89615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-29" normalizeH="0" baseline="0" noProof="0" dirty="0">
                <a:ln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ea typeface="MS PGothic" panose="020B0600070205080204" pitchFamily="34" charset="-128"/>
                <a:cs typeface="Segoe UI Semilight" panose="020B0402040204020203" pitchFamily="34" charset="0"/>
              </a:rPr>
              <a:t>Storm</a:t>
            </a:r>
          </a:p>
        </p:txBody>
      </p:sp>
      <p:cxnSp>
        <p:nvCxnSpPr>
          <p:cNvPr id="31" name="Straight Arrow Connector 30"/>
          <p:cNvCxnSpPr/>
          <p:nvPr/>
        </p:nvCxnSpPr>
        <p:spPr>
          <a:xfrm>
            <a:off x="1465943" y="3871883"/>
            <a:ext cx="1601963" cy="0"/>
          </a:xfrm>
          <a:prstGeom prst="straightConnector1">
            <a:avLst/>
          </a:prstGeom>
          <a:ln w="19050">
            <a:solidFill>
              <a:schemeClr val="bg1">
                <a:lumMod val="75000"/>
              </a:schemeClr>
            </a:solidFill>
            <a:headEnd type="none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5624286" y="3871883"/>
            <a:ext cx="895708" cy="0"/>
          </a:xfrm>
          <a:prstGeom prst="straightConnector1">
            <a:avLst/>
          </a:prstGeom>
          <a:ln w="19050">
            <a:solidFill>
              <a:schemeClr val="bg1">
                <a:lumMod val="75000"/>
              </a:schemeClr>
            </a:solidFill>
            <a:headEnd type="none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>
            <a:off x="9074586" y="3865948"/>
            <a:ext cx="909988" cy="0"/>
          </a:xfrm>
          <a:prstGeom prst="straightConnector1">
            <a:avLst/>
          </a:prstGeom>
          <a:ln w="19050">
            <a:solidFill>
              <a:schemeClr val="bg1">
                <a:lumMod val="75000"/>
              </a:schemeClr>
            </a:solidFill>
            <a:headEnd type="none"/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ctor: Elbow 33"/>
          <p:cNvCxnSpPr/>
          <p:nvPr/>
        </p:nvCxnSpPr>
        <p:spPr>
          <a:xfrm rot="10800000" flipH="1">
            <a:off x="10365540" y="2923381"/>
            <a:ext cx="88374" cy="1784806"/>
          </a:xfrm>
          <a:prstGeom prst="bentConnector3">
            <a:avLst>
              <a:gd name="adj1" fmla="val -424686"/>
            </a:avLst>
          </a:prstGeom>
          <a:ln w="19050">
            <a:solidFill>
              <a:schemeClr val="bg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or: Elbow 34"/>
          <p:cNvCxnSpPr>
            <a:stCxn id="10" idx="3"/>
            <a:endCxn id="12" idx="3"/>
          </p:cNvCxnSpPr>
          <p:nvPr/>
        </p:nvCxnSpPr>
        <p:spPr>
          <a:xfrm flipH="1">
            <a:off x="1473289" y="2634343"/>
            <a:ext cx="62698" cy="2471058"/>
          </a:xfrm>
          <a:prstGeom prst="bentConnector3">
            <a:avLst>
              <a:gd name="adj1" fmla="val -442637"/>
            </a:avLst>
          </a:prstGeom>
          <a:ln w="19050"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826495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</p:sp>
      <p:sp>
        <p:nvSpPr>
          <p:cNvPr id="7" name="Rectangle 6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21564" y="320040"/>
            <a:ext cx="11548872" cy="6217920"/>
          </a:xfrm>
          <a:prstGeom prst="rect">
            <a:avLst/>
          </a:prstGeom>
          <a:solidFill>
            <a:schemeClr val="tx1">
              <a:alpha val="8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cxnSp>
        <p:nvCxnSpPr>
          <p:cNvPr id="14" name="Straight Connector 7"/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055891" y="2057399"/>
            <a:ext cx="0" cy="27432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380588" y="965199"/>
            <a:ext cx="6766078" cy="4927601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5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zure Data Lake Store</a:t>
            </a:r>
          </a:p>
        </p:txBody>
      </p:sp>
    </p:spTree>
    <p:extLst>
      <p:ext uri="{BB962C8B-B14F-4D97-AF65-F5344CB8AC3E}">
        <p14:creationId xmlns:p14="http://schemas.microsoft.com/office/powerpoint/2010/main" val="301431258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GB" dirty="0">
                <a:solidFill>
                  <a:srgbClr val="00B0F0"/>
                </a:solidFill>
              </a:rPr>
              <a:t>Data Lake Store</a:t>
            </a:r>
          </a:p>
        </p:txBody>
      </p:sp>
      <p:sp>
        <p:nvSpPr>
          <p:cNvPr id="9" name="Text Placeholder 3"/>
          <p:cNvSpPr txBox="1">
            <a:spLocks/>
          </p:cNvSpPr>
          <p:nvPr/>
        </p:nvSpPr>
        <p:spPr>
          <a:xfrm>
            <a:off x="1224249" y="1929292"/>
            <a:ext cx="9743502" cy="3580467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36145" marR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2800" kern="1200" spc="0" baseline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572691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6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784338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4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008435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2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32531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2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3200" dirty="0">
                <a:solidFill>
                  <a:schemeClr val="tx1"/>
                </a:solidFill>
              </a:rPr>
              <a:t>Petabyte size files and Trillions of objects</a:t>
            </a:r>
          </a:p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3200" dirty="0">
                <a:solidFill>
                  <a:schemeClr val="tx1"/>
                </a:solidFill>
              </a:rPr>
              <a:t>Scalable throughput for massively parallel analytics</a:t>
            </a:r>
          </a:p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3200" dirty="0">
                <a:solidFill>
                  <a:schemeClr val="tx1"/>
                </a:solidFill>
              </a:rPr>
              <a:t>HDFS for the cloud</a:t>
            </a:r>
          </a:p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3200" dirty="0">
                <a:solidFill>
                  <a:schemeClr val="tx1"/>
                </a:solidFill>
              </a:rPr>
              <a:t>Always encrypted, role-based security &amp; auditing</a:t>
            </a:r>
          </a:p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3200" dirty="0">
                <a:solidFill>
                  <a:schemeClr val="tx1"/>
                </a:solidFill>
              </a:rPr>
              <a:t>Enterprise-grade support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3528" y="5214497"/>
            <a:ext cx="1508446" cy="1508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4365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868" y="11391"/>
            <a:ext cx="10515600" cy="903734"/>
          </a:xfrm>
        </p:spPr>
        <p:txBody>
          <a:bodyPr/>
          <a:lstStyle/>
          <a:p>
            <a:pPr algn="ctr"/>
            <a:r>
              <a:rPr lang="en-GB" dirty="0">
                <a:solidFill>
                  <a:srgbClr val="0070C0"/>
                </a:solidFill>
              </a:rPr>
              <a:t>Data on Azure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81717" y="1627174"/>
            <a:ext cx="5116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rgbClr val="0070C0"/>
                </a:solidFill>
              </a:rPr>
              <a:t>VMs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18533" y="2447803"/>
            <a:ext cx="1019836" cy="138960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7868" y="2525714"/>
            <a:ext cx="591660" cy="933660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2365627" y="1589853"/>
            <a:ext cx="72564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400" dirty="0">
                <a:solidFill>
                  <a:srgbClr val="0070C0"/>
                </a:solidFill>
              </a:rPr>
              <a:t>Azure</a:t>
            </a:r>
          </a:p>
          <a:p>
            <a:pPr algn="ctr"/>
            <a:r>
              <a:rPr lang="en-GB" sz="1400" dirty="0">
                <a:solidFill>
                  <a:srgbClr val="0070C0"/>
                </a:solidFill>
              </a:rPr>
              <a:t>storage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97125" y="4806180"/>
            <a:ext cx="584820" cy="886588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95723" y="3225273"/>
            <a:ext cx="584820" cy="933660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95723" y="2356593"/>
            <a:ext cx="584820" cy="933660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62775" y="2482616"/>
            <a:ext cx="697680" cy="1049940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773284" y="2535927"/>
            <a:ext cx="584820" cy="933660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870331" y="2525714"/>
            <a:ext cx="584820" cy="803700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658199" y="2475366"/>
            <a:ext cx="598500" cy="933660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3852070" y="1660643"/>
            <a:ext cx="209778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400" dirty="0">
                <a:solidFill>
                  <a:srgbClr val="0070C0"/>
                </a:solidFill>
              </a:rPr>
              <a:t>Relational</a:t>
            </a:r>
          </a:p>
        </p:txBody>
      </p:sp>
      <p:sp>
        <p:nvSpPr>
          <p:cNvPr id="31" name="Rectangle 30"/>
          <p:cNvSpPr/>
          <p:nvPr/>
        </p:nvSpPr>
        <p:spPr>
          <a:xfrm>
            <a:off x="7674515" y="1608533"/>
            <a:ext cx="130234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400" dirty="0">
                <a:solidFill>
                  <a:srgbClr val="0070C0"/>
                </a:solidFill>
              </a:rPr>
              <a:t>Big Data</a:t>
            </a:r>
          </a:p>
        </p:txBody>
      </p:sp>
      <p:sp>
        <p:nvSpPr>
          <p:cNvPr id="32" name="Rectangle 31"/>
          <p:cNvSpPr/>
          <p:nvPr/>
        </p:nvSpPr>
        <p:spPr>
          <a:xfrm>
            <a:off x="6495562" y="1611518"/>
            <a:ext cx="95699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400" dirty="0">
                <a:solidFill>
                  <a:srgbClr val="0070C0"/>
                </a:solidFill>
              </a:rPr>
              <a:t>NoSQL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779962" y="2540756"/>
            <a:ext cx="584820" cy="933660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423788" y="2443493"/>
            <a:ext cx="655647" cy="1082399"/>
          </a:xfrm>
          <a:prstGeom prst="rect">
            <a:avLst/>
          </a:prstGeom>
        </p:spPr>
      </p:pic>
      <p:sp>
        <p:nvSpPr>
          <p:cNvPr id="38" name="Rectangle 37"/>
          <p:cNvSpPr/>
          <p:nvPr/>
        </p:nvSpPr>
        <p:spPr>
          <a:xfrm>
            <a:off x="9593184" y="1750449"/>
            <a:ext cx="94522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400" dirty="0">
                <a:solidFill>
                  <a:srgbClr val="0070C0"/>
                </a:solidFill>
              </a:rPr>
              <a:t>Cache</a:t>
            </a:r>
          </a:p>
        </p:txBody>
      </p:sp>
      <p:sp>
        <p:nvSpPr>
          <p:cNvPr id="39" name="Rectangle 38"/>
          <p:cNvSpPr/>
          <p:nvPr/>
        </p:nvSpPr>
        <p:spPr>
          <a:xfrm>
            <a:off x="10693733" y="1746804"/>
            <a:ext cx="94522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400" dirty="0">
                <a:solidFill>
                  <a:srgbClr val="0070C0"/>
                </a:solidFill>
              </a:rPr>
              <a:t>Search</a:t>
            </a: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156982" y="5755225"/>
            <a:ext cx="1261980" cy="886588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495562" y="4708788"/>
            <a:ext cx="584820" cy="886588"/>
          </a:xfrm>
          <a:prstGeom prst="rect">
            <a:avLst/>
          </a:prstGeom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574699" y="5692768"/>
            <a:ext cx="577980" cy="84437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1774994" y="919904"/>
            <a:ext cx="9863961" cy="369332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1"/>
            <a:tileRect/>
          </a:gradFill>
        </p:spPr>
        <p:txBody>
          <a:bodyPr wrap="square">
            <a:spAutoFit/>
          </a:bodyPr>
          <a:lstStyle/>
          <a:p>
            <a:pPr algn="ctr"/>
            <a:r>
              <a:rPr lang="en-GB" dirty="0">
                <a:solidFill>
                  <a:srgbClr val="0070C0"/>
                </a:solidFill>
              </a:rPr>
              <a:t>services</a:t>
            </a:r>
            <a:endParaRPr lang="en-GB" dirty="0"/>
          </a:p>
        </p:txBody>
      </p:sp>
      <p:cxnSp>
        <p:nvCxnSpPr>
          <p:cNvPr id="29" name="Straight Connector 28"/>
          <p:cNvCxnSpPr/>
          <p:nvPr/>
        </p:nvCxnSpPr>
        <p:spPr>
          <a:xfrm>
            <a:off x="1774994" y="1589853"/>
            <a:ext cx="0" cy="267190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9160952" y="1627174"/>
            <a:ext cx="0" cy="267190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/>
          <p:cNvGrpSpPr/>
          <p:nvPr/>
        </p:nvGrpSpPr>
        <p:grpSpPr>
          <a:xfrm>
            <a:off x="7966542" y="4112699"/>
            <a:ext cx="718288" cy="774205"/>
            <a:chOff x="7966541" y="4158933"/>
            <a:chExt cx="718288" cy="774205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28864" y="4158933"/>
              <a:ext cx="593643" cy="593643"/>
            </a:xfrm>
            <a:prstGeom prst="rect">
              <a:avLst/>
            </a:prstGeom>
          </p:spPr>
        </p:pic>
        <p:sp>
          <p:nvSpPr>
            <p:cNvPr id="5" name="TextBox 4"/>
            <p:cNvSpPr txBox="1"/>
            <p:nvPr/>
          </p:nvSpPr>
          <p:spPr>
            <a:xfrm>
              <a:off x="7966541" y="4679222"/>
              <a:ext cx="718288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000" dirty="0">
                  <a:latin typeface="+mj-lt"/>
                </a:rPr>
                <a:t>HDInsight</a:t>
              </a:r>
              <a:endParaRPr lang="en-GB" sz="1050" dirty="0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5560034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Rectangle 367"/>
          <p:cNvSpPr/>
          <p:nvPr/>
        </p:nvSpPr>
        <p:spPr bwMode="auto">
          <a:xfrm>
            <a:off x="8005795" y="3328805"/>
            <a:ext cx="3799115" cy="3243262"/>
          </a:xfrm>
          <a:prstGeom prst="rect">
            <a:avLst/>
          </a:prstGeom>
          <a:solidFill>
            <a:schemeClr val="accent3">
              <a:alpha val="5000"/>
            </a:schemeClr>
          </a:solidFill>
          <a:ln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31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1A41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HDInsight</a:t>
            </a:r>
          </a:p>
        </p:txBody>
      </p:sp>
      <p:sp>
        <p:nvSpPr>
          <p:cNvPr id="365" name="Rectangle 364"/>
          <p:cNvSpPr/>
          <p:nvPr/>
        </p:nvSpPr>
        <p:spPr bwMode="auto">
          <a:xfrm>
            <a:off x="8005794" y="1957711"/>
            <a:ext cx="3799115" cy="1251342"/>
          </a:xfrm>
          <a:prstGeom prst="rect">
            <a:avLst/>
          </a:prstGeom>
          <a:solidFill>
            <a:schemeClr val="accent3">
              <a:alpha val="5000"/>
            </a:schemeClr>
          </a:solidFill>
          <a:ln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1A41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Azure Data Lake Analytics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3904058" y="4700111"/>
            <a:ext cx="2702185" cy="56665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ctr" defTabSz="91431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BCF2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Azure Data Lake Store</a:t>
            </a:r>
          </a:p>
        </p:txBody>
      </p:sp>
      <p:pic>
        <p:nvPicPr>
          <p:cNvPr id="56" name="Picture 55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628" y="2571391"/>
            <a:ext cx="334894" cy="334894"/>
          </a:xfrm>
          <a:prstGeom prst="rect">
            <a:avLst/>
          </a:prstGeom>
        </p:spPr>
      </p:pic>
      <p:pic>
        <p:nvPicPr>
          <p:cNvPr id="58" name="Picture 2" descr="http://www.ebaytechblog.com/wp-content/uploads/2014/05/spark_logo.png"/>
          <p:cNvPicPr>
            <a:picLocks noChangeAspect="1" noChangeArrowheads="1"/>
          </p:cNvPicPr>
          <p:nvPr/>
        </p:nvPicPr>
        <p:blipFill>
          <a:blip r:embed="rId12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8967" y="5085640"/>
            <a:ext cx="513039" cy="2723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964319" y="5877747"/>
            <a:ext cx="532092" cy="478880"/>
          </a:xfrm>
          <a:prstGeom prst="rect">
            <a:avLst/>
          </a:prstGeom>
        </p:spPr>
      </p:pic>
      <p:pic>
        <p:nvPicPr>
          <p:cNvPr id="60" name="Graphic 17"/>
          <p:cNvPicPr>
            <a:picLocks noChangeAspect="1"/>
          </p:cNvPicPr>
          <p:nvPr/>
        </p:nvPicPr>
        <p:blipFill rotWithShape="1"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 l="9019" t="29789" r="9019" b="29789"/>
          <a:stretch/>
        </p:blipFill>
        <p:spPr>
          <a:xfrm>
            <a:off x="10858129" y="4135371"/>
            <a:ext cx="824334" cy="314148"/>
          </a:xfrm>
          <a:prstGeom prst="rect">
            <a:avLst/>
          </a:prstGeom>
        </p:spPr>
      </p:pic>
      <p:pic>
        <p:nvPicPr>
          <p:cNvPr id="78" name="Picture 77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5823" y="5909113"/>
            <a:ext cx="564158" cy="416148"/>
          </a:xfrm>
          <a:prstGeom prst="rect">
            <a:avLst/>
          </a:prstGeom>
        </p:spPr>
      </p:pic>
      <p:sp>
        <p:nvSpPr>
          <p:cNvPr id="128" name="Rectangle 127"/>
          <p:cNvSpPr/>
          <p:nvPr>
            <p:custDataLst>
              <p:tags r:id="rId1"/>
            </p:custDataLst>
          </p:nvPr>
        </p:nvSpPr>
        <p:spPr bwMode="auto">
          <a:xfrm>
            <a:off x="415312" y="2534392"/>
            <a:ext cx="2090057" cy="546066"/>
          </a:xfrm>
          <a:prstGeom prst="rect">
            <a:avLst/>
          </a:prstGeom>
          <a:solidFill>
            <a:schemeClr val="accent3"/>
          </a:solidFill>
          <a:ln w="3175">
            <a:noFill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0" tIns="44814" rIns="67222" bIns="448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32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D163D"/>
                </a:solidFill>
                <a:effectLst/>
                <a:uLnTx/>
                <a:uFillTx/>
                <a:latin typeface="Segoe UI"/>
              </a:rPr>
              <a:t>LOB Applications</a:t>
            </a:r>
          </a:p>
        </p:txBody>
      </p:sp>
      <p:sp>
        <p:nvSpPr>
          <p:cNvPr id="119" name="Rectangle 118"/>
          <p:cNvSpPr/>
          <p:nvPr>
            <p:custDataLst>
              <p:tags r:id="rId2"/>
            </p:custDataLst>
          </p:nvPr>
        </p:nvSpPr>
        <p:spPr bwMode="auto">
          <a:xfrm>
            <a:off x="415312" y="4280197"/>
            <a:ext cx="2090057" cy="546066"/>
          </a:xfrm>
          <a:prstGeom prst="rect">
            <a:avLst/>
          </a:prstGeom>
          <a:solidFill>
            <a:schemeClr val="accent3"/>
          </a:solidFill>
          <a:ln w="3175">
            <a:noFill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0" tIns="44814" rIns="67222" bIns="448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32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D163D"/>
                </a:solidFill>
                <a:effectLst/>
                <a:uLnTx/>
                <a:uFillTx/>
                <a:latin typeface="Segoe UI"/>
              </a:rPr>
              <a:t>Social</a:t>
            </a:r>
          </a:p>
        </p:txBody>
      </p:sp>
      <p:sp>
        <p:nvSpPr>
          <p:cNvPr id="126" name="Rectangle 125"/>
          <p:cNvSpPr/>
          <p:nvPr>
            <p:custDataLst>
              <p:tags r:id="rId3"/>
            </p:custDataLst>
          </p:nvPr>
        </p:nvSpPr>
        <p:spPr bwMode="auto">
          <a:xfrm>
            <a:off x="415312" y="1952457"/>
            <a:ext cx="2090057" cy="546066"/>
          </a:xfrm>
          <a:prstGeom prst="rect">
            <a:avLst/>
          </a:prstGeom>
          <a:solidFill>
            <a:schemeClr val="accent3"/>
          </a:solidFill>
          <a:ln w="3175">
            <a:noFill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0" tIns="44814" rIns="67222" bIns="448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32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D163D"/>
                </a:solidFill>
                <a:effectLst/>
                <a:uLnTx/>
                <a:uFillTx/>
                <a:latin typeface="Segoe UI"/>
              </a:rPr>
              <a:t>Devices</a:t>
            </a:r>
          </a:p>
        </p:txBody>
      </p:sp>
      <p:sp>
        <p:nvSpPr>
          <p:cNvPr id="116" name="Rectangle 115"/>
          <p:cNvSpPr/>
          <p:nvPr>
            <p:custDataLst>
              <p:tags r:id="rId4"/>
            </p:custDataLst>
          </p:nvPr>
        </p:nvSpPr>
        <p:spPr bwMode="auto">
          <a:xfrm>
            <a:off x="415312" y="6026002"/>
            <a:ext cx="2090057" cy="546066"/>
          </a:xfrm>
          <a:prstGeom prst="rect">
            <a:avLst/>
          </a:prstGeom>
          <a:solidFill>
            <a:schemeClr val="accent3"/>
          </a:solidFill>
          <a:ln w="3175">
            <a:noFill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0" tIns="44814" rIns="67222" bIns="448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32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D163D"/>
                </a:solidFill>
                <a:effectLst/>
                <a:uLnTx/>
                <a:uFillTx/>
                <a:latin typeface="Segoe UI"/>
              </a:rPr>
              <a:t>Clickstream</a:t>
            </a:r>
          </a:p>
        </p:txBody>
      </p:sp>
      <p:sp>
        <p:nvSpPr>
          <p:cNvPr id="117" name="Rectangle 116"/>
          <p:cNvSpPr/>
          <p:nvPr>
            <p:custDataLst>
              <p:tags r:id="rId5"/>
            </p:custDataLst>
          </p:nvPr>
        </p:nvSpPr>
        <p:spPr bwMode="auto">
          <a:xfrm>
            <a:off x="415312" y="5444067"/>
            <a:ext cx="2090057" cy="546066"/>
          </a:xfrm>
          <a:prstGeom prst="rect">
            <a:avLst/>
          </a:prstGeom>
          <a:solidFill>
            <a:schemeClr val="accent3"/>
          </a:solidFill>
          <a:ln w="3175">
            <a:noFill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0" tIns="44814" rIns="67222" bIns="448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32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D163D"/>
                </a:solidFill>
                <a:effectLst/>
                <a:uLnTx/>
                <a:uFillTx/>
                <a:latin typeface="Segoe UI"/>
              </a:rPr>
              <a:t>Sensors</a:t>
            </a:r>
          </a:p>
        </p:txBody>
      </p:sp>
      <p:sp>
        <p:nvSpPr>
          <p:cNvPr id="118" name="Rectangle 117"/>
          <p:cNvSpPr/>
          <p:nvPr>
            <p:custDataLst>
              <p:tags r:id="rId6"/>
            </p:custDataLst>
          </p:nvPr>
        </p:nvSpPr>
        <p:spPr bwMode="auto">
          <a:xfrm>
            <a:off x="415312" y="4862132"/>
            <a:ext cx="2090057" cy="546066"/>
          </a:xfrm>
          <a:prstGeom prst="rect">
            <a:avLst/>
          </a:prstGeom>
          <a:solidFill>
            <a:schemeClr val="accent3"/>
          </a:solidFill>
          <a:ln w="3175">
            <a:noFill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0" tIns="44814" rIns="67222" bIns="448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32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D163D"/>
                </a:solidFill>
                <a:effectLst/>
                <a:uLnTx/>
                <a:uFillTx/>
                <a:latin typeface="Segoe UI"/>
              </a:rPr>
              <a:t>Video</a:t>
            </a:r>
          </a:p>
        </p:txBody>
      </p:sp>
      <p:sp>
        <p:nvSpPr>
          <p:cNvPr id="125" name="Rectangle 124"/>
          <p:cNvSpPr/>
          <p:nvPr>
            <p:custDataLst>
              <p:tags r:id="rId7"/>
            </p:custDataLst>
          </p:nvPr>
        </p:nvSpPr>
        <p:spPr bwMode="auto">
          <a:xfrm>
            <a:off x="415312" y="3116327"/>
            <a:ext cx="2090057" cy="546066"/>
          </a:xfrm>
          <a:prstGeom prst="rect">
            <a:avLst/>
          </a:prstGeom>
          <a:solidFill>
            <a:schemeClr val="accent3"/>
          </a:solidFill>
          <a:ln w="3175">
            <a:noFill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0" tIns="44814" rIns="67222" bIns="448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32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D163D"/>
                </a:solidFill>
                <a:effectLst/>
                <a:uLnTx/>
                <a:uFillTx/>
                <a:latin typeface="Segoe UI"/>
              </a:rPr>
              <a:t>Web</a:t>
            </a:r>
          </a:p>
        </p:txBody>
      </p:sp>
      <p:sp>
        <p:nvSpPr>
          <p:cNvPr id="127" name="Rectangle 126"/>
          <p:cNvSpPr/>
          <p:nvPr>
            <p:custDataLst>
              <p:tags r:id="rId8"/>
            </p:custDataLst>
          </p:nvPr>
        </p:nvSpPr>
        <p:spPr bwMode="auto">
          <a:xfrm>
            <a:off x="415312" y="3698262"/>
            <a:ext cx="2090057" cy="546066"/>
          </a:xfrm>
          <a:prstGeom prst="rect">
            <a:avLst/>
          </a:prstGeom>
          <a:solidFill>
            <a:schemeClr val="accent3"/>
          </a:solidFill>
          <a:ln w="3175">
            <a:noFill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0" tIns="44814" rIns="67222" bIns="448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32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D163D"/>
                </a:solidFill>
                <a:effectLst/>
                <a:uLnTx/>
                <a:uFillTx/>
                <a:latin typeface="Segoe UI"/>
              </a:rPr>
              <a:t>Relational</a:t>
            </a:r>
          </a:p>
        </p:txBody>
      </p:sp>
      <p:grpSp>
        <p:nvGrpSpPr>
          <p:cNvPr id="88" name="Group 87"/>
          <p:cNvGrpSpPr/>
          <p:nvPr/>
        </p:nvGrpSpPr>
        <p:grpSpPr>
          <a:xfrm>
            <a:off x="725882" y="4337139"/>
            <a:ext cx="279006" cy="441801"/>
            <a:chOff x="2754313" y="3259138"/>
            <a:chExt cx="903288" cy="1430338"/>
          </a:xfrm>
        </p:grpSpPr>
        <p:sp>
          <p:nvSpPr>
            <p:cNvPr id="89" name="Freeform 22"/>
            <p:cNvSpPr>
              <a:spLocks/>
            </p:cNvSpPr>
            <p:nvPr/>
          </p:nvSpPr>
          <p:spPr bwMode="auto">
            <a:xfrm>
              <a:off x="2760663" y="3265488"/>
              <a:ext cx="890588" cy="1417638"/>
            </a:xfrm>
            <a:custGeom>
              <a:avLst/>
              <a:gdLst>
                <a:gd name="T0" fmla="*/ 574 w 598"/>
                <a:gd name="T1" fmla="*/ 957 h 957"/>
                <a:gd name="T2" fmla="*/ 24 w 598"/>
                <a:gd name="T3" fmla="*/ 957 h 957"/>
                <a:gd name="T4" fmla="*/ 0 w 598"/>
                <a:gd name="T5" fmla="*/ 933 h 957"/>
                <a:gd name="T6" fmla="*/ 0 w 598"/>
                <a:gd name="T7" fmla="*/ 24 h 957"/>
                <a:gd name="T8" fmla="*/ 24 w 598"/>
                <a:gd name="T9" fmla="*/ 0 h 957"/>
                <a:gd name="T10" fmla="*/ 574 w 598"/>
                <a:gd name="T11" fmla="*/ 0 h 957"/>
                <a:gd name="T12" fmla="*/ 598 w 598"/>
                <a:gd name="T13" fmla="*/ 24 h 957"/>
                <a:gd name="T14" fmla="*/ 598 w 598"/>
                <a:gd name="T15" fmla="*/ 933 h 957"/>
                <a:gd name="T16" fmla="*/ 574 w 598"/>
                <a:gd name="T17" fmla="*/ 957 h 9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8" h="957">
                  <a:moveTo>
                    <a:pt x="574" y="957"/>
                  </a:moveTo>
                  <a:cubicBezTo>
                    <a:pt x="24" y="957"/>
                    <a:pt x="24" y="957"/>
                    <a:pt x="24" y="957"/>
                  </a:cubicBezTo>
                  <a:cubicBezTo>
                    <a:pt x="11" y="957"/>
                    <a:pt x="0" y="946"/>
                    <a:pt x="0" y="93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574" y="0"/>
                    <a:pt x="574" y="0"/>
                    <a:pt x="574" y="0"/>
                  </a:cubicBezTo>
                  <a:cubicBezTo>
                    <a:pt x="587" y="0"/>
                    <a:pt x="598" y="11"/>
                    <a:pt x="598" y="24"/>
                  </a:cubicBezTo>
                  <a:cubicBezTo>
                    <a:pt x="598" y="933"/>
                    <a:pt x="598" y="933"/>
                    <a:pt x="598" y="933"/>
                  </a:cubicBezTo>
                  <a:cubicBezTo>
                    <a:pt x="598" y="946"/>
                    <a:pt x="587" y="957"/>
                    <a:pt x="574" y="957"/>
                  </a:cubicBezTo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Freeform 23"/>
            <p:cNvSpPr>
              <a:spLocks/>
            </p:cNvSpPr>
            <p:nvPr/>
          </p:nvSpPr>
          <p:spPr bwMode="auto">
            <a:xfrm>
              <a:off x="2754313" y="3259138"/>
              <a:ext cx="903288" cy="1430338"/>
            </a:xfrm>
            <a:custGeom>
              <a:avLst/>
              <a:gdLst>
                <a:gd name="T0" fmla="*/ 578 w 606"/>
                <a:gd name="T1" fmla="*/ 961 h 965"/>
                <a:gd name="T2" fmla="*/ 578 w 606"/>
                <a:gd name="T3" fmla="*/ 957 h 965"/>
                <a:gd name="T4" fmla="*/ 28 w 606"/>
                <a:gd name="T5" fmla="*/ 957 h 965"/>
                <a:gd name="T6" fmla="*/ 14 w 606"/>
                <a:gd name="T7" fmla="*/ 951 h 965"/>
                <a:gd name="T8" fmla="*/ 8 w 606"/>
                <a:gd name="T9" fmla="*/ 937 h 965"/>
                <a:gd name="T10" fmla="*/ 8 w 606"/>
                <a:gd name="T11" fmla="*/ 28 h 965"/>
                <a:gd name="T12" fmla="*/ 14 w 606"/>
                <a:gd name="T13" fmla="*/ 14 h 965"/>
                <a:gd name="T14" fmla="*/ 28 w 606"/>
                <a:gd name="T15" fmla="*/ 8 h 965"/>
                <a:gd name="T16" fmla="*/ 578 w 606"/>
                <a:gd name="T17" fmla="*/ 8 h 965"/>
                <a:gd name="T18" fmla="*/ 592 w 606"/>
                <a:gd name="T19" fmla="*/ 14 h 965"/>
                <a:gd name="T20" fmla="*/ 598 w 606"/>
                <a:gd name="T21" fmla="*/ 28 h 965"/>
                <a:gd name="T22" fmla="*/ 598 w 606"/>
                <a:gd name="T23" fmla="*/ 937 h 965"/>
                <a:gd name="T24" fmla="*/ 592 w 606"/>
                <a:gd name="T25" fmla="*/ 951 h 965"/>
                <a:gd name="T26" fmla="*/ 578 w 606"/>
                <a:gd name="T27" fmla="*/ 957 h 965"/>
                <a:gd name="T28" fmla="*/ 578 w 606"/>
                <a:gd name="T29" fmla="*/ 961 h 965"/>
                <a:gd name="T30" fmla="*/ 578 w 606"/>
                <a:gd name="T31" fmla="*/ 965 h 965"/>
                <a:gd name="T32" fmla="*/ 606 w 606"/>
                <a:gd name="T33" fmla="*/ 937 h 965"/>
                <a:gd name="T34" fmla="*/ 606 w 606"/>
                <a:gd name="T35" fmla="*/ 28 h 965"/>
                <a:gd name="T36" fmla="*/ 578 w 606"/>
                <a:gd name="T37" fmla="*/ 0 h 965"/>
                <a:gd name="T38" fmla="*/ 28 w 606"/>
                <a:gd name="T39" fmla="*/ 0 h 965"/>
                <a:gd name="T40" fmla="*/ 0 w 606"/>
                <a:gd name="T41" fmla="*/ 28 h 965"/>
                <a:gd name="T42" fmla="*/ 0 w 606"/>
                <a:gd name="T43" fmla="*/ 937 h 965"/>
                <a:gd name="T44" fmla="*/ 28 w 606"/>
                <a:gd name="T45" fmla="*/ 965 h 965"/>
                <a:gd name="T46" fmla="*/ 578 w 606"/>
                <a:gd name="T47" fmla="*/ 965 h 965"/>
                <a:gd name="T48" fmla="*/ 578 w 606"/>
                <a:gd name="T49" fmla="*/ 961 h 9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6" h="965">
                  <a:moveTo>
                    <a:pt x="578" y="961"/>
                  </a:moveTo>
                  <a:cubicBezTo>
                    <a:pt x="578" y="957"/>
                    <a:pt x="578" y="957"/>
                    <a:pt x="578" y="957"/>
                  </a:cubicBezTo>
                  <a:cubicBezTo>
                    <a:pt x="28" y="957"/>
                    <a:pt x="28" y="957"/>
                    <a:pt x="28" y="957"/>
                  </a:cubicBezTo>
                  <a:cubicBezTo>
                    <a:pt x="22" y="957"/>
                    <a:pt x="17" y="955"/>
                    <a:pt x="14" y="951"/>
                  </a:cubicBezTo>
                  <a:cubicBezTo>
                    <a:pt x="10" y="948"/>
                    <a:pt x="8" y="943"/>
                    <a:pt x="8" y="937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23"/>
                    <a:pt x="10" y="18"/>
                    <a:pt x="14" y="14"/>
                  </a:cubicBezTo>
                  <a:cubicBezTo>
                    <a:pt x="17" y="11"/>
                    <a:pt x="22" y="8"/>
                    <a:pt x="28" y="8"/>
                  </a:cubicBezTo>
                  <a:cubicBezTo>
                    <a:pt x="578" y="8"/>
                    <a:pt x="578" y="8"/>
                    <a:pt x="578" y="8"/>
                  </a:cubicBezTo>
                  <a:cubicBezTo>
                    <a:pt x="583" y="8"/>
                    <a:pt x="588" y="11"/>
                    <a:pt x="592" y="14"/>
                  </a:cubicBezTo>
                  <a:cubicBezTo>
                    <a:pt x="596" y="18"/>
                    <a:pt x="598" y="23"/>
                    <a:pt x="598" y="28"/>
                  </a:cubicBezTo>
                  <a:cubicBezTo>
                    <a:pt x="598" y="937"/>
                    <a:pt x="598" y="937"/>
                    <a:pt x="598" y="937"/>
                  </a:cubicBezTo>
                  <a:cubicBezTo>
                    <a:pt x="598" y="943"/>
                    <a:pt x="596" y="948"/>
                    <a:pt x="592" y="951"/>
                  </a:cubicBezTo>
                  <a:cubicBezTo>
                    <a:pt x="588" y="955"/>
                    <a:pt x="583" y="957"/>
                    <a:pt x="578" y="957"/>
                  </a:cubicBezTo>
                  <a:cubicBezTo>
                    <a:pt x="578" y="961"/>
                    <a:pt x="578" y="961"/>
                    <a:pt x="578" y="961"/>
                  </a:cubicBezTo>
                  <a:cubicBezTo>
                    <a:pt x="578" y="965"/>
                    <a:pt x="578" y="965"/>
                    <a:pt x="578" y="965"/>
                  </a:cubicBezTo>
                  <a:cubicBezTo>
                    <a:pt x="593" y="965"/>
                    <a:pt x="606" y="953"/>
                    <a:pt x="606" y="937"/>
                  </a:cubicBezTo>
                  <a:cubicBezTo>
                    <a:pt x="606" y="28"/>
                    <a:pt x="606" y="28"/>
                    <a:pt x="606" y="28"/>
                  </a:cubicBezTo>
                  <a:cubicBezTo>
                    <a:pt x="606" y="13"/>
                    <a:pt x="593" y="0"/>
                    <a:pt x="57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2" y="0"/>
                    <a:pt x="0" y="13"/>
                    <a:pt x="0" y="28"/>
                  </a:cubicBezTo>
                  <a:cubicBezTo>
                    <a:pt x="0" y="937"/>
                    <a:pt x="0" y="937"/>
                    <a:pt x="0" y="937"/>
                  </a:cubicBezTo>
                  <a:cubicBezTo>
                    <a:pt x="0" y="953"/>
                    <a:pt x="12" y="965"/>
                    <a:pt x="28" y="965"/>
                  </a:cubicBezTo>
                  <a:cubicBezTo>
                    <a:pt x="578" y="965"/>
                    <a:pt x="578" y="965"/>
                    <a:pt x="578" y="965"/>
                  </a:cubicBezTo>
                  <a:cubicBezTo>
                    <a:pt x="578" y="961"/>
                    <a:pt x="578" y="961"/>
                    <a:pt x="578" y="961"/>
                  </a:cubicBezTo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Freeform 24"/>
            <p:cNvSpPr>
              <a:spLocks/>
            </p:cNvSpPr>
            <p:nvPr/>
          </p:nvSpPr>
          <p:spPr bwMode="auto">
            <a:xfrm>
              <a:off x="2767013" y="3270250"/>
              <a:ext cx="879475" cy="1406525"/>
            </a:xfrm>
            <a:custGeom>
              <a:avLst/>
              <a:gdLst>
                <a:gd name="T0" fmla="*/ 570 w 590"/>
                <a:gd name="T1" fmla="*/ 0 h 949"/>
                <a:gd name="T2" fmla="*/ 20 w 590"/>
                <a:gd name="T3" fmla="*/ 0 h 949"/>
                <a:gd name="T4" fmla="*/ 6 w 590"/>
                <a:gd name="T5" fmla="*/ 6 h 949"/>
                <a:gd name="T6" fmla="*/ 0 w 590"/>
                <a:gd name="T7" fmla="*/ 20 h 949"/>
                <a:gd name="T8" fmla="*/ 0 w 590"/>
                <a:gd name="T9" fmla="*/ 929 h 949"/>
                <a:gd name="T10" fmla="*/ 6 w 590"/>
                <a:gd name="T11" fmla="*/ 943 h 949"/>
                <a:gd name="T12" fmla="*/ 20 w 590"/>
                <a:gd name="T13" fmla="*/ 949 h 949"/>
                <a:gd name="T14" fmla="*/ 570 w 590"/>
                <a:gd name="T15" fmla="*/ 949 h 949"/>
                <a:gd name="T16" fmla="*/ 584 w 590"/>
                <a:gd name="T17" fmla="*/ 943 h 949"/>
                <a:gd name="T18" fmla="*/ 590 w 590"/>
                <a:gd name="T19" fmla="*/ 929 h 949"/>
                <a:gd name="T20" fmla="*/ 590 w 590"/>
                <a:gd name="T21" fmla="*/ 20 h 949"/>
                <a:gd name="T22" fmla="*/ 584 w 590"/>
                <a:gd name="T23" fmla="*/ 6 h 949"/>
                <a:gd name="T24" fmla="*/ 570 w 590"/>
                <a:gd name="T25" fmla="*/ 0 h 9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90" h="949">
                  <a:moveTo>
                    <a:pt x="57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14" y="0"/>
                    <a:pt x="9" y="3"/>
                    <a:pt x="6" y="6"/>
                  </a:cubicBezTo>
                  <a:cubicBezTo>
                    <a:pt x="2" y="10"/>
                    <a:pt x="0" y="15"/>
                    <a:pt x="0" y="20"/>
                  </a:cubicBezTo>
                  <a:cubicBezTo>
                    <a:pt x="0" y="929"/>
                    <a:pt x="0" y="929"/>
                    <a:pt x="0" y="929"/>
                  </a:cubicBezTo>
                  <a:cubicBezTo>
                    <a:pt x="0" y="935"/>
                    <a:pt x="2" y="940"/>
                    <a:pt x="6" y="943"/>
                  </a:cubicBezTo>
                  <a:cubicBezTo>
                    <a:pt x="9" y="947"/>
                    <a:pt x="14" y="949"/>
                    <a:pt x="20" y="949"/>
                  </a:cubicBezTo>
                  <a:cubicBezTo>
                    <a:pt x="570" y="949"/>
                    <a:pt x="570" y="949"/>
                    <a:pt x="570" y="949"/>
                  </a:cubicBezTo>
                  <a:cubicBezTo>
                    <a:pt x="575" y="949"/>
                    <a:pt x="580" y="947"/>
                    <a:pt x="584" y="943"/>
                  </a:cubicBezTo>
                  <a:cubicBezTo>
                    <a:pt x="588" y="940"/>
                    <a:pt x="590" y="935"/>
                    <a:pt x="590" y="929"/>
                  </a:cubicBezTo>
                  <a:cubicBezTo>
                    <a:pt x="590" y="20"/>
                    <a:pt x="590" y="20"/>
                    <a:pt x="590" y="20"/>
                  </a:cubicBezTo>
                  <a:cubicBezTo>
                    <a:pt x="590" y="15"/>
                    <a:pt x="588" y="10"/>
                    <a:pt x="584" y="6"/>
                  </a:cubicBezTo>
                  <a:cubicBezTo>
                    <a:pt x="580" y="3"/>
                    <a:pt x="575" y="0"/>
                    <a:pt x="570" y="0"/>
                  </a:cubicBezTo>
                </a:path>
              </a:pathLst>
            </a:custGeom>
            <a:solidFill>
              <a:srgbClr val="0034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Freeform 25"/>
            <p:cNvSpPr>
              <a:spLocks noEditPoints="1"/>
            </p:cNvSpPr>
            <p:nvPr/>
          </p:nvSpPr>
          <p:spPr bwMode="auto">
            <a:xfrm>
              <a:off x="2760663" y="3265488"/>
              <a:ext cx="890588" cy="1417638"/>
            </a:xfrm>
            <a:custGeom>
              <a:avLst/>
              <a:gdLst>
                <a:gd name="T0" fmla="*/ 24 w 598"/>
                <a:gd name="T1" fmla="*/ 953 h 957"/>
                <a:gd name="T2" fmla="*/ 10 w 598"/>
                <a:gd name="T3" fmla="*/ 947 h 957"/>
                <a:gd name="T4" fmla="*/ 4 w 598"/>
                <a:gd name="T5" fmla="*/ 933 h 957"/>
                <a:gd name="T6" fmla="*/ 4 w 598"/>
                <a:gd name="T7" fmla="*/ 24 h 957"/>
                <a:gd name="T8" fmla="*/ 10 w 598"/>
                <a:gd name="T9" fmla="*/ 10 h 957"/>
                <a:gd name="T10" fmla="*/ 24 w 598"/>
                <a:gd name="T11" fmla="*/ 4 h 957"/>
                <a:gd name="T12" fmla="*/ 574 w 598"/>
                <a:gd name="T13" fmla="*/ 4 h 957"/>
                <a:gd name="T14" fmla="*/ 588 w 598"/>
                <a:gd name="T15" fmla="*/ 10 h 957"/>
                <a:gd name="T16" fmla="*/ 594 w 598"/>
                <a:gd name="T17" fmla="*/ 24 h 957"/>
                <a:gd name="T18" fmla="*/ 594 w 598"/>
                <a:gd name="T19" fmla="*/ 933 h 957"/>
                <a:gd name="T20" fmla="*/ 588 w 598"/>
                <a:gd name="T21" fmla="*/ 947 h 957"/>
                <a:gd name="T22" fmla="*/ 574 w 598"/>
                <a:gd name="T23" fmla="*/ 953 h 957"/>
                <a:gd name="T24" fmla="*/ 574 w 598"/>
                <a:gd name="T25" fmla="*/ 953 h 957"/>
                <a:gd name="T26" fmla="*/ 24 w 598"/>
                <a:gd name="T27" fmla="*/ 953 h 957"/>
                <a:gd name="T28" fmla="*/ 574 w 598"/>
                <a:gd name="T29" fmla="*/ 0 h 957"/>
                <a:gd name="T30" fmla="*/ 24 w 598"/>
                <a:gd name="T31" fmla="*/ 0 h 957"/>
                <a:gd name="T32" fmla="*/ 0 w 598"/>
                <a:gd name="T33" fmla="*/ 24 h 957"/>
                <a:gd name="T34" fmla="*/ 0 w 598"/>
                <a:gd name="T35" fmla="*/ 933 h 957"/>
                <a:gd name="T36" fmla="*/ 24 w 598"/>
                <a:gd name="T37" fmla="*/ 957 h 957"/>
                <a:gd name="T38" fmla="*/ 574 w 598"/>
                <a:gd name="T39" fmla="*/ 957 h 957"/>
                <a:gd name="T40" fmla="*/ 598 w 598"/>
                <a:gd name="T41" fmla="*/ 933 h 957"/>
                <a:gd name="T42" fmla="*/ 598 w 598"/>
                <a:gd name="T43" fmla="*/ 24 h 957"/>
                <a:gd name="T44" fmla="*/ 574 w 598"/>
                <a:gd name="T45" fmla="*/ 0 h 9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98" h="957">
                  <a:moveTo>
                    <a:pt x="24" y="953"/>
                  </a:moveTo>
                  <a:cubicBezTo>
                    <a:pt x="18" y="953"/>
                    <a:pt x="13" y="951"/>
                    <a:pt x="10" y="947"/>
                  </a:cubicBezTo>
                  <a:cubicBezTo>
                    <a:pt x="6" y="944"/>
                    <a:pt x="4" y="939"/>
                    <a:pt x="4" y="933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4" y="19"/>
                    <a:pt x="6" y="14"/>
                    <a:pt x="10" y="10"/>
                  </a:cubicBezTo>
                  <a:cubicBezTo>
                    <a:pt x="13" y="7"/>
                    <a:pt x="18" y="4"/>
                    <a:pt x="24" y="4"/>
                  </a:cubicBezTo>
                  <a:cubicBezTo>
                    <a:pt x="574" y="4"/>
                    <a:pt x="574" y="4"/>
                    <a:pt x="574" y="4"/>
                  </a:cubicBezTo>
                  <a:cubicBezTo>
                    <a:pt x="579" y="4"/>
                    <a:pt x="584" y="7"/>
                    <a:pt x="588" y="10"/>
                  </a:cubicBezTo>
                  <a:cubicBezTo>
                    <a:pt x="592" y="14"/>
                    <a:pt x="594" y="19"/>
                    <a:pt x="594" y="24"/>
                  </a:cubicBezTo>
                  <a:cubicBezTo>
                    <a:pt x="594" y="933"/>
                    <a:pt x="594" y="933"/>
                    <a:pt x="594" y="933"/>
                  </a:cubicBezTo>
                  <a:cubicBezTo>
                    <a:pt x="594" y="939"/>
                    <a:pt x="592" y="944"/>
                    <a:pt x="588" y="947"/>
                  </a:cubicBezTo>
                  <a:cubicBezTo>
                    <a:pt x="584" y="951"/>
                    <a:pt x="579" y="953"/>
                    <a:pt x="574" y="953"/>
                  </a:cubicBezTo>
                  <a:cubicBezTo>
                    <a:pt x="574" y="953"/>
                    <a:pt x="574" y="953"/>
                    <a:pt x="574" y="953"/>
                  </a:cubicBezTo>
                  <a:cubicBezTo>
                    <a:pt x="24" y="953"/>
                    <a:pt x="24" y="953"/>
                    <a:pt x="24" y="953"/>
                  </a:cubicBezTo>
                  <a:moveTo>
                    <a:pt x="57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933"/>
                    <a:pt x="0" y="933"/>
                    <a:pt x="0" y="933"/>
                  </a:cubicBezTo>
                  <a:cubicBezTo>
                    <a:pt x="0" y="946"/>
                    <a:pt x="11" y="957"/>
                    <a:pt x="24" y="957"/>
                  </a:cubicBezTo>
                  <a:cubicBezTo>
                    <a:pt x="574" y="957"/>
                    <a:pt x="574" y="957"/>
                    <a:pt x="574" y="957"/>
                  </a:cubicBezTo>
                  <a:cubicBezTo>
                    <a:pt x="587" y="957"/>
                    <a:pt x="598" y="946"/>
                    <a:pt x="598" y="933"/>
                  </a:cubicBezTo>
                  <a:cubicBezTo>
                    <a:pt x="598" y="24"/>
                    <a:pt x="598" y="24"/>
                    <a:pt x="598" y="24"/>
                  </a:cubicBezTo>
                  <a:cubicBezTo>
                    <a:pt x="598" y="11"/>
                    <a:pt x="587" y="0"/>
                    <a:pt x="574" y="0"/>
                  </a:cubicBezTo>
                </a:path>
              </a:pathLst>
            </a:custGeom>
            <a:solidFill>
              <a:srgbClr val="6E6E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Rectangle 92"/>
            <p:cNvSpPr>
              <a:spLocks noChangeArrowheads="1"/>
            </p:cNvSpPr>
            <p:nvPr/>
          </p:nvSpPr>
          <p:spPr bwMode="auto">
            <a:xfrm>
              <a:off x="2832100" y="3336925"/>
              <a:ext cx="747713" cy="12747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4" name="Rectangle 93"/>
            <p:cNvSpPr>
              <a:spLocks noChangeArrowheads="1"/>
            </p:cNvSpPr>
            <p:nvPr/>
          </p:nvSpPr>
          <p:spPr bwMode="auto">
            <a:xfrm>
              <a:off x="2832100" y="3336925"/>
              <a:ext cx="747713" cy="168275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5" name="Rectangle 94"/>
            <p:cNvSpPr>
              <a:spLocks noChangeArrowheads="1"/>
            </p:cNvSpPr>
            <p:nvPr/>
          </p:nvSpPr>
          <p:spPr bwMode="auto">
            <a:xfrm>
              <a:off x="2882900" y="4056063"/>
              <a:ext cx="249238" cy="19050"/>
            </a:xfrm>
            <a:prstGeom prst="rect">
              <a:avLst/>
            </a:prstGeom>
            <a:solidFill>
              <a:srgbClr val="5C2D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Rectangle 95"/>
            <p:cNvSpPr>
              <a:spLocks noChangeArrowheads="1"/>
            </p:cNvSpPr>
            <p:nvPr/>
          </p:nvSpPr>
          <p:spPr bwMode="auto">
            <a:xfrm>
              <a:off x="3132138" y="4056063"/>
              <a:ext cx="381000" cy="19050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Rectangle 96"/>
            <p:cNvSpPr>
              <a:spLocks noChangeArrowheads="1"/>
            </p:cNvSpPr>
            <p:nvPr/>
          </p:nvSpPr>
          <p:spPr bwMode="auto">
            <a:xfrm>
              <a:off x="2882900" y="4135438"/>
              <a:ext cx="630238" cy="17463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8" name="Rectangle 97"/>
            <p:cNvSpPr>
              <a:spLocks noChangeArrowheads="1"/>
            </p:cNvSpPr>
            <p:nvPr/>
          </p:nvSpPr>
          <p:spPr bwMode="auto">
            <a:xfrm>
              <a:off x="2882900" y="4211638"/>
              <a:ext cx="630238" cy="17463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98"/>
            <p:cNvSpPr>
              <a:spLocks noChangeArrowheads="1"/>
            </p:cNvSpPr>
            <p:nvPr/>
          </p:nvSpPr>
          <p:spPr bwMode="auto">
            <a:xfrm>
              <a:off x="2882900" y="4289425"/>
              <a:ext cx="630238" cy="17463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Rectangle 99"/>
            <p:cNvSpPr>
              <a:spLocks noChangeArrowheads="1"/>
            </p:cNvSpPr>
            <p:nvPr/>
          </p:nvSpPr>
          <p:spPr bwMode="auto">
            <a:xfrm>
              <a:off x="3230563" y="4289425"/>
              <a:ext cx="282575" cy="19050"/>
            </a:xfrm>
            <a:prstGeom prst="rect">
              <a:avLst/>
            </a:prstGeom>
            <a:solidFill>
              <a:srgbClr val="40C5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1" name="Rectangle 100"/>
            <p:cNvSpPr>
              <a:spLocks noChangeArrowheads="1"/>
            </p:cNvSpPr>
            <p:nvPr/>
          </p:nvSpPr>
          <p:spPr bwMode="auto">
            <a:xfrm>
              <a:off x="2882900" y="4365625"/>
              <a:ext cx="630238" cy="19050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2" name="Rectangle 101"/>
            <p:cNvSpPr>
              <a:spLocks noChangeArrowheads="1"/>
            </p:cNvSpPr>
            <p:nvPr/>
          </p:nvSpPr>
          <p:spPr bwMode="auto">
            <a:xfrm>
              <a:off x="2882900" y="4443413"/>
              <a:ext cx="630238" cy="17463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3" name="Rectangle 102"/>
            <p:cNvSpPr>
              <a:spLocks noChangeArrowheads="1"/>
            </p:cNvSpPr>
            <p:nvPr/>
          </p:nvSpPr>
          <p:spPr bwMode="auto">
            <a:xfrm>
              <a:off x="2882900" y="4443413"/>
              <a:ext cx="347663" cy="17463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4" name="Freeform 45"/>
            <p:cNvSpPr>
              <a:spLocks/>
            </p:cNvSpPr>
            <p:nvPr/>
          </p:nvSpPr>
          <p:spPr bwMode="auto">
            <a:xfrm>
              <a:off x="2863850" y="3722688"/>
              <a:ext cx="287338" cy="339725"/>
            </a:xfrm>
            <a:custGeom>
              <a:avLst/>
              <a:gdLst>
                <a:gd name="T0" fmla="*/ 164 w 193"/>
                <a:gd name="T1" fmla="*/ 113 h 229"/>
                <a:gd name="T2" fmla="*/ 97 w 193"/>
                <a:gd name="T3" fmla="*/ 229 h 229"/>
                <a:gd name="T4" fmla="*/ 30 w 193"/>
                <a:gd name="T5" fmla="*/ 113 h 229"/>
                <a:gd name="T6" fmla="*/ 95 w 193"/>
                <a:gd name="T7" fmla="*/ 0 h 229"/>
                <a:gd name="T8" fmla="*/ 98 w 193"/>
                <a:gd name="T9" fmla="*/ 0 h 229"/>
                <a:gd name="T10" fmla="*/ 164 w 193"/>
                <a:gd name="T11" fmla="*/ 113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3" h="229">
                  <a:moveTo>
                    <a:pt x="164" y="113"/>
                  </a:moveTo>
                  <a:cubicBezTo>
                    <a:pt x="97" y="229"/>
                    <a:pt x="97" y="229"/>
                    <a:pt x="97" y="229"/>
                  </a:cubicBezTo>
                  <a:cubicBezTo>
                    <a:pt x="30" y="113"/>
                    <a:pt x="30" y="113"/>
                    <a:pt x="30" y="113"/>
                  </a:cubicBezTo>
                  <a:cubicBezTo>
                    <a:pt x="0" y="63"/>
                    <a:pt x="37" y="0"/>
                    <a:pt x="95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156" y="0"/>
                    <a:pt x="193" y="63"/>
                    <a:pt x="164" y="113"/>
                  </a:cubicBezTo>
                  <a:close/>
                </a:path>
              </a:pathLst>
            </a:custGeom>
            <a:solidFill>
              <a:srgbClr val="5C2D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5" name="Freeform 46"/>
            <p:cNvSpPr>
              <a:spLocks/>
            </p:cNvSpPr>
            <p:nvPr/>
          </p:nvSpPr>
          <p:spPr bwMode="auto">
            <a:xfrm>
              <a:off x="2946400" y="3759200"/>
              <a:ext cx="120650" cy="217488"/>
            </a:xfrm>
            <a:custGeom>
              <a:avLst/>
              <a:gdLst>
                <a:gd name="T0" fmla="*/ 81 w 81"/>
                <a:gd name="T1" fmla="*/ 78 h 147"/>
                <a:gd name="T2" fmla="*/ 78 w 81"/>
                <a:gd name="T3" fmla="*/ 71 h 147"/>
                <a:gd name="T4" fmla="*/ 78 w 81"/>
                <a:gd name="T5" fmla="*/ 64 h 147"/>
                <a:gd name="T6" fmla="*/ 78 w 81"/>
                <a:gd name="T7" fmla="*/ 57 h 147"/>
                <a:gd name="T8" fmla="*/ 58 w 81"/>
                <a:gd name="T9" fmla="*/ 24 h 147"/>
                <a:gd name="T10" fmla="*/ 59 w 81"/>
                <a:gd name="T11" fmla="*/ 18 h 147"/>
                <a:gd name="T12" fmla="*/ 41 w 81"/>
                <a:gd name="T13" fmla="*/ 0 h 147"/>
                <a:gd name="T14" fmla="*/ 23 w 81"/>
                <a:gd name="T15" fmla="*/ 18 h 147"/>
                <a:gd name="T16" fmla="*/ 23 w 81"/>
                <a:gd name="T17" fmla="*/ 24 h 147"/>
                <a:gd name="T18" fmla="*/ 3 w 81"/>
                <a:gd name="T19" fmla="*/ 57 h 147"/>
                <a:gd name="T20" fmla="*/ 3 w 81"/>
                <a:gd name="T21" fmla="*/ 64 h 147"/>
                <a:gd name="T22" fmla="*/ 3 w 81"/>
                <a:gd name="T23" fmla="*/ 72 h 147"/>
                <a:gd name="T24" fmla="*/ 0 w 81"/>
                <a:gd name="T25" fmla="*/ 78 h 147"/>
                <a:gd name="T26" fmla="*/ 3 w 81"/>
                <a:gd name="T27" fmla="*/ 84 h 147"/>
                <a:gd name="T28" fmla="*/ 3 w 81"/>
                <a:gd name="T29" fmla="*/ 96 h 147"/>
                <a:gd name="T30" fmla="*/ 8 w 81"/>
                <a:gd name="T31" fmla="*/ 110 h 147"/>
                <a:gd name="T32" fmla="*/ 8 w 81"/>
                <a:gd name="T33" fmla="*/ 110 h 147"/>
                <a:gd name="T34" fmla="*/ 8 w 81"/>
                <a:gd name="T35" fmla="*/ 92 h 147"/>
                <a:gd name="T36" fmla="*/ 24 w 81"/>
                <a:gd name="T37" fmla="*/ 111 h 147"/>
                <a:gd name="T38" fmla="*/ 24 w 81"/>
                <a:gd name="T39" fmla="*/ 122 h 147"/>
                <a:gd name="T40" fmla="*/ 15 w 81"/>
                <a:gd name="T41" fmla="*/ 122 h 147"/>
                <a:gd name="T42" fmla="*/ 41 w 81"/>
                <a:gd name="T43" fmla="*/ 147 h 147"/>
                <a:gd name="T44" fmla="*/ 66 w 81"/>
                <a:gd name="T45" fmla="*/ 122 h 147"/>
                <a:gd name="T46" fmla="*/ 58 w 81"/>
                <a:gd name="T47" fmla="*/ 122 h 147"/>
                <a:gd name="T48" fmla="*/ 58 w 81"/>
                <a:gd name="T49" fmla="*/ 111 h 147"/>
                <a:gd name="T50" fmla="*/ 73 w 81"/>
                <a:gd name="T51" fmla="*/ 92 h 147"/>
                <a:gd name="T52" fmla="*/ 73 w 81"/>
                <a:gd name="T53" fmla="*/ 110 h 147"/>
                <a:gd name="T54" fmla="*/ 73 w 81"/>
                <a:gd name="T55" fmla="*/ 110 h 147"/>
                <a:gd name="T56" fmla="*/ 78 w 81"/>
                <a:gd name="T57" fmla="*/ 96 h 147"/>
                <a:gd name="T58" fmla="*/ 78 w 81"/>
                <a:gd name="T59" fmla="*/ 84 h 147"/>
                <a:gd name="T60" fmla="*/ 81 w 81"/>
                <a:gd name="T61" fmla="*/ 78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1" h="147">
                  <a:moveTo>
                    <a:pt x="81" y="78"/>
                  </a:moveTo>
                  <a:cubicBezTo>
                    <a:pt x="81" y="75"/>
                    <a:pt x="80" y="73"/>
                    <a:pt x="78" y="71"/>
                  </a:cubicBezTo>
                  <a:cubicBezTo>
                    <a:pt x="78" y="64"/>
                    <a:pt x="78" y="64"/>
                    <a:pt x="78" y="64"/>
                  </a:cubicBezTo>
                  <a:cubicBezTo>
                    <a:pt x="78" y="57"/>
                    <a:pt x="78" y="57"/>
                    <a:pt x="78" y="57"/>
                  </a:cubicBezTo>
                  <a:cubicBezTo>
                    <a:pt x="78" y="42"/>
                    <a:pt x="70" y="30"/>
                    <a:pt x="58" y="24"/>
                  </a:cubicBezTo>
                  <a:cubicBezTo>
                    <a:pt x="58" y="22"/>
                    <a:pt x="59" y="20"/>
                    <a:pt x="59" y="18"/>
                  </a:cubicBezTo>
                  <a:cubicBezTo>
                    <a:pt x="59" y="8"/>
                    <a:pt x="51" y="0"/>
                    <a:pt x="41" y="0"/>
                  </a:cubicBezTo>
                  <a:cubicBezTo>
                    <a:pt x="31" y="0"/>
                    <a:pt x="23" y="8"/>
                    <a:pt x="23" y="18"/>
                  </a:cubicBezTo>
                  <a:cubicBezTo>
                    <a:pt x="23" y="20"/>
                    <a:pt x="23" y="22"/>
                    <a:pt x="23" y="24"/>
                  </a:cubicBezTo>
                  <a:cubicBezTo>
                    <a:pt x="11" y="30"/>
                    <a:pt x="3" y="42"/>
                    <a:pt x="3" y="57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72"/>
                    <a:pt x="3" y="72"/>
                    <a:pt x="3" y="72"/>
                  </a:cubicBezTo>
                  <a:cubicBezTo>
                    <a:pt x="1" y="73"/>
                    <a:pt x="0" y="75"/>
                    <a:pt x="0" y="78"/>
                  </a:cubicBezTo>
                  <a:cubicBezTo>
                    <a:pt x="0" y="80"/>
                    <a:pt x="1" y="83"/>
                    <a:pt x="3" y="84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101"/>
                    <a:pt x="5" y="106"/>
                    <a:pt x="8" y="110"/>
                  </a:cubicBezTo>
                  <a:cubicBezTo>
                    <a:pt x="8" y="110"/>
                    <a:pt x="8" y="110"/>
                    <a:pt x="8" y="110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11" y="100"/>
                    <a:pt x="16" y="107"/>
                    <a:pt x="24" y="111"/>
                  </a:cubicBezTo>
                  <a:cubicBezTo>
                    <a:pt x="24" y="122"/>
                    <a:pt x="24" y="122"/>
                    <a:pt x="24" y="122"/>
                  </a:cubicBezTo>
                  <a:cubicBezTo>
                    <a:pt x="15" y="122"/>
                    <a:pt x="15" y="122"/>
                    <a:pt x="15" y="122"/>
                  </a:cubicBezTo>
                  <a:cubicBezTo>
                    <a:pt x="15" y="136"/>
                    <a:pt x="27" y="147"/>
                    <a:pt x="41" y="147"/>
                  </a:cubicBezTo>
                  <a:cubicBezTo>
                    <a:pt x="55" y="147"/>
                    <a:pt x="66" y="136"/>
                    <a:pt x="66" y="122"/>
                  </a:cubicBezTo>
                  <a:cubicBezTo>
                    <a:pt x="58" y="122"/>
                    <a:pt x="58" y="122"/>
                    <a:pt x="58" y="122"/>
                  </a:cubicBezTo>
                  <a:cubicBezTo>
                    <a:pt x="58" y="111"/>
                    <a:pt x="58" y="111"/>
                    <a:pt x="58" y="111"/>
                  </a:cubicBezTo>
                  <a:cubicBezTo>
                    <a:pt x="65" y="107"/>
                    <a:pt x="70" y="100"/>
                    <a:pt x="73" y="92"/>
                  </a:cubicBezTo>
                  <a:cubicBezTo>
                    <a:pt x="73" y="110"/>
                    <a:pt x="73" y="110"/>
                    <a:pt x="73" y="110"/>
                  </a:cubicBezTo>
                  <a:cubicBezTo>
                    <a:pt x="73" y="110"/>
                    <a:pt x="73" y="110"/>
                    <a:pt x="73" y="110"/>
                  </a:cubicBezTo>
                  <a:cubicBezTo>
                    <a:pt x="76" y="106"/>
                    <a:pt x="78" y="101"/>
                    <a:pt x="78" y="96"/>
                  </a:cubicBezTo>
                  <a:cubicBezTo>
                    <a:pt x="78" y="84"/>
                    <a:pt x="78" y="84"/>
                    <a:pt x="78" y="84"/>
                  </a:cubicBezTo>
                  <a:cubicBezTo>
                    <a:pt x="80" y="83"/>
                    <a:pt x="81" y="80"/>
                    <a:pt x="81" y="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6" name="Freeform 47"/>
            <p:cNvSpPr>
              <a:spLocks/>
            </p:cNvSpPr>
            <p:nvPr/>
          </p:nvSpPr>
          <p:spPr bwMode="auto">
            <a:xfrm>
              <a:off x="3228975" y="3956050"/>
              <a:ext cx="285750" cy="339725"/>
            </a:xfrm>
            <a:custGeom>
              <a:avLst/>
              <a:gdLst>
                <a:gd name="T0" fmla="*/ 163 w 192"/>
                <a:gd name="T1" fmla="*/ 114 h 230"/>
                <a:gd name="T2" fmla="*/ 96 w 192"/>
                <a:gd name="T3" fmla="*/ 230 h 230"/>
                <a:gd name="T4" fmla="*/ 29 w 192"/>
                <a:gd name="T5" fmla="*/ 114 h 230"/>
                <a:gd name="T6" fmla="*/ 95 w 192"/>
                <a:gd name="T7" fmla="*/ 0 h 230"/>
                <a:gd name="T8" fmla="*/ 97 w 192"/>
                <a:gd name="T9" fmla="*/ 0 h 230"/>
                <a:gd name="T10" fmla="*/ 163 w 192"/>
                <a:gd name="T11" fmla="*/ 11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2" h="230">
                  <a:moveTo>
                    <a:pt x="163" y="114"/>
                  </a:moveTo>
                  <a:cubicBezTo>
                    <a:pt x="96" y="230"/>
                    <a:pt x="96" y="230"/>
                    <a:pt x="96" y="230"/>
                  </a:cubicBezTo>
                  <a:cubicBezTo>
                    <a:pt x="29" y="114"/>
                    <a:pt x="29" y="114"/>
                    <a:pt x="29" y="114"/>
                  </a:cubicBezTo>
                  <a:cubicBezTo>
                    <a:pt x="0" y="64"/>
                    <a:pt x="36" y="0"/>
                    <a:pt x="95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156" y="0"/>
                    <a:pt x="192" y="63"/>
                    <a:pt x="163" y="114"/>
                  </a:cubicBezTo>
                  <a:close/>
                </a:path>
              </a:pathLst>
            </a:custGeom>
            <a:solidFill>
              <a:srgbClr val="40C5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7" name="Freeform 48"/>
            <p:cNvSpPr>
              <a:spLocks/>
            </p:cNvSpPr>
            <p:nvPr/>
          </p:nvSpPr>
          <p:spPr bwMode="auto">
            <a:xfrm>
              <a:off x="2913063" y="4111625"/>
              <a:ext cx="285750" cy="339725"/>
            </a:xfrm>
            <a:custGeom>
              <a:avLst/>
              <a:gdLst>
                <a:gd name="T0" fmla="*/ 163 w 192"/>
                <a:gd name="T1" fmla="*/ 114 h 230"/>
                <a:gd name="T2" fmla="*/ 96 w 192"/>
                <a:gd name="T3" fmla="*/ 230 h 230"/>
                <a:gd name="T4" fmla="*/ 29 w 192"/>
                <a:gd name="T5" fmla="*/ 114 h 230"/>
                <a:gd name="T6" fmla="*/ 94 w 192"/>
                <a:gd name="T7" fmla="*/ 0 h 230"/>
                <a:gd name="T8" fmla="*/ 97 w 192"/>
                <a:gd name="T9" fmla="*/ 0 h 230"/>
                <a:gd name="T10" fmla="*/ 163 w 192"/>
                <a:gd name="T11" fmla="*/ 11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2" h="230">
                  <a:moveTo>
                    <a:pt x="163" y="114"/>
                  </a:moveTo>
                  <a:cubicBezTo>
                    <a:pt x="96" y="230"/>
                    <a:pt x="96" y="230"/>
                    <a:pt x="96" y="230"/>
                  </a:cubicBezTo>
                  <a:cubicBezTo>
                    <a:pt x="29" y="114"/>
                    <a:pt x="29" y="114"/>
                    <a:pt x="29" y="114"/>
                  </a:cubicBezTo>
                  <a:cubicBezTo>
                    <a:pt x="0" y="64"/>
                    <a:pt x="36" y="0"/>
                    <a:pt x="94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155" y="0"/>
                    <a:pt x="192" y="64"/>
                    <a:pt x="163" y="114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8" name="Freeform 51"/>
            <p:cNvSpPr>
              <a:spLocks/>
            </p:cNvSpPr>
            <p:nvPr/>
          </p:nvSpPr>
          <p:spPr bwMode="auto">
            <a:xfrm>
              <a:off x="3308350" y="3992563"/>
              <a:ext cx="127000" cy="201613"/>
            </a:xfrm>
            <a:custGeom>
              <a:avLst/>
              <a:gdLst>
                <a:gd name="T0" fmla="*/ 86 w 86"/>
                <a:gd name="T1" fmla="*/ 62 h 136"/>
                <a:gd name="T2" fmla="*/ 84 w 86"/>
                <a:gd name="T3" fmla="*/ 57 h 136"/>
                <a:gd name="T4" fmla="*/ 84 w 86"/>
                <a:gd name="T5" fmla="*/ 40 h 136"/>
                <a:gd name="T6" fmla="*/ 43 w 86"/>
                <a:gd name="T7" fmla="*/ 0 h 136"/>
                <a:gd name="T8" fmla="*/ 42 w 86"/>
                <a:gd name="T9" fmla="*/ 0 h 136"/>
                <a:gd name="T10" fmla="*/ 2 w 86"/>
                <a:gd name="T11" fmla="*/ 40 h 136"/>
                <a:gd name="T12" fmla="*/ 2 w 86"/>
                <a:gd name="T13" fmla="*/ 57 h 136"/>
                <a:gd name="T14" fmla="*/ 0 w 86"/>
                <a:gd name="T15" fmla="*/ 62 h 136"/>
                <a:gd name="T16" fmla="*/ 2 w 86"/>
                <a:gd name="T17" fmla="*/ 68 h 136"/>
                <a:gd name="T18" fmla="*/ 2 w 86"/>
                <a:gd name="T19" fmla="*/ 102 h 136"/>
                <a:gd name="T20" fmla="*/ 3 w 86"/>
                <a:gd name="T21" fmla="*/ 102 h 136"/>
                <a:gd name="T22" fmla="*/ 23 w 86"/>
                <a:gd name="T23" fmla="*/ 96 h 136"/>
                <a:gd name="T24" fmla="*/ 25 w 86"/>
                <a:gd name="T25" fmla="*/ 97 h 136"/>
                <a:gd name="T26" fmla="*/ 25 w 86"/>
                <a:gd name="T27" fmla="*/ 109 h 136"/>
                <a:gd name="T28" fmla="*/ 16 w 86"/>
                <a:gd name="T29" fmla="*/ 109 h 136"/>
                <a:gd name="T30" fmla="*/ 43 w 86"/>
                <a:gd name="T31" fmla="*/ 136 h 136"/>
                <a:gd name="T32" fmla="*/ 70 w 86"/>
                <a:gd name="T33" fmla="*/ 109 h 136"/>
                <a:gd name="T34" fmla="*/ 61 w 86"/>
                <a:gd name="T35" fmla="*/ 109 h 136"/>
                <a:gd name="T36" fmla="*/ 61 w 86"/>
                <a:gd name="T37" fmla="*/ 97 h 136"/>
                <a:gd name="T38" fmla="*/ 63 w 86"/>
                <a:gd name="T39" fmla="*/ 96 h 136"/>
                <a:gd name="T40" fmla="*/ 83 w 86"/>
                <a:gd name="T41" fmla="*/ 102 h 136"/>
                <a:gd name="T42" fmla="*/ 84 w 86"/>
                <a:gd name="T43" fmla="*/ 102 h 136"/>
                <a:gd name="T44" fmla="*/ 84 w 86"/>
                <a:gd name="T45" fmla="*/ 68 h 136"/>
                <a:gd name="T46" fmla="*/ 86 w 86"/>
                <a:gd name="T47" fmla="*/ 62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6" h="136">
                  <a:moveTo>
                    <a:pt x="86" y="62"/>
                  </a:moveTo>
                  <a:cubicBezTo>
                    <a:pt x="86" y="60"/>
                    <a:pt x="85" y="58"/>
                    <a:pt x="84" y="57"/>
                  </a:cubicBezTo>
                  <a:cubicBezTo>
                    <a:pt x="84" y="40"/>
                    <a:pt x="84" y="40"/>
                    <a:pt x="84" y="40"/>
                  </a:cubicBezTo>
                  <a:cubicBezTo>
                    <a:pt x="84" y="18"/>
                    <a:pt x="66" y="0"/>
                    <a:pt x="43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20" y="0"/>
                    <a:pt x="2" y="18"/>
                    <a:pt x="2" y="40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1" y="58"/>
                    <a:pt x="0" y="60"/>
                    <a:pt x="0" y="62"/>
                  </a:cubicBezTo>
                  <a:cubicBezTo>
                    <a:pt x="0" y="64"/>
                    <a:pt x="1" y="66"/>
                    <a:pt x="2" y="68"/>
                  </a:cubicBezTo>
                  <a:cubicBezTo>
                    <a:pt x="2" y="102"/>
                    <a:pt x="2" y="102"/>
                    <a:pt x="2" y="102"/>
                  </a:cubicBezTo>
                  <a:cubicBezTo>
                    <a:pt x="3" y="102"/>
                    <a:pt x="3" y="102"/>
                    <a:pt x="3" y="102"/>
                  </a:cubicBezTo>
                  <a:cubicBezTo>
                    <a:pt x="10" y="102"/>
                    <a:pt x="17" y="100"/>
                    <a:pt x="23" y="96"/>
                  </a:cubicBezTo>
                  <a:cubicBezTo>
                    <a:pt x="24" y="97"/>
                    <a:pt x="24" y="97"/>
                    <a:pt x="25" y="97"/>
                  </a:cubicBezTo>
                  <a:cubicBezTo>
                    <a:pt x="25" y="109"/>
                    <a:pt x="25" y="109"/>
                    <a:pt x="25" y="109"/>
                  </a:cubicBezTo>
                  <a:cubicBezTo>
                    <a:pt x="16" y="109"/>
                    <a:pt x="16" y="109"/>
                    <a:pt x="16" y="109"/>
                  </a:cubicBezTo>
                  <a:cubicBezTo>
                    <a:pt x="16" y="124"/>
                    <a:pt x="28" y="136"/>
                    <a:pt x="43" y="136"/>
                  </a:cubicBezTo>
                  <a:cubicBezTo>
                    <a:pt x="58" y="136"/>
                    <a:pt x="70" y="124"/>
                    <a:pt x="70" y="109"/>
                  </a:cubicBezTo>
                  <a:cubicBezTo>
                    <a:pt x="61" y="109"/>
                    <a:pt x="61" y="109"/>
                    <a:pt x="61" y="109"/>
                  </a:cubicBezTo>
                  <a:cubicBezTo>
                    <a:pt x="61" y="97"/>
                    <a:pt x="61" y="97"/>
                    <a:pt x="61" y="97"/>
                  </a:cubicBezTo>
                  <a:cubicBezTo>
                    <a:pt x="61" y="97"/>
                    <a:pt x="62" y="97"/>
                    <a:pt x="63" y="96"/>
                  </a:cubicBezTo>
                  <a:cubicBezTo>
                    <a:pt x="69" y="100"/>
                    <a:pt x="76" y="102"/>
                    <a:pt x="83" y="102"/>
                  </a:cubicBezTo>
                  <a:cubicBezTo>
                    <a:pt x="84" y="102"/>
                    <a:pt x="84" y="102"/>
                    <a:pt x="84" y="102"/>
                  </a:cubicBezTo>
                  <a:cubicBezTo>
                    <a:pt x="84" y="68"/>
                    <a:pt x="84" y="68"/>
                    <a:pt x="84" y="68"/>
                  </a:cubicBezTo>
                  <a:cubicBezTo>
                    <a:pt x="85" y="66"/>
                    <a:pt x="86" y="64"/>
                    <a:pt x="86" y="6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0" name="Rectangle 109"/>
            <p:cNvSpPr>
              <a:spLocks noChangeArrowheads="1"/>
            </p:cNvSpPr>
            <p:nvPr/>
          </p:nvSpPr>
          <p:spPr bwMode="auto">
            <a:xfrm>
              <a:off x="3127375" y="3576638"/>
              <a:ext cx="396875" cy="22225"/>
            </a:xfrm>
            <a:prstGeom prst="rect">
              <a:avLst/>
            </a:prstGeom>
            <a:solidFill>
              <a:srgbClr val="C4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1" name="Rectangle 110"/>
            <p:cNvSpPr>
              <a:spLocks noChangeArrowheads="1"/>
            </p:cNvSpPr>
            <p:nvPr/>
          </p:nvSpPr>
          <p:spPr bwMode="auto">
            <a:xfrm>
              <a:off x="2889250" y="3576638"/>
              <a:ext cx="79375" cy="22225"/>
            </a:xfrm>
            <a:prstGeom prst="rect">
              <a:avLst/>
            </a:prstGeom>
            <a:solidFill>
              <a:srgbClr val="C4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2" name="Rectangle 111"/>
            <p:cNvSpPr>
              <a:spLocks noChangeArrowheads="1"/>
            </p:cNvSpPr>
            <p:nvPr/>
          </p:nvSpPr>
          <p:spPr bwMode="auto">
            <a:xfrm>
              <a:off x="3008313" y="3576638"/>
              <a:ext cx="80963" cy="22225"/>
            </a:xfrm>
            <a:prstGeom prst="rect">
              <a:avLst/>
            </a:prstGeom>
            <a:solidFill>
              <a:srgbClr val="C4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3" name="Rectangle 112"/>
            <p:cNvSpPr>
              <a:spLocks noChangeArrowheads="1"/>
            </p:cNvSpPr>
            <p:nvPr/>
          </p:nvSpPr>
          <p:spPr bwMode="auto">
            <a:xfrm>
              <a:off x="3467100" y="3394075"/>
              <a:ext cx="73025" cy="63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4" name="Freeform 59"/>
            <p:cNvSpPr>
              <a:spLocks/>
            </p:cNvSpPr>
            <p:nvPr/>
          </p:nvSpPr>
          <p:spPr bwMode="auto">
            <a:xfrm>
              <a:off x="3467100" y="3394075"/>
              <a:ext cx="73025" cy="6350"/>
            </a:xfrm>
            <a:custGeom>
              <a:avLst/>
              <a:gdLst>
                <a:gd name="T0" fmla="*/ 0 w 46"/>
                <a:gd name="T1" fmla="*/ 4 h 4"/>
                <a:gd name="T2" fmla="*/ 46 w 46"/>
                <a:gd name="T3" fmla="*/ 4 h 4"/>
                <a:gd name="T4" fmla="*/ 46 w 46"/>
                <a:gd name="T5" fmla="*/ 0 h 4"/>
                <a:gd name="T6" fmla="*/ 0 w 4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" h="4">
                  <a:moveTo>
                    <a:pt x="0" y="4"/>
                  </a:moveTo>
                  <a:lnTo>
                    <a:pt x="46" y="4"/>
                  </a:lnTo>
                  <a:lnTo>
                    <a:pt x="46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5" name="Rectangle 114"/>
            <p:cNvSpPr>
              <a:spLocks noChangeArrowheads="1"/>
            </p:cNvSpPr>
            <p:nvPr/>
          </p:nvSpPr>
          <p:spPr bwMode="auto">
            <a:xfrm>
              <a:off x="3467100" y="3414713"/>
              <a:ext cx="73025" cy="63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 61"/>
            <p:cNvSpPr>
              <a:spLocks/>
            </p:cNvSpPr>
            <p:nvPr/>
          </p:nvSpPr>
          <p:spPr bwMode="auto">
            <a:xfrm>
              <a:off x="3467100" y="3414713"/>
              <a:ext cx="73025" cy="6350"/>
            </a:xfrm>
            <a:custGeom>
              <a:avLst/>
              <a:gdLst>
                <a:gd name="T0" fmla="*/ 0 w 46"/>
                <a:gd name="T1" fmla="*/ 4 h 4"/>
                <a:gd name="T2" fmla="*/ 46 w 46"/>
                <a:gd name="T3" fmla="*/ 4 h 4"/>
                <a:gd name="T4" fmla="*/ 46 w 46"/>
                <a:gd name="T5" fmla="*/ 0 h 4"/>
                <a:gd name="T6" fmla="*/ 0 w 4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" h="4">
                  <a:moveTo>
                    <a:pt x="0" y="4"/>
                  </a:moveTo>
                  <a:lnTo>
                    <a:pt x="46" y="4"/>
                  </a:lnTo>
                  <a:lnTo>
                    <a:pt x="46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Rectangle 134"/>
            <p:cNvSpPr>
              <a:spLocks noChangeArrowheads="1"/>
            </p:cNvSpPr>
            <p:nvPr/>
          </p:nvSpPr>
          <p:spPr bwMode="auto">
            <a:xfrm>
              <a:off x="3467100" y="3435350"/>
              <a:ext cx="73025" cy="63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 63"/>
            <p:cNvSpPr>
              <a:spLocks/>
            </p:cNvSpPr>
            <p:nvPr/>
          </p:nvSpPr>
          <p:spPr bwMode="auto">
            <a:xfrm>
              <a:off x="3467100" y="3435350"/>
              <a:ext cx="73025" cy="6350"/>
            </a:xfrm>
            <a:custGeom>
              <a:avLst/>
              <a:gdLst>
                <a:gd name="T0" fmla="*/ 0 w 46"/>
                <a:gd name="T1" fmla="*/ 4 h 4"/>
                <a:gd name="T2" fmla="*/ 46 w 46"/>
                <a:gd name="T3" fmla="*/ 4 h 4"/>
                <a:gd name="T4" fmla="*/ 46 w 46"/>
                <a:gd name="T5" fmla="*/ 0 h 4"/>
                <a:gd name="T6" fmla="*/ 0 w 4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" h="4">
                  <a:moveTo>
                    <a:pt x="0" y="4"/>
                  </a:moveTo>
                  <a:lnTo>
                    <a:pt x="46" y="4"/>
                  </a:lnTo>
                  <a:lnTo>
                    <a:pt x="46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 64"/>
            <p:cNvSpPr>
              <a:spLocks/>
            </p:cNvSpPr>
            <p:nvPr/>
          </p:nvSpPr>
          <p:spPr bwMode="auto">
            <a:xfrm>
              <a:off x="2984500" y="4151313"/>
              <a:ext cx="141288" cy="214313"/>
            </a:xfrm>
            <a:custGeom>
              <a:avLst/>
              <a:gdLst>
                <a:gd name="T0" fmla="*/ 95 w 95"/>
                <a:gd name="T1" fmla="*/ 69 h 145"/>
                <a:gd name="T2" fmla="*/ 93 w 95"/>
                <a:gd name="T3" fmla="*/ 63 h 145"/>
                <a:gd name="T4" fmla="*/ 93 w 95"/>
                <a:gd name="T5" fmla="*/ 45 h 145"/>
                <a:gd name="T6" fmla="*/ 48 w 95"/>
                <a:gd name="T7" fmla="*/ 0 h 145"/>
                <a:gd name="T8" fmla="*/ 47 w 95"/>
                <a:gd name="T9" fmla="*/ 0 h 145"/>
                <a:gd name="T10" fmla="*/ 3 w 95"/>
                <a:gd name="T11" fmla="*/ 45 h 145"/>
                <a:gd name="T12" fmla="*/ 3 w 95"/>
                <a:gd name="T13" fmla="*/ 63 h 145"/>
                <a:gd name="T14" fmla="*/ 0 w 95"/>
                <a:gd name="T15" fmla="*/ 69 h 145"/>
                <a:gd name="T16" fmla="*/ 9 w 95"/>
                <a:gd name="T17" fmla="*/ 78 h 145"/>
                <a:gd name="T18" fmla="*/ 9 w 95"/>
                <a:gd name="T19" fmla="*/ 80 h 145"/>
                <a:gd name="T20" fmla="*/ 24 w 95"/>
                <a:gd name="T21" fmla="*/ 112 h 145"/>
                <a:gd name="T22" fmla="*/ 24 w 95"/>
                <a:gd name="T23" fmla="*/ 121 h 145"/>
                <a:gd name="T24" fmla="*/ 48 w 95"/>
                <a:gd name="T25" fmla="*/ 145 h 145"/>
                <a:gd name="T26" fmla="*/ 48 w 95"/>
                <a:gd name="T27" fmla="*/ 145 h 145"/>
                <a:gd name="T28" fmla="*/ 72 w 95"/>
                <a:gd name="T29" fmla="*/ 121 h 145"/>
                <a:gd name="T30" fmla="*/ 72 w 95"/>
                <a:gd name="T31" fmla="*/ 112 h 145"/>
                <a:gd name="T32" fmla="*/ 87 w 95"/>
                <a:gd name="T33" fmla="*/ 80 h 145"/>
                <a:gd name="T34" fmla="*/ 87 w 95"/>
                <a:gd name="T35" fmla="*/ 78 h 145"/>
                <a:gd name="T36" fmla="*/ 95 w 95"/>
                <a:gd name="T37" fmla="*/ 69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5" h="145">
                  <a:moveTo>
                    <a:pt x="95" y="69"/>
                  </a:moveTo>
                  <a:cubicBezTo>
                    <a:pt x="95" y="67"/>
                    <a:pt x="94" y="65"/>
                    <a:pt x="93" y="63"/>
                  </a:cubicBezTo>
                  <a:cubicBezTo>
                    <a:pt x="93" y="45"/>
                    <a:pt x="93" y="45"/>
                    <a:pt x="93" y="45"/>
                  </a:cubicBezTo>
                  <a:cubicBezTo>
                    <a:pt x="93" y="20"/>
                    <a:pt x="73" y="0"/>
                    <a:pt x="48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23" y="0"/>
                    <a:pt x="3" y="20"/>
                    <a:pt x="3" y="45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1" y="65"/>
                    <a:pt x="0" y="67"/>
                    <a:pt x="0" y="69"/>
                  </a:cubicBezTo>
                  <a:cubicBezTo>
                    <a:pt x="0" y="74"/>
                    <a:pt x="4" y="78"/>
                    <a:pt x="9" y="78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8" y="93"/>
                    <a:pt x="14" y="105"/>
                    <a:pt x="24" y="112"/>
                  </a:cubicBezTo>
                  <a:cubicBezTo>
                    <a:pt x="24" y="121"/>
                    <a:pt x="24" y="121"/>
                    <a:pt x="24" y="121"/>
                  </a:cubicBezTo>
                  <a:cubicBezTo>
                    <a:pt x="24" y="134"/>
                    <a:pt x="34" y="145"/>
                    <a:pt x="48" y="145"/>
                  </a:cubicBezTo>
                  <a:cubicBezTo>
                    <a:pt x="48" y="145"/>
                    <a:pt x="48" y="145"/>
                    <a:pt x="48" y="145"/>
                  </a:cubicBezTo>
                  <a:cubicBezTo>
                    <a:pt x="61" y="145"/>
                    <a:pt x="72" y="134"/>
                    <a:pt x="72" y="121"/>
                  </a:cubicBezTo>
                  <a:cubicBezTo>
                    <a:pt x="72" y="112"/>
                    <a:pt x="72" y="112"/>
                    <a:pt x="72" y="112"/>
                  </a:cubicBezTo>
                  <a:cubicBezTo>
                    <a:pt x="82" y="105"/>
                    <a:pt x="88" y="93"/>
                    <a:pt x="87" y="80"/>
                  </a:cubicBezTo>
                  <a:cubicBezTo>
                    <a:pt x="87" y="78"/>
                    <a:pt x="87" y="78"/>
                    <a:pt x="87" y="78"/>
                  </a:cubicBezTo>
                  <a:cubicBezTo>
                    <a:pt x="92" y="78"/>
                    <a:pt x="95" y="74"/>
                    <a:pt x="95" y="6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147" name="Picture 146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15941" y="5023153"/>
            <a:ext cx="510718" cy="230532"/>
          </a:xfrm>
          <a:prstGeom prst="rect">
            <a:avLst/>
          </a:prstGeom>
        </p:spPr>
      </p:pic>
      <p:pic>
        <p:nvPicPr>
          <p:cNvPr id="149" name="Picture 148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50394" y="3209053"/>
            <a:ext cx="327488" cy="379886"/>
          </a:xfrm>
          <a:prstGeom prst="rect">
            <a:avLst/>
          </a:prstGeom>
        </p:spPr>
      </p:pic>
      <p:pic>
        <p:nvPicPr>
          <p:cNvPr id="150" name="Picture 149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546436" y="6164943"/>
            <a:ext cx="514824" cy="289588"/>
          </a:xfrm>
          <a:prstGeom prst="rect">
            <a:avLst/>
          </a:prstGeom>
        </p:spPr>
      </p:pic>
      <p:pic>
        <p:nvPicPr>
          <p:cNvPr id="152" name="Picture 151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615535" y="5590171"/>
            <a:ext cx="471891" cy="304764"/>
          </a:xfrm>
          <a:prstGeom prst="rect">
            <a:avLst/>
          </a:prstGeom>
        </p:spPr>
      </p:pic>
      <p:grpSp>
        <p:nvGrpSpPr>
          <p:cNvPr id="257" name="Group 256"/>
          <p:cNvGrpSpPr/>
          <p:nvPr/>
        </p:nvGrpSpPr>
        <p:grpSpPr>
          <a:xfrm>
            <a:off x="582771" y="2533623"/>
            <a:ext cx="434402" cy="495296"/>
            <a:chOff x="9326946" y="4815560"/>
            <a:chExt cx="1438275" cy="1639889"/>
          </a:xfrm>
        </p:grpSpPr>
        <p:sp>
          <p:nvSpPr>
            <p:cNvPr id="242" name="Freeform 6"/>
            <p:cNvSpPr>
              <a:spLocks/>
            </p:cNvSpPr>
            <p:nvPr/>
          </p:nvSpPr>
          <p:spPr bwMode="auto">
            <a:xfrm>
              <a:off x="9842883" y="5331498"/>
              <a:ext cx="411162" cy="188913"/>
            </a:xfrm>
            <a:custGeom>
              <a:avLst/>
              <a:gdLst>
                <a:gd name="T0" fmla="*/ 70 w 409"/>
                <a:gd name="T1" fmla="*/ 189 h 189"/>
                <a:gd name="T2" fmla="*/ 70 w 409"/>
                <a:gd name="T3" fmla="*/ 66 h 189"/>
                <a:gd name="T4" fmla="*/ 339 w 409"/>
                <a:gd name="T5" fmla="*/ 66 h 189"/>
                <a:gd name="T6" fmla="*/ 339 w 409"/>
                <a:gd name="T7" fmla="*/ 189 h 189"/>
                <a:gd name="T8" fmla="*/ 409 w 409"/>
                <a:gd name="T9" fmla="*/ 189 h 189"/>
                <a:gd name="T10" fmla="*/ 409 w 409"/>
                <a:gd name="T11" fmla="*/ 35 h 189"/>
                <a:gd name="T12" fmla="*/ 374 w 409"/>
                <a:gd name="T13" fmla="*/ 0 h 189"/>
                <a:gd name="T14" fmla="*/ 35 w 409"/>
                <a:gd name="T15" fmla="*/ 0 h 189"/>
                <a:gd name="T16" fmla="*/ 0 w 409"/>
                <a:gd name="T17" fmla="*/ 35 h 189"/>
                <a:gd name="T18" fmla="*/ 0 w 409"/>
                <a:gd name="T19" fmla="*/ 189 h 189"/>
                <a:gd name="T20" fmla="*/ 70 w 409"/>
                <a:gd name="T21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9" h="189">
                  <a:moveTo>
                    <a:pt x="70" y="189"/>
                  </a:moveTo>
                  <a:cubicBezTo>
                    <a:pt x="70" y="66"/>
                    <a:pt x="70" y="66"/>
                    <a:pt x="70" y="66"/>
                  </a:cubicBezTo>
                  <a:cubicBezTo>
                    <a:pt x="339" y="66"/>
                    <a:pt x="339" y="66"/>
                    <a:pt x="339" y="66"/>
                  </a:cubicBezTo>
                  <a:cubicBezTo>
                    <a:pt x="339" y="189"/>
                    <a:pt x="339" y="189"/>
                    <a:pt x="339" y="189"/>
                  </a:cubicBezTo>
                  <a:cubicBezTo>
                    <a:pt x="409" y="189"/>
                    <a:pt x="409" y="189"/>
                    <a:pt x="409" y="189"/>
                  </a:cubicBezTo>
                  <a:cubicBezTo>
                    <a:pt x="409" y="35"/>
                    <a:pt x="409" y="35"/>
                    <a:pt x="409" y="35"/>
                  </a:cubicBezTo>
                  <a:cubicBezTo>
                    <a:pt x="409" y="15"/>
                    <a:pt x="394" y="0"/>
                    <a:pt x="374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15" y="0"/>
                    <a:pt x="0" y="15"/>
                    <a:pt x="0" y="35"/>
                  </a:cubicBezTo>
                  <a:cubicBezTo>
                    <a:pt x="0" y="189"/>
                    <a:pt x="0" y="189"/>
                    <a:pt x="0" y="189"/>
                  </a:cubicBezTo>
                  <a:lnTo>
                    <a:pt x="70" y="189"/>
                  </a:lnTo>
                  <a:close/>
                </a:path>
              </a:pathLst>
            </a:custGeom>
            <a:solidFill>
              <a:srgbClr val="E81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4" name="Freeform 8"/>
            <p:cNvSpPr>
              <a:spLocks/>
            </p:cNvSpPr>
            <p:nvPr/>
          </p:nvSpPr>
          <p:spPr bwMode="auto">
            <a:xfrm>
              <a:off x="9461883" y="5518823"/>
              <a:ext cx="1168400" cy="719138"/>
            </a:xfrm>
            <a:custGeom>
              <a:avLst/>
              <a:gdLst>
                <a:gd name="T0" fmla="*/ 1161 w 1161"/>
                <a:gd name="T1" fmla="*/ 711 h 721"/>
                <a:gd name="T2" fmla="*/ 1151 w 1161"/>
                <a:gd name="T3" fmla="*/ 721 h 721"/>
                <a:gd name="T4" fmla="*/ 10 w 1161"/>
                <a:gd name="T5" fmla="*/ 721 h 721"/>
                <a:gd name="T6" fmla="*/ 0 w 1161"/>
                <a:gd name="T7" fmla="*/ 711 h 721"/>
                <a:gd name="T8" fmla="*/ 0 w 1161"/>
                <a:gd name="T9" fmla="*/ 10 h 721"/>
                <a:gd name="T10" fmla="*/ 10 w 1161"/>
                <a:gd name="T11" fmla="*/ 0 h 721"/>
                <a:gd name="T12" fmla="*/ 1151 w 1161"/>
                <a:gd name="T13" fmla="*/ 0 h 721"/>
                <a:gd name="T14" fmla="*/ 1161 w 1161"/>
                <a:gd name="T15" fmla="*/ 10 h 721"/>
                <a:gd name="T16" fmla="*/ 1161 w 1161"/>
                <a:gd name="T17" fmla="*/ 711 h 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61" h="721">
                  <a:moveTo>
                    <a:pt x="1161" y="711"/>
                  </a:moveTo>
                  <a:cubicBezTo>
                    <a:pt x="1161" y="716"/>
                    <a:pt x="1157" y="721"/>
                    <a:pt x="1151" y="721"/>
                  </a:cubicBezTo>
                  <a:cubicBezTo>
                    <a:pt x="10" y="721"/>
                    <a:pt x="10" y="721"/>
                    <a:pt x="10" y="721"/>
                  </a:cubicBezTo>
                  <a:cubicBezTo>
                    <a:pt x="4" y="721"/>
                    <a:pt x="0" y="716"/>
                    <a:pt x="0" y="711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151" y="0"/>
                    <a:pt x="1151" y="0"/>
                    <a:pt x="1151" y="0"/>
                  </a:cubicBezTo>
                  <a:cubicBezTo>
                    <a:pt x="1157" y="0"/>
                    <a:pt x="1161" y="4"/>
                    <a:pt x="1161" y="10"/>
                  </a:cubicBezTo>
                  <a:lnTo>
                    <a:pt x="1161" y="71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5" name="Freeform 9"/>
            <p:cNvSpPr>
              <a:spLocks/>
            </p:cNvSpPr>
            <p:nvPr/>
          </p:nvSpPr>
          <p:spPr bwMode="auto">
            <a:xfrm>
              <a:off x="9552371" y="5610898"/>
              <a:ext cx="987425" cy="541338"/>
            </a:xfrm>
            <a:custGeom>
              <a:avLst/>
              <a:gdLst>
                <a:gd name="T0" fmla="*/ 980 w 980"/>
                <a:gd name="T1" fmla="*/ 530 h 543"/>
                <a:gd name="T2" fmla="*/ 967 w 980"/>
                <a:gd name="T3" fmla="*/ 543 h 543"/>
                <a:gd name="T4" fmla="*/ 14 w 980"/>
                <a:gd name="T5" fmla="*/ 543 h 543"/>
                <a:gd name="T6" fmla="*/ 0 w 980"/>
                <a:gd name="T7" fmla="*/ 530 h 543"/>
                <a:gd name="T8" fmla="*/ 0 w 980"/>
                <a:gd name="T9" fmla="*/ 13 h 543"/>
                <a:gd name="T10" fmla="*/ 14 w 980"/>
                <a:gd name="T11" fmla="*/ 0 h 543"/>
                <a:gd name="T12" fmla="*/ 967 w 980"/>
                <a:gd name="T13" fmla="*/ 0 h 543"/>
                <a:gd name="T14" fmla="*/ 980 w 980"/>
                <a:gd name="T15" fmla="*/ 13 h 543"/>
                <a:gd name="T16" fmla="*/ 980 w 980"/>
                <a:gd name="T17" fmla="*/ 530 h 5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80" h="543">
                  <a:moveTo>
                    <a:pt x="980" y="530"/>
                  </a:moveTo>
                  <a:cubicBezTo>
                    <a:pt x="980" y="537"/>
                    <a:pt x="974" y="543"/>
                    <a:pt x="967" y="543"/>
                  </a:cubicBezTo>
                  <a:cubicBezTo>
                    <a:pt x="14" y="543"/>
                    <a:pt x="14" y="543"/>
                    <a:pt x="14" y="543"/>
                  </a:cubicBezTo>
                  <a:cubicBezTo>
                    <a:pt x="6" y="543"/>
                    <a:pt x="0" y="537"/>
                    <a:pt x="0" y="53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974" y="0"/>
                    <a:pt x="980" y="6"/>
                    <a:pt x="980" y="13"/>
                  </a:cubicBezTo>
                  <a:lnTo>
                    <a:pt x="980" y="530"/>
                  </a:lnTo>
                  <a:close/>
                </a:path>
              </a:pathLst>
            </a:custGeom>
            <a:solidFill>
              <a:srgbClr val="E81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6" name="Freeform 10"/>
            <p:cNvSpPr>
              <a:spLocks/>
            </p:cNvSpPr>
            <p:nvPr/>
          </p:nvSpPr>
          <p:spPr bwMode="auto">
            <a:xfrm>
              <a:off x="9552371" y="5774411"/>
              <a:ext cx="987425" cy="377825"/>
            </a:xfrm>
            <a:custGeom>
              <a:avLst/>
              <a:gdLst>
                <a:gd name="T0" fmla="*/ 490 w 980"/>
                <a:gd name="T1" fmla="*/ 148 h 379"/>
                <a:gd name="T2" fmla="*/ 0 w 980"/>
                <a:gd name="T3" fmla="*/ 0 h 379"/>
                <a:gd name="T4" fmla="*/ 0 w 980"/>
                <a:gd name="T5" fmla="*/ 366 h 379"/>
                <a:gd name="T6" fmla="*/ 14 w 980"/>
                <a:gd name="T7" fmla="*/ 379 h 379"/>
                <a:gd name="T8" fmla="*/ 967 w 980"/>
                <a:gd name="T9" fmla="*/ 379 h 379"/>
                <a:gd name="T10" fmla="*/ 980 w 980"/>
                <a:gd name="T11" fmla="*/ 366 h 379"/>
                <a:gd name="T12" fmla="*/ 980 w 980"/>
                <a:gd name="T13" fmla="*/ 0 h 379"/>
                <a:gd name="T14" fmla="*/ 490 w 980"/>
                <a:gd name="T15" fmla="*/ 148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0" h="379">
                  <a:moveTo>
                    <a:pt x="490" y="148"/>
                  </a:moveTo>
                  <a:cubicBezTo>
                    <a:pt x="202" y="148"/>
                    <a:pt x="31" y="24"/>
                    <a:pt x="0" y="0"/>
                  </a:cubicBezTo>
                  <a:cubicBezTo>
                    <a:pt x="0" y="366"/>
                    <a:pt x="0" y="366"/>
                    <a:pt x="0" y="366"/>
                  </a:cubicBezTo>
                  <a:cubicBezTo>
                    <a:pt x="0" y="373"/>
                    <a:pt x="6" y="379"/>
                    <a:pt x="14" y="379"/>
                  </a:cubicBezTo>
                  <a:cubicBezTo>
                    <a:pt x="967" y="379"/>
                    <a:pt x="967" y="379"/>
                    <a:pt x="967" y="379"/>
                  </a:cubicBezTo>
                  <a:cubicBezTo>
                    <a:pt x="974" y="379"/>
                    <a:pt x="980" y="373"/>
                    <a:pt x="980" y="366"/>
                  </a:cubicBezTo>
                  <a:cubicBezTo>
                    <a:pt x="980" y="0"/>
                    <a:pt x="980" y="0"/>
                    <a:pt x="980" y="0"/>
                  </a:cubicBezTo>
                  <a:cubicBezTo>
                    <a:pt x="950" y="24"/>
                    <a:pt x="778" y="148"/>
                    <a:pt x="490" y="148"/>
                  </a:cubicBezTo>
                  <a:close/>
                </a:path>
              </a:pathLst>
            </a:custGeom>
            <a:solidFill>
              <a:srgbClr val="BA1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7" name="Freeform 11"/>
            <p:cNvSpPr>
              <a:spLocks/>
            </p:cNvSpPr>
            <p:nvPr/>
          </p:nvSpPr>
          <p:spPr bwMode="auto">
            <a:xfrm>
              <a:off x="9939721" y="5110836"/>
              <a:ext cx="257175" cy="244475"/>
            </a:xfrm>
            <a:custGeom>
              <a:avLst/>
              <a:gdLst>
                <a:gd name="T0" fmla="*/ 216 w 255"/>
                <a:gd name="T1" fmla="*/ 245 h 245"/>
                <a:gd name="T2" fmla="*/ 0 w 255"/>
                <a:gd name="T3" fmla="*/ 230 h 245"/>
                <a:gd name="T4" fmla="*/ 12 w 255"/>
                <a:gd name="T5" fmla="*/ 111 h 245"/>
                <a:gd name="T6" fmla="*/ 43 w 255"/>
                <a:gd name="T7" fmla="*/ 12 h 245"/>
                <a:gd name="T8" fmla="*/ 207 w 255"/>
                <a:gd name="T9" fmla="*/ 0 h 245"/>
                <a:gd name="T10" fmla="*/ 216 w 255"/>
                <a:gd name="T11" fmla="*/ 245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5" h="245">
                  <a:moveTo>
                    <a:pt x="216" y="245"/>
                  </a:moveTo>
                  <a:cubicBezTo>
                    <a:pt x="0" y="230"/>
                    <a:pt x="0" y="230"/>
                    <a:pt x="0" y="230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207" y="0"/>
                    <a:pt x="207" y="0"/>
                    <a:pt x="207" y="0"/>
                  </a:cubicBezTo>
                  <a:cubicBezTo>
                    <a:pt x="255" y="143"/>
                    <a:pt x="216" y="245"/>
                    <a:pt x="216" y="245"/>
                  </a:cubicBez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8" name="Freeform 12"/>
            <p:cNvSpPr>
              <a:spLocks/>
            </p:cNvSpPr>
            <p:nvPr/>
          </p:nvSpPr>
          <p:spPr bwMode="auto">
            <a:xfrm>
              <a:off x="9842883" y="5331498"/>
              <a:ext cx="411162" cy="69850"/>
            </a:xfrm>
            <a:custGeom>
              <a:avLst/>
              <a:gdLst>
                <a:gd name="T0" fmla="*/ 374 w 409"/>
                <a:gd name="T1" fmla="*/ 0 h 70"/>
                <a:gd name="T2" fmla="*/ 35 w 409"/>
                <a:gd name="T3" fmla="*/ 0 h 70"/>
                <a:gd name="T4" fmla="*/ 0 w 409"/>
                <a:gd name="T5" fmla="*/ 35 h 70"/>
                <a:gd name="T6" fmla="*/ 0 w 409"/>
                <a:gd name="T7" fmla="*/ 70 h 70"/>
                <a:gd name="T8" fmla="*/ 35 w 409"/>
                <a:gd name="T9" fmla="*/ 35 h 70"/>
                <a:gd name="T10" fmla="*/ 374 w 409"/>
                <a:gd name="T11" fmla="*/ 35 h 70"/>
                <a:gd name="T12" fmla="*/ 409 w 409"/>
                <a:gd name="T13" fmla="*/ 70 h 70"/>
                <a:gd name="T14" fmla="*/ 409 w 409"/>
                <a:gd name="T15" fmla="*/ 35 h 70"/>
                <a:gd name="T16" fmla="*/ 374 w 409"/>
                <a:gd name="T1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9" h="70">
                  <a:moveTo>
                    <a:pt x="374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15" y="0"/>
                    <a:pt x="0" y="15"/>
                    <a:pt x="0" y="35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51"/>
                    <a:pt x="15" y="35"/>
                    <a:pt x="35" y="35"/>
                  </a:cubicBezTo>
                  <a:cubicBezTo>
                    <a:pt x="374" y="35"/>
                    <a:pt x="374" y="35"/>
                    <a:pt x="374" y="35"/>
                  </a:cubicBezTo>
                  <a:cubicBezTo>
                    <a:pt x="394" y="35"/>
                    <a:pt x="409" y="51"/>
                    <a:pt x="409" y="70"/>
                  </a:cubicBezTo>
                  <a:cubicBezTo>
                    <a:pt x="409" y="35"/>
                    <a:pt x="409" y="35"/>
                    <a:pt x="409" y="35"/>
                  </a:cubicBezTo>
                  <a:cubicBezTo>
                    <a:pt x="409" y="15"/>
                    <a:pt x="394" y="0"/>
                    <a:pt x="374" y="0"/>
                  </a:cubicBezTo>
                  <a:close/>
                </a:path>
              </a:pathLst>
            </a:custGeom>
            <a:solidFill>
              <a:srgbClr val="BA1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9" name="Freeform 13"/>
            <p:cNvSpPr>
              <a:spLocks/>
            </p:cNvSpPr>
            <p:nvPr/>
          </p:nvSpPr>
          <p:spPr bwMode="auto">
            <a:xfrm>
              <a:off x="9939721" y="5326736"/>
              <a:ext cx="57150" cy="93663"/>
            </a:xfrm>
            <a:custGeom>
              <a:avLst/>
              <a:gdLst>
                <a:gd name="T0" fmla="*/ 28 w 56"/>
                <a:gd name="T1" fmla="*/ 93 h 93"/>
                <a:gd name="T2" fmla="*/ 0 w 56"/>
                <a:gd name="T3" fmla="*/ 65 h 93"/>
                <a:gd name="T4" fmla="*/ 0 w 56"/>
                <a:gd name="T5" fmla="*/ 28 h 93"/>
                <a:gd name="T6" fmla="*/ 28 w 56"/>
                <a:gd name="T7" fmla="*/ 0 h 93"/>
                <a:gd name="T8" fmla="*/ 56 w 56"/>
                <a:gd name="T9" fmla="*/ 28 h 93"/>
                <a:gd name="T10" fmla="*/ 56 w 56"/>
                <a:gd name="T11" fmla="*/ 65 h 93"/>
                <a:gd name="T12" fmla="*/ 28 w 56"/>
                <a:gd name="T13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" h="93">
                  <a:moveTo>
                    <a:pt x="28" y="93"/>
                  </a:moveTo>
                  <a:cubicBezTo>
                    <a:pt x="12" y="93"/>
                    <a:pt x="0" y="80"/>
                    <a:pt x="0" y="65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2"/>
                    <a:pt x="12" y="0"/>
                    <a:pt x="28" y="0"/>
                  </a:cubicBezTo>
                  <a:cubicBezTo>
                    <a:pt x="44" y="0"/>
                    <a:pt x="56" y="12"/>
                    <a:pt x="56" y="28"/>
                  </a:cubicBezTo>
                  <a:cubicBezTo>
                    <a:pt x="56" y="65"/>
                    <a:pt x="56" y="65"/>
                    <a:pt x="56" y="65"/>
                  </a:cubicBezTo>
                  <a:cubicBezTo>
                    <a:pt x="56" y="80"/>
                    <a:pt x="44" y="93"/>
                    <a:pt x="28" y="93"/>
                  </a:cubicBezTo>
                  <a:close/>
                </a:path>
              </a:pathLst>
            </a:custGeom>
            <a:solidFill>
              <a:srgbClr val="8C5E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0" name="Freeform 14"/>
            <p:cNvSpPr>
              <a:spLocks/>
            </p:cNvSpPr>
            <p:nvPr/>
          </p:nvSpPr>
          <p:spPr bwMode="auto">
            <a:xfrm>
              <a:off x="10050846" y="5326736"/>
              <a:ext cx="57150" cy="93663"/>
            </a:xfrm>
            <a:custGeom>
              <a:avLst/>
              <a:gdLst>
                <a:gd name="T0" fmla="*/ 28 w 56"/>
                <a:gd name="T1" fmla="*/ 93 h 93"/>
                <a:gd name="T2" fmla="*/ 0 w 56"/>
                <a:gd name="T3" fmla="*/ 65 h 93"/>
                <a:gd name="T4" fmla="*/ 0 w 56"/>
                <a:gd name="T5" fmla="*/ 28 h 93"/>
                <a:gd name="T6" fmla="*/ 28 w 56"/>
                <a:gd name="T7" fmla="*/ 0 h 93"/>
                <a:gd name="T8" fmla="*/ 56 w 56"/>
                <a:gd name="T9" fmla="*/ 28 h 93"/>
                <a:gd name="T10" fmla="*/ 56 w 56"/>
                <a:gd name="T11" fmla="*/ 65 h 93"/>
                <a:gd name="T12" fmla="*/ 28 w 56"/>
                <a:gd name="T13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" h="93">
                  <a:moveTo>
                    <a:pt x="28" y="93"/>
                  </a:moveTo>
                  <a:cubicBezTo>
                    <a:pt x="12" y="93"/>
                    <a:pt x="0" y="80"/>
                    <a:pt x="0" y="65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2"/>
                    <a:pt x="12" y="0"/>
                    <a:pt x="28" y="0"/>
                  </a:cubicBezTo>
                  <a:cubicBezTo>
                    <a:pt x="44" y="0"/>
                    <a:pt x="56" y="12"/>
                    <a:pt x="56" y="28"/>
                  </a:cubicBezTo>
                  <a:cubicBezTo>
                    <a:pt x="56" y="65"/>
                    <a:pt x="56" y="65"/>
                    <a:pt x="56" y="65"/>
                  </a:cubicBezTo>
                  <a:cubicBezTo>
                    <a:pt x="56" y="80"/>
                    <a:pt x="44" y="93"/>
                    <a:pt x="28" y="93"/>
                  </a:cubicBezTo>
                  <a:close/>
                </a:path>
              </a:pathLst>
            </a:custGeom>
            <a:solidFill>
              <a:srgbClr val="8C5E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1" name="Freeform 15"/>
            <p:cNvSpPr>
              <a:spLocks/>
            </p:cNvSpPr>
            <p:nvPr/>
          </p:nvSpPr>
          <p:spPr bwMode="auto">
            <a:xfrm>
              <a:off x="10106408" y="5334673"/>
              <a:ext cx="57150" cy="76200"/>
            </a:xfrm>
            <a:custGeom>
              <a:avLst/>
              <a:gdLst>
                <a:gd name="T0" fmla="*/ 28 w 56"/>
                <a:gd name="T1" fmla="*/ 77 h 77"/>
                <a:gd name="T2" fmla="*/ 0 w 56"/>
                <a:gd name="T3" fmla="*/ 49 h 77"/>
                <a:gd name="T4" fmla="*/ 0 w 56"/>
                <a:gd name="T5" fmla="*/ 29 h 77"/>
                <a:gd name="T6" fmla="*/ 28 w 56"/>
                <a:gd name="T7" fmla="*/ 0 h 77"/>
                <a:gd name="T8" fmla="*/ 56 w 56"/>
                <a:gd name="T9" fmla="*/ 29 h 77"/>
                <a:gd name="T10" fmla="*/ 56 w 56"/>
                <a:gd name="T11" fmla="*/ 49 h 77"/>
                <a:gd name="T12" fmla="*/ 28 w 56"/>
                <a:gd name="T1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" h="77">
                  <a:moveTo>
                    <a:pt x="28" y="77"/>
                  </a:moveTo>
                  <a:cubicBezTo>
                    <a:pt x="12" y="77"/>
                    <a:pt x="0" y="64"/>
                    <a:pt x="0" y="4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2" y="0"/>
                    <a:pt x="28" y="0"/>
                  </a:cubicBezTo>
                  <a:cubicBezTo>
                    <a:pt x="44" y="0"/>
                    <a:pt x="56" y="13"/>
                    <a:pt x="56" y="29"/>
                  </a:cubicBezTo>
                  <a:cubicBezTo>
                    <a:pt x="56" y="49"/>
                    <a:pt x="56" y="49"/>
                    <a:pt x="56" y="49"/>
                  </a:cubicBezTo>
                  <a:cubicBezTo>
                    <a:pt x="56" y="64"/>
                    <a:pt x="44" y="77"/>
                    <a:pt x="28" y="77"/>
                  </a:cubicBezTo>
                  <a:close/>
                </a:path>
              </a:pathLst>
            </a:custGeom>
            <a:solidFill>
              <a:srgbClr val="8C5E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2" name="Freeform 16"/>
            <p:cNvSpPr>
              <a:spLocks/>
            </p:cNvSpPr>
            <p:nvPr/>
          </p:nvSpPr>
          <p:spPr bwMode="auto">
            <a:xfrm>
              <a:off x="9995283" y="5314036"/>
              <a:ext cx="57150" cy="112713"/>
            </a:xfrm>
            <a:custGeom>
              <a:avLst/>
              <a:gdLst>
                <a:gd name="T0" fmla="*/ 28 w 56"/>
                <a:gd name="T1" fmla="*/ 113 h 113"/>
                <a:gd name="T2" fmla="*/ 0 w 56"/>
                <a:gd name="T3" fmla="*/ 85 h 113"/>
                <a:gd name="T4" fmla="*/ 0 w 56"/>
                <a:gd name="T5" fmla="*/ 28 h 113"/>
                <a:gd name="T6" fmla="*/ 28 w 56"/>
                <a:gd name="T7" fmla="*/ 0 h 113"/>
                <a:gd name="T8" fmla="*/ 56 w 56"/>
                <a:gd name="T9" fmla="*/ 28 h 113"/>
                <a:gd name="T10" fmla="*/ 56 w 56"/>
                <a:gd name="T11" fmla="*/ 85 h 113"/>
                <a:gd name="T12" fmla="*/ 28 w 56"/>
                <a:gd name="T13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" h="113">
                  <a:moveTo>
                    <a:pt x="28" y="113"/>
                  </a:moveTo>
                  <a:cubicBezTo>
                    <a:pt x="12" y="113"/>
                    <a:pt x="0" y="101"/>
                    <a:pt x="0" y="85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2" y="0"/>
                    <a:pt x="28" y="0"/>
                  </a:cubicBezTo>
                  <a:cubicBezTo>
                    <a:pt x="44" y="0"/>
                    <a:pt x="56" y="13"/>
                    <a:pt x="56" y="28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101"/>
                    <a:pt x="44" y="113"/>
                    <a:pt x="28" y="113"/>
                  </a:cubicBezTo>
                  <a:close/>
                </a:path>
              </a:pathLst>
            </a:custGeom>
            <a:solidFill>
              <a:srgbClr val="8C5E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3" name="Freeform 17"/>
            <p:cNvSpPr>
              <a:spLocks/>
            </p:cNvSpPr>
            <p:nvPr/>
          </p:nvSpPr>
          <p:spPr bwMode="auto">
            <a:xfrm>
              <a:off x="9939721" y="5374361"/>
              <a:ext cx="223837" cy="52388"/>
            </a:xfrm>
            <a:custGeom>
              <a:avLst/>
              <a:gdLst>
                <a:gd name="T0" fmla="*/ 193 w 221"/>
                <a:gd name="T1" fmla="*/ 29 h 52"/>
                <a:gd name="T2" fmla="*/ 166 w 221"/>
                <a:gd name="T3" fmla="*/ 10 h 52"/>
                <a:gd name="T4" fmla="*/ 138 w 221"/>
                <a:gd name="T5" fmla="*/ 38 h 52"/>
                <a:gd name="T6" fmla="*/ 111 w 221"/>
                <a:gd name="T7" fmla="*/ 18 h 52"/>
                <a:gd name="T8" fmla="*/ 83 w 221"/>
                <a:gd name="T9" fmla="*/ 44 h 52"/>
                <a:gd name="T10" fmla="*/ 55 w 221"/>
                <a:gd name="T11" fmla="*/ 18 h 52"/>
                <a:gd name="T12" fmla="*/ 28 w 221"/>
                <a:gd name="T13" fmla="*/ 38 h 52"/>
                <a:gd name="T14" fmla="*/ 0 w 221"/>
                <a:gd name="T15" fmla="*/ 9 h 52"/>
                <a:gd name="T16" fmla="*/ 0 w 221"/>
                <a:gd name="T17" fmla="*/ 18 h 52"/>
                <a:gd name="T18" fmla="*/ 28 w 221"/>
                <a:gd name="T19" fmla="*/ 46 h 52"/>
                <a:gd name="T20" fmla="*/ 55 w 221"/>
                <a:gd name="T21" fmla="*/ 27 h 52"/>
                <a:gd name="T22" fmla="*/ 83 w 221"/>
                <a:gd name="T23" fmla="*/ 52 h 52"/>
                <a:gd name="T24" fmla="*/ 111 w 221"/>
                <a:gd name="T25" fmla="*/ 27 h 52"/>
                <a:gd name="T26" fmla="*/ 138 w 221"/>
                <a:gd name="T27" fmla="*/ 46 h 52"/>
                <a:gd name="T28" fmla="*/ 166 w 221"/>
                <a:gd name="T29" fmla="*/ 18 h 52"/>
                <a:gd name="T30" fmla="*/ 193 w 221"/>
                <a:gd name="T31" fmla="*/ 37 h 52"/>
                <a:gd name="T32" fmla="*/ 221 w 221"/>
                <a:gd name="T33" fmla="*/ 9 h 52"/>
                <a:gd name="T34" fmla="*/ 221 w 221"/>
                <a:gd name="T35" fmla="*/ 0 h 52"/>
                <a:gd name="T36" fmla="*/ 193 w 221"/>
                <a:gd name="T37" fmla="*/ 29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1" h="52">
                  <a:moveTo>
                    <a:pt x="193" y="29"/>
                  </a:moveTo>
                  <a:cubicBezTo>
                    <a:pt x="181" y="29"/>
                    <a:pt x="170" y="21"/>
                    <a:pt x="166" y="10"/>
                  </a:cubicBezTo>
                  <a:cubicBezTo>
                    <a:pt x="166" y="25"/>
                    <a:pt x="154" y="38"/>
                    <a:pt x="138" y="38"/>
                  </a:cubicBezTo>
                  <a:cubicBezTo>
                    <a:pt x="125" y="38"/>
                    <a:pt x="115" y="30"/>
                    <a:pt x="111" y="18"/>
                  </a:cubicBezTo>
                  <a:cubicBezTo>
                    <a:pt x="110" y="33"/>
                    <a:pt x="98" y="44"/>
                    <a:pt x="83" y="44"/>
                  </a:cubicBezTo>
                  <a:cubicBezTo>
                    <a:pt x="68" y="44"/>
                    <a:pt x="56" y="33"/>
                    <a:pt x="55" y="18"/>
                  </a:cubicBezTo>
                  <a:cubicBezTo>
                    <a:pt x="51" y="30"/>
                    <a:pt x="40" y="38"/>
                    <a:pt x="28" y="38"/>
                  </a:cubicBezTo>
                  <a:cubicBezTo>
                    <a:pt x="12" y="38"/>
                    <a:pt x="0" y="25"/>
                    <a:pt x="0" y="9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33"/>
                    <a:pt x="12" y="46"/>
                    <a:pt x="28" y="46"/>
                  </a:cubicBezTo>
                  <a:cubicBezTo>
                    <a:pt x="40" y="46"/>
                    <a:pt x="51" y="38"/>
                    <a:pt x="55" y="27"/>
                  </a:cubicBezTo>
                  <a:cubicBezTo>
                    <a:pt x="56" y="41"/>
                    <a:pt x="68" y="52"/>
                    <a:pt x="83" y="52"/>
                  </a:cubicBezTo>
                  <a:cubicBezTo>
                    <a:pt x="98" y="52"/>
                    <a:pt x="110" y="41"/>
                    <a:pt x="111" y="27"/>
                  </a:cubicBezTo>
                  <a:cubicBezTo>
                    <a:pt x="115" y="38"/>
                    <a:pt x="125" y="46"/>
                    <a:pt x="138" y="46"/>
                  </a:cubicBezTo>
                  <a:cubicBezTo>
                    <a:pt x="154" y="46"/>
                    <a:pt x="166" y="33"/>
                    <a:pt x="166" y="18"/>
                  </a:cubicBezTo>
                  <a:cubicBezTo>
                    <a:pt x="170" y="29"/>
                    <a:pt x="181" y="37"/>
                    <a:pt x="193" y="37"/>
                  </a:cubicBezTo>
                  <a:cubicBezTo>
                    <a:pt x="209" y="37"/>
                    <a:pt x="221" y="24"/>
                    <a:pt x="221" y="9"/>
                  </a:cubicBezTo>
                  <a:cubicBezTo>
                    <a:pt x="221" y="0"/>
                    <a:pt x="221" y="0"/>
                    <a:pt x="221" y="0"/>
                  </a:cubicBezTo>
                  <a:cubicBezTo>
                    <a:pt x="221" y="16"/>
                    <a:pt x="209" y="29"/>
                    <a:pt x="193" y="29"/>
                  </a:cubicBezTo>
                  <a:close/>
                </a:path>
              </a:pathLst>
            </a:custGeom>
            <a:solidFill>
              <a:srgbClr val="80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4" name="Freeform 18"/>
            <p:cNvSpPr>
              <a:spLocks/>
            </p:cNvSpPr>
            <p:nvPr/>
          </p:nvSpPr>
          <p:spPr bwMode="auto">
            <a:xfrm>
              <a:off x="9873046" y="5123536"/>
              <a:ext cx="182562" cy="304800"/>
            </a:xfrm>
            <a:custGeom>
              <a:avLst/>
              <a:gdLst>
                <a:gd name="T0" fmla="*/ 78 w 181"/>
                <a:gd name="T1" fmla="*/ 167 h 306"/>
                <a:gd name="T2" fmla="*/ 75 w 181"/>
                <a:gd name="T3" fmla="*/ 252 h 306"/>
                <a:gd name="T4" fmla="*/ 12 w 181"/>
                <a:gd name="T5" fmla="*/ 282 h 306"/>
                <a:gd name="T6" fmla="*/ 9 w 181"/>
                <a:gd name="T7" fmla="*/ 94 h 306"/>
                <a:gd name="T8" fmla="*/ 106 w 181"/>
                <a:gd name="T9" fmla="*/ 11 h 306"/>
                <a:gd name="T10" fmla="*/ 181 w 181"/>
                <a:gd name="T11" fmla="*/ 17 h 306"/>
                <a:gd name="T12" fmla="*/ 78 w 181"/>
                <a:gd name="T13" fmla="*/ 167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" h="306">
                  <a:moveTo>
                    <a:pt x="78" y="167"/>
                  </a:moveTo>
                  <a:cubicBezTo>
                    <a:pt x="75" y="252"/>
                    <a:pt x="75" y="252"/>
                    <a:pt x="75" y="252"/>
                  </a:cubicBezTo>
                  <a:cubicBezTo>
                    <a:pt x="75" y="252"/>
                    <a:pt x="52" y="306"/>
                    <a:pt x="12" y="282"/>
                  </a:cubicBezTo>
                  <a:cubicBezTo>
                    <a:pt x="20" y="135"/>
                    <a:pt x="0" y="143"/>
                    <a:pt x="9" y="94"/>
                  </a:cubicBezTo>
                  <a:cubicBezTo>
                    <a:pt x="18" y="44"/>
                    <a:pt x="41" y="14"/>
                    <a:pt x="106" y="11"/>
                  </a:cubicBezTo>
                  <a:cubicBezTo>
                    <a:pt x="130" y="0"/>
                    <a:pt x="176" y="10"/>
                    <a:pt x="181" y="17"/>
                  </a:cubicBezTo>
                  <a:cubicBezTo>
                    <a:pt x="177" y="150"/>
                    <a:pt x="78" y="167"/>
                    <a:pt x="78" y="167"/>
                  </a:cubicBezTo>
                  <a:close/>
                </a:path>
              </a:pathLst>
            </a:custGeom>
            <a:solidFill>
              <a:srgbClr val="9D69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5" name="Freeform 19"/>
            <p:cNvSpPr>
              <a:spLocks/>
            </p:cNvSpPr>
            <p:nvPr/>
          </p:nvSpPr>
          <p:spPr bwMode="auto">
            <a:xfrm>
              <a:off x="9923846" y="4815560"/>
              <a:ext cx="257175" cy="257175"/>
            </a:xfrm>
            <a:custGeom>
              <a:avLst/>
              <a:gdLst>
                <a:gd name="T0" fmla="*/ 0 w 162"/>
                <a:gd name="T1" fmla="*/ 0 h 162"/>
                <a:gd name="T2" fmla="*/ 162 w 162"/>
                <a:gd name="T3" fmla="*/ 0 h 162"/>
                <a:gd name="T4" fmla="*/ 156 w 162"/>
                <a:gd name="T5" fmla="*/ 162 h 162"/>
                <a:gd name="T6" fmla="*/ 9 w 162"/>
                <a:gd name="T7" fmla="*/ 162 h 162"/>
                <a:gd name="T8" fmla="*/ 0 w 162"/>
                <a:gd name="T9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162">
                  <a:moveTo>
                    <a:pt x="0" y="0"/>
                  </a:moveTo>
                  <a:lnTo>
                    <a:pt x="162" y="0"/>
                  </a:lnTo>
                  <a:lnTo>
                    <a:pt x="156" y="162"/>
                  </a:lnTo>
                  <a:lnTo>
                    <a:pt x="9" y="1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eform 20"/>
            <p:cNvSpPr>
              <a:spLocks/>
            </p:cNvSpPr>
            <p:nvPr/>
          </p:nvSpPr>
          <p:spPr bwMode="auto">
            <a:xfrm>
              <a:off x="9923846" y="4815560"/>
              <a:ext cx="257175" cy="257175"/>
            </a:xfrm>
            <a:custGeom>
              <a:avLst/>
              <a:gdLst>
                <a:gd name="T0" fmla="*/ 0 w 162"/>
                <a:gd name="T1" fmla="*/ 0 h 162"/>
                <a:gd name="T2" fmla="*/ 162 w 162"/>
                <a:gd name="T3" fmla="*/ 0 h 162"/>
                <a:gd name="T4" fmla="*/ 156 w 162"/>
                <a:gd name="T5" fmla="*/ 162 h 162"/>
                <a:gd name="T6" fmla="*/ 9 w 162"/>
                <a:gd name="T7" fmla="*/ 162 h 162"/>
                <a:gd name="T8" fmla="*/ 0 w 162"/>
                <a:gd name="T9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162">
                  <a:moveTo>
                    <a:pt x="0" y="0"/>
                  </a:moveTo>
                  <a:lnTo>
                    <a:pt x="162" y="0"/>
                  </a:lnTo>
                  <a:lnTo>
                    <a:pt x="156" y="162"/>
                  </a:lnTo>
                  <a:lnTo>
                    <a:pt x="9" y="16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Freeform 21"/>
            <p:cNvSpPr>
              <a:spLocks/>
            </p:cNvSpPr>
            <p:nvPr/>
          </p:nvSpPr>
          <p:spPr bwMode="auto">
            <a:xfrm>
              <a:off x="9938133" y="5071148"/>
              <a:ext cx="233362" cy="65088"/>
            </a:xfrm>
            <a:custGeom>
              <a:avLst/>
              <a:gdLst>
                <a:gd name="T0" fmla="*/ 0 w 233"/>
                <a:gd name="T1" fmla="*/ 65 h 65"/>
                <a:gd name="T2" fmla="*/ 0 w 233"/>
                <a:gd name="T3" fmla="*/ 0 h 65"/>
                <a:gd name="T4" fmla="*/ 193 w 233"/>
                <a:gd name="T5" fmla="*/ 0 h 65"/>
                <a:gd name="T6" fmla="*/ 233 w 233"/>
                <a:gd name="T7" fmla="*/ 0 h 65"/>
                <a:gd name="T8" fmla="*/ 169 w 233"/>
                <a:gd name="T9" fmla="*/ 65 h 65"/>
                <a:gd name="T10" fmla="*/ 0 w 233"/>
                <a:gd name="T1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3" h="65">
                  <a:moveTo>
                    <a:pt x="0" y="6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93" y="0"/>
                    <a:pt x="193" y="0"/>
                    <a:pt x="193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33" y="36"/>
                    <a:pt x="205" y="65"/>
                    <a:pt x="169" y="65"/>
                  </a:cubicBezTo>
                  <a:cubicBezTo>
                    <a:pt x="0" y="65"/>
                    <a:pt x="0" y="65"/>
                    <a:pt x="0" y="6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Freeform 22"/>
            <p:cNvSpPr>
              <a:spLocks/>
            </p:cNvSpPr>
            <p:nvPr/>
          </p:nvSpPr>
          <p:spPr bwMode="auto">
            <a:xfrm>
              <a:off x="9923846" y="4815560"/>
              <a:ext cx="77787" cy="257175"/>
            </a:xfrm>
            <a:custGeom>
              <a:avLst/>
              <a:gdLst>
                <a:gd name="T0" fmla="*/ 49 w 49"/>
                <a:gd name="T1" fmla="*/ 0 h 162"/>
                <a:gd name="T2" fmla="*/ 0 w 49"/>
                <a:gd name="T3" fmla="*/ 0 h 162"/>
                <a:gd name="T4" fmla="*/ 9 w 49"/>
                <a:gd name="T5" fmla="*/ 162 h 162"/>
                <a:gd name="T6" fmla="*/ 9 w 49"/>
                <a:gd name="T7" fmla="*/ 161 h 162"/>
                <a:gd name="T8" fmla="*/ 49 w 49"/>
                <a:gd name="T9" fmla="*/ 161 h 162"/>
                <a:gd name="T10" fmla="*/ 49 w 49"/>
                <a:gd name="T11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162">
                  <a:moveTo>
                    <a:pt x="49" y="0"/>
                  </a:moveTo>
                  <a:lnTo>
                    <a:pt x="0" y="0"/>
                  </a:lnTo>
                  <a:lnTo>
                    <a:pt x="9" y="162"/>
                  </a:lnTo>
                  <a:lnTo>
                    <a:pt x="9" y="161"/>
                  </a:lnTo>
                  <a:lnTo>
                    <a:pt x="49" y="161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" name="Freeform 23"/>
            <p:cNvSpPr>
              <a:spLocks/>
            </p:cNvSpPr>
            <p:nvPr/>
          </p:nvSpPr>
          <p:spPr bwMode="auto">
            <a:xfrm>
              <a:off x="9923846" y="4815560"/>
              <a:ext cx="77787" cy="257175"/>
            </a:xfrm>
            <a:custGeom>
              <a:avLst/>
              <a:gdLst>
                <a:gd name="T0" fmla="*/ 49 w 49"/>
                <a:gd name="T1" fmla="*/ 0 h 162"/>
                <a:gd name="T2" fmla="*/ 0 w 49"/>
                <a:gd name="T3" fmla="*/ 0 h 162"/>
                <a:gd name="T4" fmla="*/ 9 w 49"/>
                <a:gd name="T5" fmla="*/ 162 h 162"/>
                <a:gd name="T6" fmla="*/ 9 w 49"/>
                <a:gd name="T7" fmla="*/ 161 h 162"/>
                <a:gd name="T8" fmla="*/ 49 w 49"/>
                <a:gd name="T9" fmla="*/ 161 h 162"/>
                <a:gd name="T10" fmla="*/ 49 w 49"/>
                <a:gd name="T11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162">
                  <a:moveTo>
                    <a:pt x="49" y="0"/>
                  </a:moveTo>
                  <a:lnTo>
                    <a:pt x="0" y="0"/>
                  </a:lnTo>
                  <a:lnTo>
                    <a:pt x="9" y="162"/>
                  </a:lnTo>
                  <a:lnTo>
                    <a:pt x="9" y="161"/>
                  </a:lnTo>
                  <a:lnTo>
                    <a:pt x="49" y="161"/>
                  </a:lnTo>
                  <a:lnTo>
                    <a:pt x="4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Freeform 24"/>
            <p:cNvSpPr>
              <a:spLocks/>
            </p:cNvSpPr>
            <p:nvPr/>
          </p:nvSpPr>
          <p:spPr bwMode="auto">
            <a:xfrm>
              <a:off x="9938133" y="5071148"/>
              <a:ext cx="63500" cy="65088"/>
            </a:xfrm>
            <a:custGeom>
              <a:avLst/>
              <a:gdLst>
                <a:gd name="T0" fmla="*/ 40 w 40"/>
                <a:gd name="T1" fmla="*/ 0 h 41"/>
                <a:gd name="T2" fmla="*/ 0 w 40"/>
                <a:gd name="T3" fmla="*/ 0 h 41"/>
                <a:gd name="T4" fmla="*/ 0 w 40"/>
                <a:gd name="T5" fmla="*/ 1 h 41"/>
                <a:gd name="T6" fmla="*/ 0 w 40"/>
                <a:gd name="T7" fmla="*/ 41 h 41"/>
                <a:gd name="T8" fmla="*/ 40 w 40"/>
                <a:gd name="T9" fmla="*/ 41 h 41"/>
                <a:gd name="T10" fmla="*/ 40 w 40"/>
                <a:gd name="T11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41">
                  <a:moveTo>
                    <a:pt x="40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41"/>
                  </a:lnTo>
                  <a:lnTo>
                    <a:pt x="40" y="41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Freeform 25"/>
            <p:cNvSpPr>
              <a:spLocks/>
            </p:cNvSpPr>
            <p:nvPr/>
          </p:nvSpPr>
          <p:spPr bwMode="auto">
            <a:xfrm>
              <a:off x="9938133" y="5071148"/>
              <a:ext cx="63500" cy="65088"/>
            </a:xfrm>
            <a:custGeom>
              <a:avLst/>
              <a:gdLst>
                <a:gd name="T0" fmla="*/ 40 w 40"/>
                <a:gd name="T1" fmla="*/ 0 h 41"/>
                <a:gd name="T2" fmla="*/ 0 w 40"/>
                <a:gd name="T3" fmla="*/ 0 h 41"/>
                <a:gd name="T4" fmla="*/ 0 w 40"/>
                <a:gd name="T5" fmla="*/ 1 h 41"/>
                <a:gd name="T6" fmla="*/ 0 w 40"/>
                <a:gd name="T7" fmla="*/ 41 h 41"/>
                <a:gd name="T8" fmla="*/ 40 w 40"/>
                <a:gd name="T9" fmla="*/ 41 h 41"/>
                <a:gd name="T10" fmla="*/ 40 w 40"/>
                <a:gd name="T11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41">
                  <a:moveTo>
                    <a:pt x="40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41"/>
                  </a:lnTo>
                  <a:lnTo>
                    <a:pt x="40" y="41"/>
                  </a:lnTo>
                  <a:lnTo>
                    <a:pt x="4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Rectangle 26"/>
            <p:cNvSpPr>
              <a:spLocks noChangeArrowheads="1"/>
            </p:cNvSpPr>
            <p:nvPr/>
          </p:nvSpPr>
          <p:spPr bwMode="auto">
            <a:xfrm>
              <a:off x="9536496" y="6237961"/>
              <a:ext cx="1019175" cy="23813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Rectangle 27"/>
            <p:cNvSpPr>
              <a:spLocks noChangeArrowheads="1"/>
            </p:cNvSpPr>
            <p:nvPr/>
          </p:nvSpPr>
          <p:spPr bwMode="auto">
            <a:xfrm>
              <a:off x="9536496" y="6237961"/>
              <a:ext cx="1019175" cy="23813"/>
            </a:xfrm>
            <a:prstGeom prst="rect">
              <a:avLst/>
            </a:pr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Freeform 28"/>
            <p:cNvSpPr>
              <a:spLocks/>
            </p:cNvSpPr>
            <p:nvPr/>
          </p:nvSpPr>
          <p:spPr bwMode="auto">
            <a:xfrm>
              <a:off x="9330121" y="6437986"/>
              <a:ext cx="1433512" cy="17463"/>
            </a:xfrm>
            <a:custGeom>
              <a:avLst/>
              <a:gdLst>
                <a:gd name="T0" fmla="*/ 1425 w 1425"/>
                <a:gd name="T1" fmla="*/ 0 h 17"/>
                <a:gd name="T2" fmla="*/ 1419 w 1425"/>
                <a:gd name="T3" fmla="*/ 0 h 17"/>
                <a:gd name="T4" fmla="*/ 6 w 1425"/>
                <a:gd name="T5" fmla="*/ 0 h 17"/>
                <a:gd name="T6" fmla="*/ 0 w 1425"/>
                <a:gd name="T7" fmla="*/ 0 h 17"/>
                <a:gd name="T8" fmla="*/ 0 w 1425"/>
                <a:gd name="T9" fmla="*/ 11 h 17"/>
                <a:gd name="T10" fmla="*/ 0 w 1425"/>
                <a:gd name="T11" fmla="*/ 11 h 17"/>
                <a:gd name="T12" fmla="*/ 8 w 1425"/>
                <a:gd name="T13" fmla="*/ 17 h 17"/>
                <a:gd name="T14" fmla="*/ 1417 w 1425"/>
                <a:gd name="T15" fmla="*/ 17 h 17"/>
                <a:gd name="T16" fmla="*/ 1425 w 1425"/>
                <a:gd name="T17" fmla="*/ 11 h 17"/>
                <a:gd name="T18" fmla="*/ 1425 w 1425"/>
                <a:gd name="T19" fmla="*/ 11 h 17"/>
                <a:gd name="T20" fmla="*/ 1425 w 1425"/>
                <a:gd name="T2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25" h="17">
                  <a:moveTo>
                    <a:pt x="1425" y="0"/>
                  </a:moveTo>
                  <a:cubicBezTo>
                    <a:pt x="1419" y="0"/>
                    <a:pt x="1419" y="0"/>
                    <a:pt x="141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5"/>
                    <a:pt x="3" y="17"/>
                    <a:pt x="8" y="17"/>
                  </a:cubicBezTo>
                  <a:cubicBezTo>
                    <a:pt x="1417" y="17"/>
                    <a:pt x="1417" y="17"/>
                    <a:pt x="1417" y="17"/>
                  </a:cubicBezTo>
                  <a:cubicBezTo>
                    <a:pt x="1422" y="17"/>
                    <a:pt x="1425" y="15"/>
                    <a:pt x="1425" y="11"/>
                  </a:cubicBezTo>
                  <a:cubicBezTo>
                    <a:pt x="1425" y="11"/>
                    <a:pt x="1425" y="11"/>
                    <a:pt x="1425" y="11"/>
                  </a:cubicBezTo>
                  <a:lnTo>
                    <a:pt x="1425" y="0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Freeform 29"/>
            <p:cNvSpPr>
              <a:spLocks/>
            </p:cNvSpPr>
            <p:nvPr/>
          </p:nvSpPr>
          <p:spPr bwMode="auto">
            <a:xfrm>
              <a:off x="9326946" y="6253836"/>
              <a:ext cx="1438275" cy="190500"/>
            </a:xfrm>
            <a:custGeom>
              <a:avLst/>
              <a:gdLst>
                <a:gd name="T0" fmla="*/ 1426 w 1430"/>
                <a:gd name="T1" fmla="*/ 180 h 191"/>
                <a:gd name="T2" fmla="*/ 1297 w 1430"/>
                <a:gd name="T3" fmla="*/ 11 h 191"/>
                <a:gd name="T4" fmla="*/ 1274 w 1430"/>
                <a:gd name="T5" fmla="*/ 0 h 191"/>
                <a:gd name="T6" fmla="*/ 157 w 1430"/>
                <a:gd name="T7" fmla="*/ 0 h 191"/>
                <a:gd name="T8" fmla="*/ 134 w 1430"/>
                <a:gd name="T9" fmla="*/ 11 h 191"/>
                <a:gd name="T10" fmla="*/ 5 w 1430"/>
                <a:gd name="T11" fmla="*/ 180 h 191"/>
                <a:gd name="T12" fmla="*/ 11 w 1430"/>
                <a:gd name="T13" fmla="*/ 191 h 191"/>
                <a:gd name="T14" fmla="*/ 1420 w 1430"/>
                <a:gd name="T15" fmla="*/ 191 h 191"/>
                <a:gd name="T16" fmla="*/ 1426 w 1430"/>
                <a:gd name="T17" fmla="*/ 18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30" h="191">
                  <a:moveTo>
                    <a:pt x="1426" y="180"/>
                  </a:moveTo>
                  <a:cubicBezTo>
                    <a:pt x="1297" y="11"/>
                    <a:pt x="1297" y="11"/>
                    <a:pt x="1297" y="11"/>
                  </a:cubicBezTo>
                  <a:cubicBezTo>
                    <a:pt x="1292" y="5"/>
                    <a:pt x="1282" y="0"/>
                    <a:pt x="1274" y="0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49" y="0"/>
                    <a:pt x="139" y="5"/>
                    <a:pt x="134" y="11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0" y="186"/>
                    <a:pt x="3" y="191"/>
                    <a:pt x="11" y="191"/>
                  </a:cubicBezTo>
                  <a:cubicBezTo>
                    <a:pt x="1420" y="191"/>
                    <a:pt x="1420" y="191"/>
                    <a:pt x="1420" y="191"/>
                  </a:cubicBezTo>
                  <a:cubicBezTo>
                    <a:pt x="1428" y="191"/>
                    <a:pt x="1430" y="186"/>
                    <a:pt x="1426" y="180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Freeform 30"/>
            <p:cNvSpPr>
              <a:spLocks/>
            </p:cNvSpPr>
            <p:nvPr/>
          </p:nvSpPr>
          <p:spPr bwMode="auto">
            <a:xfrm>
              <a:off x="9763508" y="5610898"/>
              <a:ext cx="53975" cy="414338"/>
            </a:xfrm>
            <a:custGeom>
              <a:avLst/>
              <a:gdLst>
                <a:gd name="T0" fmla="*/ 0 w 53"/>
                <a:gd name="T1" fmla="*/ 0 h 415"/>
                <a:gd name="T2" fmla="*/ 0 w 53"/>
                <a:gd name="T3" fmla="*/ 388 h 415"/>
                <a:gd name="T4" fmla="*/ 26 w 53"/>
                <a:gd name="T5" fmla="*/ 415 h 415"/>
                <a:gd name="T6" fmla="*/ 53 w 53"/>
                <a:gd name="T7" fmla="*/ 388 h 415"/>
                <a:gd name="T8" fmla="*/ 53 w 53"/>
                <a:gd name="T9" fmla="*/ 0 h 415"/>
                <a:gd name="T10" fmla="*/ 0 w 53"/>
                <a:gd name="T11" fmla="*/ 0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3" h="415">
                  <a:moveTo>
                    <a:pt x="0" y="0"/>
                  </a:moveTo>
                  <a:cubicBezTo>
                    <a:pt x="0" y="388"/>
                    <a:pt x="0" y="388"/>
                    <a:pt x="0" y="388"/>
                  </a:cubicBezTo>
                  <a:cubicBezTo>
                    <a:pt x="0" y="403"/>
                    <a:pt x="12" y="415"/>
                    <a:pt x="26" y="415"/>
                  </a:cubicBezTo>
                  <a:cubicBezTo>
                    <a:pt x="41" y="415"/>
                    <a:pt x="53" y="403"/>
                    <a:pt x="53" y="388"/>
                  </a:cubicBezTo>
                  <a:cubicBezTo>
                    <a:pt x="53" y="0"/>
                    <a:pt x="53" y="0"/>
                    <a:pt x="5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8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Freeform 31"/>
            <p:cNvSpPr>
              <a:spLocks/>
            </p:cNvSpPr>
            <p:nvPr/>
          </p:nvSpPr>
          <p:spPr bwMode="auto">
            <a:xfrm>
              <a:off x="9769858" y="5610898"/>
              <a:ext cx="47625" cy="414338"/>
            </a:xfrm>
            <a:custGeom>
              <a:avLst/>
              <a:gdLst>
                <a:gd name="T0" fmla="*/ 33 w 47"/>
                <a:gd name="T1" fmla="*/ 0 h 415"/>
                <a:gd name="T2" fmla="*/ 33 w 47"/>
                <a:gd name="T3" fmla="*/ 379 h 415"/>
                <a:gd name="T4" fmla="*/ 6 w 47"/>
                <a:gd name="T5" fmla="*/ 406 h 415"/>
                <a:gd name="T6" fmla="*/ 0 w 47"/>
                <a:gd name="T7" fmla="*/ 406 h 415"/>
                <a:gd name="T8" fmla="*/ 20 w 47"/>
                <a:gd name="T9" fmla="*/ 415 h 415"/>
                <a:gd name="T10" fmla="*/ 47 w 47"/>
                <a:gd name="T11" fmla="*/ 388 h 415"/>
                <a:gd name="T12" fmla="*/ 47 w 47"/>
                <a:gd name="T13" fmla="*/ 0 h 415"/>
                <a:gd name="T14" fmla="*/ 33 w 47"/>
                <a:gd name="T15" fmla="*/ 0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15">
                  <a:moveTo>
                    <a:pt x="33" y="0"/>
                  </a:moveTo>
                  <a:cubicBezTo>
                    <a:pt x="33" y="379"/>
                    <a:pt x="33" y="379"/>
                    <a:pt x="33" y="379"/>
                  </a:cubicBezTo>
                  <a:cubicBezTo>
                    <a:pt x="33" y="394"/>
                    <a:pt x="21" y="406"/>
                    <a:pt x="6" y="406"/>
                  </a:cubicBezTo>
                  <a:cubicBezTo>
                    <a:pt x="4" y="406"/>
                    <a:pt x="2" y="406"/>
                    <a:pt x="0" y="406"/>
                  </a:cubicBezTo>
                  <a:cubicBezTo>
                    <a:pt x="5" y="411"/>
                    <a:pt x="12" y="415"/>
                    <a:pt x="20" y="415"/>
                  </a:cubicBezTo>
                  <a:cubicBezTo>
                    <a:pt x="35" y="415"/>
                    <a:pt x="47" y="403"/>
                    <a:pt x="47" y="388"/>
                  </a:cubicBezTo>
                  <a:cubicBezTo>
                    <a:pt x="47" y="0"/>
                    <a:pt x="47" y="0"/>
                    <a:pt x="47" y="0"/>
                  </a:cubicBezTo>
                  <a:lnTo>
                    <a:pt x="33" y="0"/>
                  </a:lnTo>
                  <a:close/>
                </a:path>
              </a:pathLst>
            </a:custGeom>
            <a:solidFill>
              <a:srgbClr val="8A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" name="Freeform 32"/>
            <p:cNvSpPr>
              <a:spLocks/>
            </p:cNvSpPr>
            <p:nvPr/>
          </p:nvSpPr>
          <p:spPr bwMode="auto">
            <a:xfrm>
              <a:off x="9750808" y="5839498"/>
              <a:ext cx="77787" cy="85725"/>
            </a:xfrm>
            <a:custGeom>
              <a:avLst/>
              <a:gdLst>
                <a:gd name="T0" fmla="*/ 71 w 77"/>
                <a:gd name="T1" fmla="*/ 86 h 86"/>
                <a:gd name="T2" fmla="*/ 65 w 77"/>
                <a:gd name="T3" fmla="*/ 80 h 86"/>
                <a:gd name="T4" fmla="*/ 65 w 77"/>
                <a:gd name="T5" fmla="*/ 11 h 86"/>
                <a:gd name="T6" fmla="*/ 11 w 77"/>
                <a:gd name="T7" fmla="*/ 11 h 86"/>
                <a:gd name="T8" fmla="*/ 11 w 77"/>
                <a:gd name="T9" fmla="*/ 80 h 86"/>
                <a:gd name="T10" fmla="*/ 6 w 77"/>
                <a:gd name="T11" fmla="*/ 86 h 86"/>
                <a:gd name="T12" fmla="*/ 0 w 77"/>
                <a:gd name="T13" fmla="*/ 80 h 86"/>
                <a:gd name="T14" fmla="*/ 0 w 77"/>
                <a:gd name="T15" fmla="*/ 6 h 86"/>
                <a:gd name="T16" fmla="*/ 6 w 77"/>
                <a:gd name="T17" fmla="*/ 0 h 86"/>
                <a:gd name="T18" fmla="*/ 71 w 77"/>
                <a:gd name="T19" fmla="*/ 0 h 86"/>
                <a:gd name="T20" fmla="*/ 77 w 77"/>
                <a:gd name="T21" fmla="*/ 6 h 86"/>
                <a:gd name="T22" fmla="*/ 77 w 77"/>
                <a:gd name="T23" fmla="*/ 80 h 86"/>
                <a:gd name="T24" fmla="*/ 71 w 77"/>
                <a:gd name="T2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86">
                  <a:moveTo>
                    <a:pt x="71" y="86"/>
                  </a:moveTo>
                  <a:cubicBezTo>
                    <a:pt x="68" y="86"/>
                    <a:pt x="65" y="83"/>
                    <a:pt x="65" y="80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1" y="83"/>
                    <a:pt x="9" y="86"/>
                    <a:pt x="6" y="86"/>
                  </a:cubicBezTo>
                  <a:cubicBezTo>
                    <a:pt x="3" y="86"/>
                    <a:pt x="0" y="83"/>
                    <a:pt x="0" y="8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4" y="0"/>
                    <a:pt x="77" y="3"/>
                    <a:pt x="77" y="6"/>
                  </a:cubicBezTo>
                  <a:cubicBezTo>
                    <a:pt x="77" y="80"/>
                    <a:pt x="77" y="80"/>
                    <a:pt x="77" y="80"/>
                  </a:cubicBezTo>
                  <a:cubicBezTo>
                    <a:pt x="77" y="83"/>
                    <a:pt x="74" y="86"/>
                    <a:pt x="71" y="86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" name="Freeform 33"/>
            <p:cNvSpPr>
              <a:spLocks/>
            </p:cNvSpPr>
            <p:nvPr/>
          </p:nvSpPr>
          <p:spPr bwMode="auto">
            <a:xfrm>
              <a:off x="9784146" y="5828386"/>
              <a:ext cx="11112" cy="53975"/>
            </a:xfrm>
            <a:custGeom>
              <a:avLst/>
              <a:gdLst>
                <a:gd name="T0" fmla="*/ 5 w 11"/>
                <a:gd name="T1" fmla="*/ 53 h 53"/>
                <a:gd name="T2" fmla="*/ 0 w 11"/>
                <a:gd name="T3" fmla="*/ 47 h 53"/>
                <a:gd name="T4" fmla="*/ 0 w 11"/>
                <a:gd name="T5" fmla="*/ 5 h 53"/>
                <a:gd name="T6" fmla="*/ 5 w 11"/>
                <a:gd name="T7" fmla="*/ 0 h 53"/>
                <a:gd name="T8" fmla="*/ 11 w 11"/>
                <a:gd name="T9" fmla="*/ 5 h 53"/>
                <a:gd name="T10" fmla="*/ 11 w 11"/>
                <a:gd name="T11" fmla="*/ 47 h 53"/>
                <a:gd name="T12" fmla="*/ 5 w 11"/>
                <a:gd name="T1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53">
                  <a:moveTo>
                    <a:pt x="5" y="53"/>
                  </a:moveTo>
                  <a:cubicBezTo>
                    <a:pt x="2" y="53"/>
                    <a:pt x="0" y="50"/>
                    <a:pt x="0" y="4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1" y="50"/>
                    <a:pt x="9" y="53"/>
                    <a:pt x="5" y="53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1" name="Freeform 34"/>
            <p:cNvSpPr>
              <a:spLocks/>
            </p:cNvSpPr>
            <p:nvPr/>
          </p:nvSpPr>
          <p:spPr bwMode="auto">
            <a:xfrm>
              <a:off x="10265158" y="5610898"/>
              <a:ext cx="53975" cy="414338"/>
            </a:xfrm>
            <a:custGeom>
              <a:avLst/>
              <a:gdLst>
                <a:gd name="T0" fmla="*/ 0 w 53"/>
                <a:gd name="T1" fmla="*/ 0 h 415"/>
                <a:gd name="T2" fmla="*/ 0 w 53"/>
                <a:gd name="T3" fmla="*/ 388 h 415"/>
                <a:gd name="T4" fmla="*/ 27 w 53"/>
                <a:gd name="T5" fmla="*/ 415 h 415"/>
                <a:gd name="T6" fmla="*/ 53 w 53"/>
                <a:gd name="T7" fmla="*/ 388 h 415"/>
                <a:gd name="T8" fmla="*/ 53 w 53"/>
                <a:gd name="T9" fmla="*/ 0 h 415"/>
                <a:gd name="T10" fmla="*/ 0 w 53"/>
                <a:gd name="T11" fmla="*/ 0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3" h="415">
                  <a:moveTo>
                    <a:pt x="0" y="0"/>
                  </a:moveTo>
                  <a:cubicBezTo>
                    <a:pt x="0" y="388"/>
                    <a:pt x="0" y="388"/>
                    <a:pt x="0" y="388"/>
                  </a:cubicBezTo>
                  <a:cubicBezTo>
                    <a:pt x="0" y="403"/>
                    <a:pt x="12" y="415"/>
                    <a:pt x="27" y="415"/>
                  </a:cubicBezTo>
                  <a:cubicBezTo>
                    <a:pt x="41" y="415"/>
                    <a:pt x="53" y="403"/>
                    <a:pt x="53" y="388"/>
                  </a:cubicBezTo>
                  <a:cubicBezTo>
                    <a:pt x="53" y="0"/>
                    <a:pt x="53" y="0"/>
                    <a:pt x="5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8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2" name="Freeform 35"/>
            <p:cNvSpPr>
              <a:spLocks/>
            </p:cNvSpPr>
            <p:nvPr/>
          </p:nvSpPr>
          <p:spPr bwMode="auto">
            <a:xfrm>
              <a:off x="10271508" y="5610898"/>
              <a:ext cx="47625" cy="414338"/>
            </a:xfrm>
            <a:custGeom>
              <a:avLst/>
              <a:gdLst>
                <a:gd name="T0" fmla="*/ 33 w 47"/>
                <a:gd name="T1" fmla="*/ 0 h 415"/>
                <a:gd name="T2" fmla="*/ 33 w 47"/>
                <a:gd name="T3" fmla="*/ 379 h 415"/>
                <a:gd name="T4" fmla="*/ 6 w 47"/>
                <a:gd name="T5" fmla="*/ 406 h 415"/>
                <a:gd name="T6" fmla="*/ 0 w 47"/>
                <a:gd name="T7" fmla="*/ 406 h 415"/>
                <a:gd name="T8" fmla="*/ 21 w 47"/>
                <a:gd name="T9" fmla="*/ 415 h 415"/>
                <a:gd name="T10" fmla="*/ 47 w 47"/>
                <a:gd name="T11" fmla="*/ 388 h 415"/>
                <a:gd name="T12" fmla="*/ 47 w 47"/>
                <a:gd name="T13" fmla="*/ 0 h 415"/>
                <a:gd name="T14" fmla="*/ 33 w 47"/>
                <a:gd name="T15" fmla="*/ 0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15">
                  <a:moveTo>
                    <a:pt x="33" y="0"/>
                  </a:moveTo>
                  <a:cubicBezTo>
                    <a:pt x="33" y="379"/>
                    <a:pt x="33" y="379"/>
                    <a:pt x="33" y="379"/>
                  </a:cubicBezTo>
                  <a:cubicBezTo>
                    <a:pt x="33" y="394"/>
                    <a:pt x="21" y="406"/>
                    <a:pt x="6" y="406"/>
                  </a:cubicBezTo>
                  <a:cubicBezTo>
                    <a:pt x="4" y="406"/>
                    <a:pt x="2" y="406"/>
                    <a:pt x="0" y="406"/>
                  </a:cubicBezTo>
                  <a:cubicBezTo>
                    <a:pt x="5" y="411"/>
                    <a:pt x="12" y="415"/>
                    <a:pt x="21" y="415"/>
                  </a:cubicBezTo>
                  <a:cubicBezTo>
                    <a:pt x="35" y="415"/>
                    <a:pt x="47" y="403"/>
                    <a:pt x="47" y="388"/>
                  </a:cubicBezTo>
                  <a:cubicBezTo>
                    <a:pt x="47" y="0"/>
                    <a:pt x="47" y="0"/>
                    <a:pt x="47" y="0"/>
                  </a:cubicBezTo>
                  <a:lnTo>
                    <a:pt x="33" y="0"/>
                  </a:lnTo>
                  <a:close/>
                </a:path>
              </a:pathLst>
            </a:custGeom>
            <a:solidFill>
              <a:srgbClr val="8A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4" name="Freeform 36"/>
            <p:cNvSpPr>
              <a:spLocks/>
            </p:cNvSpPr>
            <p:nvPr/>
          </p:nvSpPr>
          <p:spPr bwMode="auto">
            <a:xfrm>
              <a:off x="10254046" y="5839498"/>
              <a:ext cx="76200" cy="85725"/>
            </a:xfrm>
            <a:custGeom>
              <a:avLst/>
              <a:gdLst>
                <a:gd name="T0" fmla="*/ 71 w 77"/>
                <a:gd name="T1" fmla="*/ 86 h 86"/>
                <a:gd name="T2" fmla="*/ 66 w 77"/>
                <a:gd name="T3" fmla="*/ 80 h 86"/>
                <a:gd name="T4" fmla="*/ 66 w 77"/>
                <a:gd name="T5" fmla="*/ 11 h 86"/>
                <a:gd name="T6" fmla="*/ 12 w 77"/>
                <a:gd name="T7" fmla="*/ 11 h 86"/>
                <a:gd name="T8" fmla="*/ 12 w 77"/>
                <a:gd name="T9" fmla="*/ 80 h 86"/>
                <a:gd name="T10" fmla="*/ 6 w 77"/>
                <a:gd name="T11" fmla="*/ 86 h 86"/>
                <a:gd name="T12" fmla="*/ 0 w 77"/>
                <a:gd name="T13" fmla="*/ 80 h 86"/>
                <a:gd name="T14" fmla="*/ 0 w 77"/>
                <a:gd name="T15" fmla="*/ 6 h 86"/>
                <a:gd name="T16" fmla="*/ 6 w 77"/>
                <a:gd name="T17" fmla="*/ 0 h 86"/>
                <a:gd name="T18" fmla="*/ 71 w 77"/>
                <a:gd name="T19" fmla="*/ 0 h 86"/>
                <a:gd name="T20" fmla="*/ 77 w 77"/>
                <a:gd name="T21" fmla="*/ 6 h 86"/>
                <a:gd name="T22" fmla="*/ 77 w 77"/>
                <a:gd name="T23" fmla="*/ 80 h 86"/>
                <a:gd name="T24" fmla="*/ 71 w 77"/>
                <a:gd name="T2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86">
                  <a:moveTo>
                    <a:pt x="71" y="86"/>
                  </a:moveTo>
                  <a:cubicBezTo>
                    <a:pt x="68" y="86"/>
                    <a:pt x="66" y="83"/>
                    <a:pt x="66" y="80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80"/>
                    <a:pt x="12" y="80"/>
                    <a:pt x="12" y="80"/>
                  </a:cubicBezTo>
                  <a:cubicBezTo>
                    <a:pt x="12" y="83"/>
                    <a:pt x="9" y="86"/>
                    <a:pt x="6" y="86"/>
                  </a:cubicBezTo>
                  <a:cubicBezTo>
                    <a:pt x="3" y="86"/>
                    <a:pt x="0" y="83"/>
                    <a:pt x="0" y="8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4" y="0"/>
                    <a:pt x="77" y="3"/>
                    <a:pt x="77" y="6"/>
                  </a:cubicBezTo>
                  <a:cubicBezTo>
                    <a:pt x="77" y="80"/>
                    <a:pt x="77" y="80"/>
                    <a:pt x="77" y="80"/>
                  </a:cubicBezTo>
                  <a:cubicBezTo>
                    <a:pt x="77" y="83"/>
                    <a:pt x="74" y="86"/>
                    <a:pt x="71" y="86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Freeform 37"/>
            <p:cNvSpPr>
              <a:spLocks/>
            </p:cNvSpPr>
            <p:nvPr/>
          </p:nvSpPr>
          <p:spPr bwMode="auto">
            <a:xfrm>
              <a:off x="10287383" y="5828386"/>
              <a:ext cx="9525" cy="53975"/>
            </a:xfrm>
            <a:custGeom>
              <a:avLst/>
              <a:gdLst>
                <a:gd name="T0" fmla="*/ 6 w 11"/>
                <a:gd name="T1" fmla="*/ 53 h 53"/>
                <a:gd name="T2" fmla="*/ 0 w 11"/>
                <a:gd name="T3" fmla="*/ 47 h 53"/>
                <a:gd name="T4" fmla="*/ 0 w 11"/>
                <a:gd name="T5" fmla="*/ 5 h 53"/>
                <a:gd name="T6" fmla="*/ 6 w 11"/>
                <a:gd name="T7" fmla="*/ 0 h 53"/>
                <a:gd name="T8" fmla="*/ 11 w 11"/>
                <a:gd name="T9" fmla="*/ 5 h 53"/>
                <a:gd name="T10" fmla="*/ 11 w 11"/>
                <a:gd name="T11" fmla="*/ 47 h 53"/>
                <a:gd name="T12" fmla="*/ 6 w 11"/>
                <a:gd name="T1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53">
                  <a:moveTo>
                    <a:pt x="6" y="53"/>
                  </a:moveTo>
                  <a:cubicBezTo>
                    <a:pt x="2" y="53"/>
                    <a:pt x="0" y="50"/>
                    <a:pt x="0" y="4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1" y="50"/>
                    <a:pt x="9" y="53"/>
                    <a:pt x="6" y="53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Freeform 38"/>
            <p:cNvSpPr>
              <a:spLocks/>
            </p:cNvSpPr>
            <p:nvPr/>
          </p:nvSpPr>
          <p:spPr bwMode="auto">
            <a:xfrm>
              <a:off x="9482521" y="6283998"/>
              <a:ext cx="1128712" cy="4763"/>
            </a:xfrm>
            <a:custGeom>
              <a:avLst/>
              <a:gdLst>
                <a:gd name="T0" fmla="*/ 1119 w 1121"/>
                <a:gd name="T1" fmla="*/ 4 h 4"/>
                <a:gd name="T2" fmla="*/ 2 w 1121"/>
                <a:gd name="T3" fmla="*/ 4 h 4"/>
                <a:gd name="T4" fmla="*/ 0 w 1121"/>
                <a:gd name="T5" fmla="*/ 2 h 4"/>
                <a:gd name="T6" fmla="*/ 2 w 1121"/>
                <a:gd name="T7" fmla="*/ 0 h 4"/>
                <a:gd name="T8" fmla="*/ 1119 w 1121"/>
                <a:gd name="T9" fmla="*/ 0 h 4"/>
                <a:gd name="T10" fmla="*/ 1121 w 1121"/>
                <a:gd name="T11" fmla="*/ 2 h 4"/>
                <a:gd name="T12" fmla="*/ 1119 w 1121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1" h="4">
                  <a:moveTo>
                    <a:pt x="1119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119" y="0"/>
                    <a:pt x="1119" y="0"/>
                    <a:pt x="1119" y="0"/>
                  </a:cubicBezTo>
                  <a:cubicBezTo>
                    <a:pt x="1120" y="0"/>
                    <a:pt x="1121" y="1"/>
                    <a:pt x="1121" y="2"/>
                  </a:cubicBezTo>
                  <a:cubicBezTo>
                    <a:pt x="1121" y="3"/>
                    <a:pt x="1120" y="4"/>
                    <a:pt x="1119" y="4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Freeform 39"/>
            <p:cNvSpPr>
              <a:spLocks/>
            </p:cNvSpPr>
            <p:nvPr/>
          </p:nvSpPr>
          <p:spPr bwMode="auto">
            <a:xfrm>
              <a:off x="9468233" y="6307811"/>
              <a:ext cx="1157287" cy="4763"/>
            </a:xfrm>
            <a:custGeom>
              <a:avLst/>
              <a:gdLst>
                <a:gd name="T0" fmla="*/ 1149 w 1151"/>
                <a:gd name="T1" fmla="*/ 4 h 4"/>
                <a:gd name="T2" fmla="*/ 2 w 1151"/>
                <a:gd name="T3" fmla="*/ 4 h 4"/>
                <a:gd name="T4" fmla="*/ 0 w 1151"/>
                <a:gd name="T5" fmla="*/ 2 h 4"/>
                <a:gd name="T6" fmla="*/ 2 w 1151"/>
                <a:gd name="T7" fmla="*/ 0 h 4"/>
                <a:gd name="T8" fmla="*/ 1149 w 1151"/>
                <a:gd name="T9" fmla="*/ 0 h 4"/>
                <a:gd name="T10" fmla="*/ 1151 w 1151"/>
                <a:gd name="T11" fmla="*/ 2 h 4"/>
                <a:gd name="T12" fmla="*/ 1149 w 1151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1" h="4">
                  <a:moveTo>
                    <a:pt x="1149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149" y="0"/>
                    <a:pt x="1149" y="0"/>
                    <a:pt x="1149" y="0"/>
                  </a:cubicBezTo>
                  <a:cubicBezTo>
                    <a:pt x="1150" y="0"/>
                    <a:pt x="1151" y="1"/>
                    <a:pt x="1151" y="2"/>
                  </a:cubicBezTo>
                  <a:cubicBezTo>
                    <a:pt x="1151" y="3"/>
                    <a:pt x="1150" y="4"/>
                    <a:pt x="1149" y="4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Freeform 40"/>
            <p:cNvSpPr>
              <a:spLocks/>
            </p:cNvSpPr>
            <p:nvPr/>
          </p:nvSpPr>
          <p:spPr bwMode="auto">
            <a:xfrm>
              <a:off x="9449183" y="6331623"/>
              <a:ext cx="1195387" cy="3175"/>
            </a:xfrm>
            <a:custGeom>
              <a:avLst/>
              <a:gdLst>
                <a:gd name="T0" fmla="*/ 1186 w 1188"/>
                <a:gd name="T1" fmla="*/ 4 h 4"/>
                <a:gd name="T2" fmla="*/ 2 w 1188"/>
                <a:gd name="T3" fmla="*/ 4 h 4"/>
                <a:gd name="T4" fmla="*/ 0 w 1188"/>
                <a:gd name="T5" fmla="*/ 2 h 4"/>
                <a:gd name="T6" fmla="*/ 2 w 1188"/>
                <a:gd name="T7" fmla="*/ 0 h 4"/>
                <a:gd name="T8" fmla="*/ 1186 w 1188"/>
                <a:gd name="T9" fmla="*/ 0 h 4"/>
                <a:gd name="T10" fmla="*/ 1188 w 1188"/>
                <a:gd name="T11" fmla="*/ 2 h 4"/>
                <a:gd name="T12" fmla="*/ 1186 w 118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88" h="4">
                  <a:moveTo>
                    <a:pt x="118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186" y="0"/>
                    <a:pt x="1186" y="0"/>
                    <a:pt x="1186" y="0"/>
                  </a:cubicBezTo>
                  <a:cubicBezTo>
                    <a:pt x="1187" y="0"/>
                    <a:pt x="1188" y="1"/>
                    <a:pt x="1188" y="2"/>
                  </a:cubicBezTo>
                  <a:cubicBezTo>
                    <a:pt x="1188" y="3"/>
                    <a:pt x="1187" y="4"/>
                    <a:pt x="1186" y="4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Freeform 41"/>
            <p:cNvSpPr>
              <a:spLocks noEditPoints="1"/>
            </p:cNvSpPr>
            <p:nvPr/>
          </p:nvSpPr>
          <p:spPr bwMode="auto">
            <a:xfrm>
              <a:off x="9893683" y="6366548"/>
              <a:ext cx="304800" cy="42863"/>
            </a:xfrm>
            <a:custGeom>
              <a:avLst/>
              <a:gdLst>
                <a:gd name="T0" fmla="*/ 192 w 192"/>
                <a:gd name="T1" fmla="*/ 27 h 27"/>
                <a:gd name="T2" fmla="*/ 0 w 192"/>
                <a:gd name="T3" fmla="*/ 27 h 27"/>
                <a:gd name="T4" fmla="*/ 21 w 192"/>
                <a:gd name="T5" fmla="*/ 0 h 27"/>
                <a:gd name="T6" fmla="*/ 171 w 192"/>
                <a:gd name="T7" fmla="*/ 0 h 27"/>
                <a:gd name="T8" fmla="*/ 192 w 192"/>
                <a:gd name="T9" fmla="*/ 27 h 27"/>
                <a:gd name="T10" fmla="*/ 5 w 192"/>
                <a:gd name="T11" fmla="*/ 24 h 27"/>
                <a:gd name="T12" fmla="*/ 187 w 192"/>
                <a:gd name="T13" fmla="*/ 24 h 27"/>
                <a:gd name="T14" fmla="*/ 170 w 192"/>
                <a:gd name="T15" fmla="*/ 2 h 27"/>
                <a:gd name="T16" fmla="*/ 23 w 192"/>
                <a:gd name="T17" fmla="*/ 2 h 27"/>
                <a:gd name="T18" fmla="*/ 5 w 192"/>
                <a:gd name="T19" fmla="*/ 2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2" h="27">
                  <a:moveTo>
                    <a:pt x="192" y="27"/>
                  </a:moveTo>
                  <a:lnTo>
                    <a:pt x="0" y="27"/>
                  </a:lnTo>
                  <a:lnTo>
                    <a:pt x="21" y="0"/>
                  </a:lnTo>
                  <a:lnTo>
                    <a:pt x="171" y="0"/>
                  </a:lnTo>
                  <a:lnTo>
                    <a:pt x="192" y="27"/>
                  </a:lnTo>
                  <a:close/>
                  <a:moveTo>
                    <a:pt x="5" y="24"/>
                  </a:moveTo>
                  <a:lnTo>
                    <a:pt x="187" y="24"/>
                  </a:lnTo>
                  <a:lnTo>
                    <a:pt x="170" y="2"/>
                  </a:lnTo>
                  <a:lnTo>
                    <a:pt x="23" y="2"/>
                  </a:lnTo>
                  <a:lnTo>
                    <a:pt x="5" y="24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Freeform 42"/>
            <p:cNvSpPr>
              <a:spLocks/>
            </p:cNvSpPr>
            <p:nvPr/>
          </p:nvSpPr>
          <p:spPr bwMode="auto">
            <a:xfrm>
              <a:off x="10562021" y="5844261"/>
              <a:ext cx="44450" cy="42863"/>
            </a:xfrm>
            <a:custGeom>
              <a:avLst/>
              <a:gdLst>
                <a:gd name="T0" fmla="*/ 0 w 28"/>
                <a:gd name="T1" fmla="*/ 3 h 27"/>
                <a:gd name="T2" fmla="*/ 0 w 28"/>
                <a:gd name="T3" fmla="*/ 23 h 27"/>
                <a:gd name="T4" fmla="*/ 28 w 28"/>
                <a:gd name="T5" fmla="*/ 27 h 27"/>
                <a:gd name="T6" fmla="*/ 28 w 28"/>
                <a:gd name="T7" fmla="*/ 0 h 27"/>
                <a:gd name="T8" fmla="*/ 0 w 28"/>
                <a:gd name="T9" fmla="*/ 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7">
                  <a:moveTo>
                    <a:pt x="0" y="3"/>
                  </a:moveTo>
                  <a:lnTo>
                    <a:pt x="0" y="23"/>
                  </a:lnTo>
                  <a:lnTo>
                    <a:pt x="28" y="27"/>
                  </a:lnTo>
                  <a:lnTo>
                    <a:pt x="28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494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43"/>
            <p:cNvSpPr>
              <a:spLocks noChangeArrowheads="1"/>
            </p:cNvSpPr>
            <p:nvPr/>
          </p:nvSpPr>
          <p:spPr bwMode="auto">
            <a:xfrm>
              <a:off x="10184196" y="5495011"/>
              <a:ext cx="69850" cy="19050"/>
            </a:xfrm>
            <a:prstGeom prst="rect">
              <a:avLst/>
            </a:prstGeom>
            <a:solidFill>
              <a:srgbClr val="BA1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6" name="Rectangle 44"/>
            <p:cNvSpPr>
              <a:spLocks noChangeArrowheads="1"/>
            </p:cNvSpPr>
            <p:nvPr/>
          </p:nvSpPr>
          <p:spPr bwMode="auto">
            <a:xfrm>
              <a:off x="9842883" y="5495011"/>
              <a:ext cx="69850" cy="19050"/>
            </a:xfrm>
            <a:prstGeom prst="rect">
              <a:avLst/>
            </a:prstGeom>
            <a:solidFill>
              <a:srgbClr val="BA1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58" name="Group 257"/>
          <p:cNvGrpSpPr/>
          <p:nvPr/>
        </p:nvGrpSpPr>
        <p:grpSpPr>
          <a:xfrm>
            <a:off x="506398" y="3789131"/>
            <a:ext cx="726083" cy="456511"/>
            <a:chOff x="3175001" y="2908300"/>
            <a:chExt cx="2552700" cy="1604963"/>
          </a:xfrm>
        </p:grpSpPr>
        <p:sp>
          <p:nvSpPr>
            <p:cNvPr id="259" name="Freeform 7"/>
            <p:cNvSpPr>
              <a:spLocks/>
            </p:cNvSpPr>
            <p:nvPr/>
          </p:nvSpPr>
          <p:spPr bwMode="auto">
            <a:xfrm>
              <a:off x="3797301" y="2913063"/>
              <a:ext cx="1314450" cy="838200"/>
            </a:xfrm>
            <a:custGeom>
              <a:avLst/>
              <a:gdLst>
                <a:gd name="T0" fmla="*/ 1207 w 1227"/>
                <a:gd name="T1" fmla="*/ 0 h 788"/>
                <a:gd name="T2" fmla="*/ 20 w 1227"/>
                <a:gd name="T3" fmla="*/ 0 h 788"/>
                <a:gd name="T4" fmla="*/ 0 w 1227"/>
                <a:gd name="T5" fmla="*/ 21 h 788"/>
                <a:gd name="T6" fmla="*/ 0 w 1227"/>
                <a:gd name="T7" fmla="*/ 788 h 788"/>
                <a:gd name="T8" fmla="*/ 1227 w 1227"/>
                <a:gd name="T9" fmla="*/ 788 h 788"/>
                <a:gd name="T10" fmla="*/ 1227 w 1227"/>
                <a:gd name="T11" fmla="*/ 21 h 788"/>
                <a:gd name="T12" fmla="*/ 1207 w 1227"/>
                <a:gd name="T1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27" h="788">
                  <a:moveTo>
                    <a:pt x="1207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10"/>
                    <a:pt x="0" y="21"/>
                  </a:cubicBezTo>
                  <a:cubicBezTo>
                    <a:pt x="0" y="788"/>
                    <a:pt x="0" y="788"/>
                    <a:pt x="0" y="788"/>
                  </a:cubicBezTo>
                  <a:cubicBezTo>
                    <a:pt x="1227" y="788"/>
                    <a:pt x="1227" y="788"/>
                    <a:pt x="1227" y="788"/>
                  </a:cubicBezTo>
                  <a:cubicBezTo>
                    <a:pt x="1227" y="21"/>
                    <a:pt x="1227" y="21"/>
                    <a:pt x="1227" y="21"/>
                  </a:cubicBezTo>
                  <a:cubicBezTo>
                    <a:pt x="1227" y="10"/>
                    <a:pt x="1218" y="0"/>
                    <a:pt x="1207" y="0"/>
                  </a:cubicBezTo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0" name="Freeform 8"/>
            <p:cNvSpPr>
              <a:spLocks/>
            </p:cNvSpPr>
            <p:nvPr/>
          </p:nvSpPr>
          <p:spPr bwMode="auto">
            <a:xfrm>
              <a:off x="3792538" y="2908300"/>
              <a:ext cx="1323975" cy="847725"/>
            </a:xfrm>
            <a:custGeom>
              <a:avLst/>
              <a:gdLst>
                <a:gd name="T0" fmla="*/ 1211 w 1235"/>
                <a:gd name="T1" fmla="*/ 4 h 796"/>
                <a:gd name="T2" fmla="*/ 1211 w 1235"/>
                <a:gd name="T3" fmla="*/ 0 h 796"/>
                <a:gd name="T4" fmla="*/ 24 w 1235"/>
                <a:gd name="T5" fmla="*/ 0 h 796"/>
                <a:gd name="T6" fmla="*/ 7 w 1235"/>
                <a:gd name="T7" fmla="*/ 8 h 796"/>
                <a:gd name="T8" fmla="*/ 0 w 1235"/>
                <a:gd name="T9" fmla="*/ 25 h 796"/>
                <a:gd name="T10" fmla="*/ 0 w 1235"/>
                <a:gd name="T11" fmla="*/ 796 h 796"/>
                <a:gd name="T12" fmla="*/ 1235 w 1235"/>
                <a:gd name="T13" fmla="*/ 796 h 796"/>
                <a:gd name="T14" fmla="*/ 1235 w 1235"/>
                <a:gd name="T15" fmla="*/ 25 h 796"/>
                <a:gd name="T16" fmla="*/ 1228 w 1235"/>
                <a:gd name="T17" fmla="*/ 8 h 796"/>
                <a:gd name="T18" fmla="*/ 1211 w 1235"/>
                <a:gd name="T19" fmla="*/ 0 h 796"/>
                <a:gd name="T20" fmla="*/ 1211 w 1235"/>
                <a:gd name="T21" fmla="*/ 4 h 796"/>
                <a:gd name="T22" fmla="*/ 1211 w 1235"/>
                <a:gd name="T23" fmla="*/ 9 h 796"/>
                <a:gd name="T24" fmla="*/ 1222 w 1235"/>
                <a:gd name="T25" fmla="*/ 13 h 796"/>
                <a:gd name="T26" fmla="*/ 1227 w 1235"/>
                <a:gd name="T27" fmla="*/ 25 h 796"/>
                <a:gd name="T28" fmla="*/ 1227 w 1235"/>
                <a:gd name="T29" fmla="*/ 788 h 796"/>
                <a:gd name="T30" fmla="*/ 8 w 1235"/>
                <a:gd name="T31" fmla="*/ 788 h 796"/>
                <a:gd name="T32" fmla="*/ 8 w 1235"/>
                <a:gd name="T33" fmla="*/ 25 h 796"/>
                <a:gd name="T34" fmla="*/ 13 w 1235"/>
                <a:gd name="T35" fmla="*/ 13 h 796"/>
                <a:gd name="T36" fmla="*/ 24 w 1235"/>
                <a:gd name="T37" fmla="*/ 9 h 796"/>
                <a:gd name="T38" fmla="*/ 1211 w 1235"/>
                <a:gd name="T39" fmla="*/ 9 h 796"/>
                <a:gd name="T40" fmla="*/ 1211 w 1235"/>
                <a:gd name="T41" fmla="*/ 4 h 7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35" h="796">
                  <a:moveTo>
                    <a:pt x="1211" y="4"/>
                  </a:moveTo>
                  <a:cubicBezTo>
                    <a:pt x="1211" y="0"/>
                    <a:pt x="1211" y="0"/>
                    <a:pt x="1211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7" y="0"/>
                    <a:pt x="11" y="3"/>
                    <a:pt x="7" y="8"/>
                  </a:cubicBezTo>
                  <a:cubicBezTo>
                    <a:pt x="3" y="12"/>
                    <a:pt x="0" y="18"/>
                    <a:pt x="0" y="25"/>
                  </a:cubicBezTo>
                  <a:cubicBezTo>
                    <a:pt x="0" y="796"/>
                    <a:pt x="0" y="796"/>
                    <a:pt x="0" y="796"/>
                  </a:cubicBezTo>
                  <a:cubicBezTo>
                    <a:pt x="1235" y="796"/>
                    <a:pt x="1235" y="796"/>
                    <a:pt x="1235" y="796"/>
                  </a:cubicBezTo>
                  <a:cubicBezTo>
                    <a:pt x="1235" y="25"/>
                    <a:pt x="1235" y="25"/>
                    <a:pt x="1235" y="25"/>
                  </a:cubicBezTo>
                  <a:cubicBezTo>
                    <a:pt x="1235" y="18"/>
                    <a:pt x="1232" y="12"/>
                    <a:pt x="1228" y="8"/>
                  </a:cubicBezTo>
                  <a:cubicBezTo>
                    <a:pt x="1224" y="3"/>
                    <a:pt x="1218" y="0"/>
                    <a:pt x="1211" y="0"/>
                  </a:cubicBezTo>
                  <a:cubicBezTo>
                    <a:pt x="1211" y="4"/>
                    <a:pt x="1211" y="4"/>
                    <a:pt x="1211" y="4"/>
                  </a:cubicBezTo>
                  <a:cubicBezTo>
                    <a:pt x="1211" y="9"/>
                    <a:pt x="1211" y="9"/>
                    <a:pt x="1211" y="9"/>
                  </a:cubicBezTo>
                  <a:cubicBezTo>
                    <a:pt x="1215" y="9"/>
                    <a:pt x="1219" y="10"/>
                    <a:pt x="1222" y="13"/>
                  </a:cubicBezTo>
                  <a:cubicBezTo>
                    <a:pt x="1225" y="16"/>
                    <a:pt x="1227" y="21"/>
                    <a:pt x="1227" y="25"/>
                  </a:cubicBezTo>
                  <a:cubicBezTo>
                    <a:pt x="1227" y="788"/>
                    <a:pt x="1227" y="788"/>
                    <a:pt x="1227" y="788"/>
                  </a:cubicBezTo>
                  <a:cubicBezTo>
                    <a:pt x="8" y="788"/>
                    <a:pt x="8" y="788"/>
                    <a:pt x="8" y="788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1"/>
                    <a:pt x="10" y="16"/>
                    <a:pt x="13" y="13"/>
                  </a:cubicBezTo>
                  <a:cubicBezTo>
                    <a:pt x="16" y="10"/>
                    <a:pt x="20" y="9"/>
                    <a:pt x="24" y="9"/>
                  </a:cubicBezTo>
                  <a:cubicBezTo>
                    <a:pt x="1211" y="9"/>
                    <a:pt x="1211" y="9"/>
                    <a:pt x="1211" y="9"/>
                  </a:cubicBezTo>
                  <a:cubicBezTo>
                    <a:pt x="1211" y="4"/>
                    <a:pt x="1211" y="4"/>
                    <a:pt x="1211" y="4"/>
                  </a:cubicBezTo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1" name="Rectangle 260"/>
            <p:cNvSpPr>
              <a:spLocks noChangeArrowheads="1"/>
            </p:cNvSpPr>
            <p:nvPr/>
          </p:nvSpPr>
          <p:spPr bwMode="auto">
            <a:xfrm>
              <a:off x="3860801" y="2978150"/>
              <a:ext cx="1187450" cy="731838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2" name="Rectangle 261"/>
            <p:cNvSpPr>
              <a:spLocks noChangeArrowheads="1"/>
            </p:cNvSpPr>
            <p:nvPr/>
          </p:nvSpPr>
          <p:spPr bwMode="auto">
            <a:xfrm>
              <a:off x="3860801" y="2978150"/>
              <a:ext cx="1187450" cy="7318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3" name="Freeform 11"/>
            <p:cNvSpPr>
              <a:spLocks/>
            </p:cNvSpPr>
            <p:nvPr/>
          </p:nvSpPr>
          <p:spPr bwMode="auto">
            <a:xfrm>
              <a:off x="3670301" y="3709988"/>
              <a:ext cx="1568450" cy="320675"/>
            </a:xfrm>
            <a:custGeom>
              <a:avLst/>
              <a:gdLst>
                <a:gd name="T0" fmla="*/ 910 w 988"/>
                <a:gd name="T1" fmla="*/ 0 h 202"/>
                <a:gd name="T2" fmla="*/ 78 w 988"/>
                <a:gd name="T3" fmla="*/ 0 h 202"/>
                <a:gd name="T4" fmla="*/ 0 w 988"/>
                <a:gd name="T5" fmla="*/ 202 h 202"/>
                <a:gd name="T6" fmla="*/ 988 w 988"/>
                <a:gd name="T7" fmla="*/ 202 h 202"/>
                <a:gd name="T8" fmla="*/ 910 w 988"/>
                <a:gd name="T9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8" h="202">
                  <a:moveTo>
                    <a:pt x="910" y="0"/>
                  </a:moveTo>
                  <a:lnTo>
                    <a:pt x="78" y="0"/>
                  </a:lnTo>
                  <a:lnTo>
                    <a:pt x="0" y="202"/>
                  </a:lnTo>
                  <a:lnTo>
                    <a:pt x="988" y="202"/>
                  </a:lnTo>
                  <a:lnTo>
                    <a:pt x="910" y="0"/>
                  </a:lnTo>
                  <a:close/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4" name="Freeform 12"/>
            <p:cNvSpPr>
              <a:spLocks/>
            </p:cNvSpPr>
            <p:nvPr/>
          </p:nvSpPr>
          <p:spPr bwMode="auto">
            <a:xfrm>
              <a:off x="3670301" y="3709988"/>
              <a:ext cx="1568450" cy="320675"/>
            </a:xfrm>
            <a:custGeom>
              <a:avLst/>
              <a:gdLst>
                <a:gd name="T0" fmla="*/ 910 w 988"/>
                <a:gd name="T1" fmla="*/ 0 h 202"/>
                <a:gd name="T2" fmla="*/ 78 w 988"/>
                <a:gd name="T3" fmla="*/ 0 h 202"/>
                <a:gd name="T4" fmla="*/ 0 w 988"/>
                <a:gd name="T5" fmla="*/ 202 h 202"/>
                <a:gd name="T6" fmla="*/ 988 w 988"/>
                <a:gd name="T7" fmla="*/ 202 h 202"/>
                <a:gd name="T8" fmla="*/ 910 w 988"/>
                <a:gd name="T9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8" h="202">
                  <a:moveTo>
                    <a:pt x="910" y="0"/>
                  </a:moveTo>
                  <a:lnTo>
                    <a:pt x="78" y="0"/>
                  </a:lnTo>
                  <a:lnTo>
                    <a:pt x="0" y="202"/>
                  </a:lnTo>
                  <a:lnTo>
                    <a:pt x="988" y="202"/>
                  </a:lnTo>
                  <a:lnTo>
                    <a:pt x="91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5" name="Freeform 13"/>
            <p:cNvSpPr>
              <a:spLocks/>
            </p:cNvSpPr>
            <p:nvPr/>
          </p:nvSpPr>
          <p:spPr bwMode="auto">
            <a:xfrm>
              <a:off x="4178301" y="3897313"/>
              <a:ext cx="547688" cy="119063"/>
            </a:xfrm>
            <a:custGeom>
              <a:avLst/>
              <a:gdLst>
                <a:gd name="T0" fmla="*/ 511 w 511"/>
                <a:gd name="T1" fmla="*/ 98 h 111"/>
                <a:gd name="T2" fmla="*/ 501 w 511"/>
                <a:gd name="T3" fmla="*/ 10 h 111"/>
                <a:gd name="T4" fmla="*/ 489 w 511"/>
                <a:gd name="T5" fmla="*/ 0 h 111"/>
                <a:gd name="T6" fmla="*/ 28 w 511"/>
                <a:gd name="T7" fmla="*/ 0 h 111"/>
                <a:gd name="T8" fmla="*/ 16 w 511"/>
                <a:gd name="T9" fmla="*/ 10 h 111"/>
                <a:gd name="T10" fmla="*/ 1 w 511"/>
                <a:gd name="T11" fmla="*/ 98 h 111"/>
                <a:gd name="T12" fmla="*/ 13 w 511"/>
                <a:gd name="T13" fmla="*/ 111 h 111"/>
                <a:gd name="T14" fmla="*/ 499 w 511"/>
                <a:gd name="T15" fmla="*/ 111 h 111"/>
                <a:gd name="T16" fmla="*/ 511 w 511"/>
                <a:gd name="T17" fmla="*/ 98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1">
                  <a:moveTo>
                    <a:pt x="511" y="98"/>
                  </a:moveTo>
                  <a:cubicBezTo>
                    <a:pt x="501" y="10"/>
                    <a:pt x="501" y="10"/>
                    <a:pt x="501" y="10"/>
                  </a:cubicBezTo>
                  <a:cubicBezTo>
                    <a:pt x="500" y="4"/>
                    <a:pt x="495" y="0"/>
                    <a:pt x="489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2" y="0"/>
                    <a:pt x="17" y="4"/>
                    <a:pt x="16" y="10"/>
                  </a:cubicBezTo>
                  <a:cubicBezTo>
                    <a:pt x="1" y="98"/>
                    <a:pt x="1" y="98"/>
                    <a:pt x="1" y="98"/>
                  </a:cubicBezTo>
                  <a:cubicBezTo>
                    <a:pt x="0" y="105"/>
                    <a:pt x="5" y="111"/>
                    <a:pt x="13" y="111"/>
                  </a:cubicBezTo>
                  <a:cubicBezTo>
                    <a:pt x="499" y="111"/>
                    <a:pt x="499" y="111"/>
                    <a:pt x="499" y="111"/>
                  </a:cubicBezTo>
                  <a:cubicBezTo>
                    <a:pt x="506" y="111"/>
                    <a:pt x="511" y="105"/>
                    <a:pt x="511" y="98"/>
                  </a:cubicBez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6" name="Freeform 14"/>
            <p:cNvSpPr>
              <a:spLocks/>
            </p:cNvSpPr>
            <p:nvPr/>
          </p:nvSpPr>
          <p:spPr bwMode="auto">
            <a:xfrm>
              <a:off x="3670301" y="4030663"/>
              <a:ext cx="1568450" cy="14288"/>
            </a:xfrm>
            <a:custGeom>
              <a:avLst/>
              <a:gdLst>
                <a:gd name="T0" fmla="*/ 1421 w 1465"/>
                <a:gd name="T1" fmla="*/ 14 h 14"/>
                <a:gd name="T2" fmla="*/ 45 w 1465"/>
                <a:gd name="T3" fmla="*/ 14 h 14"/>
                <a:gd name="T4" fmla="*/ 0 w 1465"/>
                <a:gd name="T5" fmla="*/ 0 h 14"/>
                <a:gd name="T6" fmla="*/ 0 w 1465"/>
                <a:gd name="T7" fmla="*/ 0 h 14"/>
                <a:gd name="T8" fmla="*/ 1465 w 1465"/>
                <a:gd name="T9" fmla="*/ 0 h 14"/>
                <a:gd name="T10" fmla="*/ 1465 w 1465"/>
                <a:gd name="T11" fmla="*/ 0 h 14"/>
                <a:gd name="T12" fmla="*/ 1421 w 1465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5" h="14">
                  <a:moveTo>
                    <a:pt x="1421" y="14"/>
                  </a:moveTo>
                  <a:cubicBezTo>
                    <a:pt x="45" y="14"/>
                    <a:pt x="45" y="14"/>
                    <a:pt x="45" y="14"/>
                  </a:cubicBezTo>
                  <a:cubicBezTo>
                    <a:pt x="20" y="14"/>
                    <a:pt x="0" y="8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465" y="0"/>
                    <a:pt x="1465" y="0"/>
                    <a:pt x="1465" y="0"/>
                  </a:cubicBezTo>
                  <a:cubicBezTo>
                    <a:pt x="1465" y="0"/>
                    <a:pt x="1465" y="0"/>
                    <a:pt x="1465" y="0"/>
                  </a:cubicBezTo>
                  <a:cubicBezTo>
                    <a:pt x="1465" y="8"/>
                    <a:pt x="1445" y="14"/>
                    <a:pt x="1421" y="14"/>
                  </a:cubicBezTo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7" name="Freeform 15"/>
            <p:cNvSpPr>
              <a:spLocks/>
            </p:cNvSpPr>
            <p:nvPr/>
          </p:nvSpPr>
          <p:spPr bwMode="auto">
            <a:xfrm>
              <a:off x="4279901" y="3781425"/>
              <a:ext cx="65088" cy="44450"/>
            </a:xfrm>
            <a:custGeom>
              <a:avLst/>
              <a:gdLst>
                <a:gd name="T0" fmla="*/ 0 w 41"/>
                <a:gd name="T1" fmla="*/ 28 h 28"/>
                <a:gd name="T2" fmla="*/ 40 w 41"/>
                <a:gd name="T3" fmla="*/ 28 h 28"/>
                <a:gd name="T4" fmla="*/ 41 w 41"/>
                <a:gd name="T5" fmla="*/ 0 h 28"/>
                <a:gd name="T6" fmla="*/ 2 w 41"/>
                <a:gd name="T7" fmla="*/ 0 h 28"/>
                <a:gd name="T8" fmla="*/ 0 w 41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8">
                  <a:moveTo>
                    <a:pt x="0" y="28"/>
                  </a:moveTo>
                  <a:lnTo>
                    <a:pt x="40" y="28"/>
                  </a:lnTo>
                  <a:lnTo>
                    <a:pt x="41" y="0"/>
                  </a:lnTo>
                  <a:lnTo>
                    <a:pt x="2" y="0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8" name="Freeform 16"/>
            <p:cNvSpPr>
              <a:spLocks/>
            </p:cNvSpPr>
            <p:nvPr/>
          </p:nvSpPr>
          <p:spPr bwMode="auto">
            <a:xfrm>
              <a:off x="4284663" y="3730625"/>
              <a:ext cx="61913" cy="41275"/>
            </a:xfrm>
            <a:custGeom>
              <a:avLst/>
              <a:gdLst>
                <a:gd name="T0" fmla="*/ 39 w 39"/>
                <a:gd name="T1" fmla="*/ 0 h 26"/>
                <a:gd name="T2" fmla="*/ 2 w 39"/>
                <a:gd name="T3" fmla="*/ 0 h 26"/>
                <a:gd name="T4" fmla="*/ 0 w 39"/>
                <a:gd name="T5" fmla="*/ 26 h 26"/>
                <a:gd name="T6" fmla="*/ 39 w 39"/>
                <a:gd name="T7" fmla="*/ 26 h 26"/>
                <a:gd name="T8" fmla="*/ 39 w 39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6">
                  <a:moveTo>
                    <a:pt x="39" y="0"/>
                  </a:moveTo>
                  <a:lnTo>
                    <a:pt x="2" y="0"/>
                  </a:lnTo>
                  <a:lnTo>
                    <a:pt x="0" y="26"/>
                  </a:lnTo>
                  <a:lnTo>
                    <a:pt x="39" y="26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9" name="Freeform 17"/>
            <p:cNvSpPr>
              <a:spLocks/>
            </p:cNvSpPr>
            <p:nvPr/>
          </p:nvSpPr>
          <p:spPr bwMode="auto">
            <a:xfrm>
              <a:off x="4494213" y="3781425"/>
              <a:ext cx="63500" cy="44450"/>
            </a:xfrm>
            <a:custGeom>
              <a:avLst/>
              <a:gdLst>
                <a:gd name="T0" fmla="*/ 0 w 40"/>
                <a:gd name="T1" fmla="*/ 28 h 28"/>
                <a:gd name="T2" fmla="*/ 40 w 40"/>
                <a:gd name="T3" fmla="*/ 28 h 28"/>
                <a:gd name="T4" fmla="*/ 39 w 40"/>
                <a:gd name="T5" fmla="*/ 0 h 28"/>
                <a:gd name="T6" fmla="*/ 0 w 40"/>
                <a:gd name="T7" fmla="*/ 0 h 28"/>
                <a:gd name="T8" fmla="*/ 0 w 40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8">
                  <a:moveTo>
                    <a:pt x="0" y="28"/>
                  </a:moveTo>
                  <a:lnTo>
                    <a:pt x="40" y="28"/>
                  </a:lnTo>
                  <a:lnTo>
                    <a:pt x="39" y="0"/>
                  </a:lnTo>
                  <a:lnTo>
                    <a:pt x="0" y="0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0" name="Freeform 18"/>
            <p:cNvSpPr>
              <a:spLocks/>
            </p:cNvSpPr>
            <p:nvPr/>
          </p:nvSpPr>
          <p:spPr bwMode="auto">
            <a:xfrm>
              <a:off x="4494213" y="3730625"/>
              <a:ext cx="61913" cy="41275"/>
            </a:xfrm>
            <a:custGeom>
              <a:avLst/>
              <a:gdLst>
                <a:gd name="T0" fmla="*/ 0 w 39"/>
                <a:gd name="T1" fmla="*/ 26 h 26"/>
                <a:gd name="T2" fmla="*/ 39 w 39"/>
                <a:gd name="T3" fmla="*/ 26 h 26"/>
                <a:gd name="T4" fmla="*/ 37 w 39"/>
                <a:gd name="T5" fmla="*/ 0 h 26"/>
                <a:gd name="T6" fmla="*/ 0 w 39"/>
                <a:gd name="T7" fmla="*/ 0 h 26"/>
                <a:gd name="T8" fmla="*/ 0 w 39"/>
                <a:gd name="T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6">
                  <a:moveTo>
                    <a:pt x="0" y="26"/>
                  </a:moveTo>
                  <a:lnTo>
                    <a:pt x="39" y="26"/>
                  </a:lnTo>
                  <a:lnTo>
                    <a:pt x="37" y="0"/>
                  </a:lnTo>
                  <a:lnTo>
                    <a:pt x="0" y="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1" name="Freeform 19"/>
            <p:cNvSpPr>
              <a:spLocks/>
            </p:cNvSpPr>
            <p:nvPr/>
          </p:nvSpPr>
          <p:spPr bwMode="auto">
            <a:xfrm>
              <a:off x="4562476" y="3730625"/>
              <a:ext cx="63500" cy="41275"/>
            </a:xfrm>
            <a:custGeom>
              <a:avLst/>
              <a:gdLst>
                <a:gd name="T0" fmla="*/ 1 w 40"/>
                <a:gd name="T1" fmla="*/ 26 h 26"/>
                <a:gd name="T2" fmla="*/ 40 w 40"/>
                <a:gd name="T3" fmla="*/ 26 h 26"/>
                <a:gd name="T4" fmla="*/ 37 w 40"/>
                <a:gd name="T5" fmla="*/ 0 h 26"/>
                <a:gd name="T6" fmla="*/ 0 w 40"/>
                <a:gd name="T7" fmla="*/ 0 h 26"/>
                <a:gd name="T8" fmla="*/ 1 w 40"/>
                <a:gd name="T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6">
                  <a:moveTo>
                    <a:pt x="1" y="26"/>
                  </a:moveTo>
                  <a:lnTo>
                    <a:pt x="40" y="26"/>
                  </a:lnTo>
                  <a:lnTo>
                    <a:pt x="37" y="0"/>
                  </a:lnTo>
                  <a:lnTo>
                    <a:pt x="0" y="0"/>
                  </a:lnTo>
                  <a:lnTo>
                    <a:pt x="1" y="26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2" name="Freeform 20"/>
            <p:cNvSpPr>
              <a:spLocks/>
            </p:cNvSpPr>
            <p:nvPr/>
          </p:nvSpPr>
          <p:spPr bwMode="auto">
            <a:xfrm>
              <a:off x="4214813" y="3730625"/>
              <a:ext cx="65088" cy="41275"/>
            </a:xfrm>
            <a:custGeom>
              <a:avLst/>
              <a:gdLst>
                <a:gd name="T0" fmla="*/ 41 w 41"/>
                <a:gd name="T1" fmla="*/ 0 h 26"/>
                <a:gd name="T2" fmla="*/ 4 w 41"/>
                <a:gd name="T3" fmla="*/ 0 h 26"/>
                <a:gd name="T4" fmla="*/ 0 w 41"/>
                <a:gd name="T5" fmla="*/ 26 h 26"/>
                <a:gd name="T6" fmla="*/ 39 w 41"/>
                <a:gd name="T7" fmla="*/ 26 h 26"/>
                <a:gd name="T8" fmla="*/ 41 w 41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6">
                  <a:moveTo>
                    <a:pt x="41" y="0"/>
                  </a:moveTo>
                  <a:lnTo>
                    <a:pt x="4" y="0"/>
                  </a:lnTo>
                  <a:lnTo>
                    <a:pt x="0" y="26"/>
                  </a:lnTo>
                  <a:lnTo>
                    <a:pt x="39" y="26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3" name="Freeform 21"/>
            <p:cNvSpPr>
              <a:spLocks/>
            </p:cNvSpPr>
            <p:nvPr/>
          </p:nvSpPr>
          <p:spPr bwMode="auto">
            <a:xfrm>
              <a:off x="4135438" y="3781425"/>
              <a:ext cx="69850" cy="44450"/>
            </a:xfrm>
            <a:custGeom>
              <a:avLst/>
              <a:gdLst>
                <a:gd name="T0" fmla="*/ 0 w 44"/>
                <a:gd name="T1" fmla="*/ 28 h 28"/>
                <a:gd name="T2" fmla="*/ 40 w 44"/>
                <a:gd name="T3" fmla="*/ 28 h 28"/>
                <a:gd name="T4" fmla="*/ 44 w 44"/>
                <a:gd name="T5" fmla="*/ 0 h 28"/>
                <a:gd name="T6" fmla="*/ 6 w 44"/>
                <a:gd name="T7" fmla="*/ 0 h 28"/>
                <a:gd name="T8" fmla="*/ 0 w 44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28">
                  <a:moveTo>
                    <a:pt x="0" y="28"/>
                  </a:moveTo>
                  <a:lnTo>
                    <a:pt x="40" y="28"/>
                  </a:lnTo>
                  <a:lnTo>
                    <a:pt x="44" y="0"/>
                  </a:lnTo>
                  <a:lnTo>
                    <a:pt x="6" y="0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4" name="Freeform 22"/>
            <p:cNvSpPr>
              <a:spLocks/>
            </p:cNvSpPr>
            <p:nvPr/>
          </p:nvSpPr>
          <p:spPr bwMode="auto">
            <a:xfrm>
              <a:off x="3992563" y="3781425"/>
              <a:ext cx="73025" cy="44450"/>
            </a:xfrm>
            <a:custGeom>
              <a:avLst/>
              <a:gdLst>
                <a:gd name="T0" fmla="*/ 46 w 46"/>
                <a:gd name="T1" fmla="*/ 0 h 28"/>
                <a:gd name="T2" fmla="*/ 7 w 46"/>
                <a:gd name="T3" fmla="*/ 0 h 28"/>
                <a:gd name="T4" fmla="*/ 0 w 46"/>
                <a:gd name="T5" fmla="*/ 28 h 28"/>
                <a:gd name="T6" fmla="*/ 40 w 46"/>
                <a:gd name="T7" fmla="*/ 28 h 28"/>
                <a:gd name="T8" fmla="*/ 46 w 46"/>
                <a:gd name="T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28">
                  <a:moveTo>
                    <a:pt x="46" y="0"/>
                  </a:moveTo>
                  <a:lnTo>
                    <a:pt x="7" y="0"/>
                  </a:lnTo>
                  <a:lnTo>
                    <a:pt x="0" y="28"/>
                  </a:lnTo>
                  <a:lnTo>
                    <a:pt x="40" y="28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5" name="Freeform 23"/>
            <p:cNvSpPr>
              <a:spLocks/>
            </p:cNvSpPr>
            <p:nvPr/>
          </p:nvSpPr>
          <p:spPr bwMode="auto">
            <a:xfrm>
              <a:off x="4075113" y="3730625"/>
              <a:ext cx="69850" cy="41275"/>
            </a:xfrm>
            <a:custGeom>
              <a:avLst/>
              <a:gdLst>
                <a:gd name="T0" fmla="*/ 0 w 44"/>
                <a:gd name="T1" fmla="*/ 26 h 26"/>
                <a:gd name="T2" fmla="*/ 39 w 44"/>
                <a:gd name="T3" fmla="*/ 26 h 26"/>
                <a:gd name="T4" fmla="*/ 44 w 44"/>
                <a:gd name="T5" fmla="*/ 0 h 26"/>
                <a:gd name="T6" fmla="*/ 6 w 44"/>
                <a:gd name="T7" fmla="*/ 0 h 26"/>
                <a:gd name="T8" fmla="*/ 0 w 44"/>
                <a:gd name="T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26">
                  <a:moveTo>
                    <a:pt x="0" y="26"/>
                  </a:moveTo>
                  <a:lnTo>
                    <a:pt x="39" y="26"/>
                  </a:lnTo>
                  <a:lnTo>
                    <a:pt x="44" y="0"/>
                  </a:lnTo>
                  <a:lnTo>
                    <a:pt x="6" y="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6" name="Freeform 24"/>
            <p:cNvSpPr>
              <a:spLocks/>
            </p:cNvSpPr>
            <p:nvPr/>
          </p:nvSpPr>
          <p:spPr bwMode="auto">
            <a:xfrm>
              <a:off x="4206876" y="3781425"/>
              <a:ext cx="68263" cy="44450"/>
            </a:xfrm>
            <a:custGeom>
              <a:avLst/>
              <a:gdLst>
                <a:gd name="T0" fmla="*/ 0 w 43"/>
                <a:gd name="T1" fmla="*/ 28 h 28"/>
                <a:gd name="T2" fmla="*/ 40 w 43"/>
                <a:gd name="T3" fmla="*/ 28 h 28"/>
                <a:gd name="T4" fmla="*/ 43 w 43"/>
                <a:gd name="T5" fmla="*/ 0 h 28"/>
                <a:gd name="T6" fmla="*/ 4 w 43"/>
                <a:gd name="T7" fmla="*/ 0 h 28"/>
                <a:gd name="T8" fmla="*/ 0 w 43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28">
                  <a:moveTo>
                    <a:pt x="0" y="28"/>
                  </a:moveTo>
                  <a:lnTo>
                    <a:pt x="40" y="28"/>
                  </a:lnTo>
                  <a:lnTo>
                    <a:pt x="43" y="0"/>
                  </a:lnTo>
                  <a:lnTo>
                    <a:pt x="4" y="0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7" name="Freeform 25"/>
            <p:cNvSpPr>
              <a:spLocks/>
            </p:cNvSpPr>
            <p:nvPr/>
          </p:nvSpPr>
          <p:spPr bwMode="auto">
            <a:xfrm>
              <a:off x="4144963" y="3730625"/>
              <a:ext cx="66675" cy="41275"/>
            </a:xfrm>
            <a:custGeom>
              <a:avLst/>
              <a:gdLst>
                <a:gd name="T0" fmla="*/ 0 w 42"/>
                <a:gd name="T1" fmla="*/ 26 h 26"/>
                <a:gd name="T2" fmla="*/ 39 w 42"/>
                <a:gd name="T3" fmla="*/ 26 h 26"/>
                <a:gd name="T4" fmla="*/ 42 w 42"/>
                <a:gd name="T5" fmla="*/ 0 h 26"/>
                <a:gd name="T6" fmla="*/ 5 w 42"/>
                <a:gd name="T7" fmla="*/ 0 h 26"/>
                <a:gd name="T8" fmla="*/ 0 w 42"/>
                <a:gd name="T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6">
                  <a:moveTo>
                    <a:pt x="0" y="26"/>
                  </a:moveTo>
                  <a:lnTo>
                    <a:pt x="39" y="26"/>
                  </a:lnTo>
                  <a:lnTo>
                    <a:pt x="42" y="0"/>
                  </a:lnTo>
                  <a:lnTo>
                    <a:pt x="5" y="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8" name="Freeform 26"/>
            <p:cNvSpPr>
              <a:spLocks/>
            </p:cNvSpPr>
            <p:nvPr/>
          </p:nvSpPr>
          <p:spPr bwMode="auto">
            <a:xfrm>
              <a:off x="4914901" y="3781425"/>
              <a:ext cx="187325" cy="44450"/>
            </a:xfrm>
            <a:custGeom>
              <a:avLst/>
              <a:gdLst>
                <a:gd name="T0" fmla="*/ 118 w 118"/>
                <a:gd name="T1" fmla="*/ 28 h 28"/>
                <a:gd name="T2" fmla="*/ 109 w 118"/>
                <a:gd name="T3" fmla="*/ 0 h 28"/>
                <a:gd name="T4" fmla="*/ 0 w 118"/>
                <a:gd name="T5" fmla="*/ 0 h 28"/>
                <a:gd name="T6" fmla="*/ 7 w 118"/>
                <a:gd name="T7" fmla="*/ 28 h 28"/>
                <a:gd name="T8" fmla="*/ 118 w 118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" h="28">
                  <a:moveTo>
                    <a:pt x="118" y="28"/>
                  </a:moveTo>
                  <a:lnTo>
                    <a:pt x="109" y="0"/>
                  </a:lnTo>
                  <a:lnTo>
                    <a:pt x="0" y="0"/>
                  </a:lnTo>
                  <a:lnTo>
                    <a:pt x="7" y="28"/>
                  </a:lnTo>
                  <a:lnTo>
                    <a:pt x="118" y="28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9" name="Freeform 27"/>
            <p:cNvSpPr>
              <a:spLocks/>
            </p:cNvSpPr>
            <p:nvPr/>
          </p:nvSpPr>
          <p:spPr bwMode="auto">
            <a:xfrm>
              <a:off x="4902201" y="3730625"/>
              <a:ext cx="69850" cy="41275"/>
            </a:xfrm>
            <a:custGeom>
              <a:avLst/>
              <a:gdLst>
                <a:gd name="T0" fmla="*/ 7 w 44"/>
                <a:gd name="T1" fmla="*/ 26 h 26"/>
                <a:gd name="T2" fmla="*/ 44 w 44"/>
                <a:gd name="T3" fmla="*/ 26 h 26"/>
                <a:gd name="T4" fmla="*/ 37 w 44"/>
                <a:gd name="T5" fmla="*/ 0 h 26"/>
                <a:gd name="T6" fmla="*/ 0 w 44"/>
                <a:gd name="T7" fmla="*/ 0 h 26"/>
                <a:gd name="T8" fmla="*/ 7 w 44"/>
                <a:gd name="T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26">
                  <a:moveTo>
                    <a:pt x="7" y="26"/>
                  </a:moveTo>
                  <a:lnTo>
                    <a:pt x="44" y="26"/>
                  </a:lnTo>
                  <a:lnTo>
                    <a:pt x="37" y="0"/>
                  </a:lnTo>
                  <a:lnTo>
                    <a:pt x="0" y="0"/>
                  </a:lnTo>
                  <a:lnTo>
                    <a:pt x="7" y="26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0" name="Freeform 28"/>
            <p:cNvSpPr>
              <a:spLocks/>
            </p:cNvSpPr>
            <p:nvPr/>
          </p:nvSpPr>
          <p:spPr bwMode="auto">
            <a:xfrm>
              <a:off x="3921126" y="3781425"/>
              <a:ext cx="74613" cy="44450"/>
            </a:xfrm>
            <a:custGeom>
              <a:avLst/>
              <a:gdLst>
                <a:gd name="T0" fmla="*/ 0 w 47"/>
                <a:gd name="T1" fmla="*/ 28 h 28"/>
                <a:gd name="T2" fmla="*/ 39 w 47"/>
                <a:gd name="T3" fmla="*/ 28 h 28"/>
                <a:gd name="T4" fmla="*/ 47 w 47"/>
                <a:gd name="T5" fmla="*/ 0 h 28"/>
                <a:gd name="T6" fmla="*/ 8 w 47"/>
                <a:gd name="T7" fmla="*/ 0 h 28"/>
                <a:gd name="T8" fmla="*/ 0 w 47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28">
                  <a:moveTo>
                    <a:pt x="0" y="28"/>
                  </a:moveTo>
                  <a:lnTo>
                    <a:pt x="39" y="28"/>
                  </a:lnTo>
                  <a:lnTo>
                    <a:pt x="47" y="0"/>
                  </a:lnTo>
                  <a:lnTo>
                    <a:pt x="8" y="0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1" name="Freeform 29"/>
            <p:cNvSpPr>
              <a:spLocks/>
            </p:cNvSpPr>
            <p:nvPr/>
          </p:nvSpPr>
          <p:spPr bwMode="auto">
            <a:xfrm>
              <a:off x="4968876" y="3730625"/>
              <a:ext cx="73025" cy="41275"/>
            </a:xfrm>
            <a:custGeom>
              <a:avLst/>
              <a:gdLst>
                <a:gd name="T0" fmla="*/ 0 w 46"/>
                <a:gd name="T1" fmla="*/ 0 h 26"/>
                <a:gd name="T2" fmla="*/ 8 w 46"/>
                <a:gd name="T3" fmla="*/ 26 h 26"/>
                <a:gd name="T4" fmla="*/ 46 w 46"/>
                <a:gd name="T5" fmla="*/ 26 h 26"/>
                <a:gd name="T6" fmla="*/ 37 w 46"/>
                <a:gd name="T7" fmla="*/ 0 h 26"/>
                <a:gd name="T8" fmla="*/ 0 w 46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26">
                  <a:moveTo>
                    <a:pt x="0" y="0"/>
                  </a:moveTo>
                  <a:lnTo>
                    <a:pt x="8" y="26"/>
                  </a:lnTo>
                  <a:lnTo>
                    <a:pt x="46" y="26"/>
                  </a:lnTo>
                  <a:lnTo>
                    <a:pt x="3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2" name="Freeform 30"/>
            <p:cNvSpPr>
              <a:spLocks/>
            </p:cNvSpPr>
            <p:nvPr/>
          </p:nvSpPr>
          <p:spPr bwMode="auto">
            <a:xfrm>
              <a:off x="4984751" y="3781425"/>
              <a:ext cx="76200" cy="44450"/>
            </a:xfrm>
            <a:custGeom>
              <a:avLst/>
              <a:gdLst>
                <a:gd name="T0" fmla="*/ 48 w 48"/>
                <a:gd name="T1" fmla="*/ 28 h 28"/>
                <a:gd name="T2" fmla="*/ 38 w 48"/>
                <a:gd name="T3" fmla="*/ 0 h 28"/>
                <a:gd name="T4" fmla="*/ 0 w 48"/>
                <a:gd name="T5" fmla="*/ 0 h 28"/>
                <a:gd name="T6" fmla="*/ 9 w 48"/>
                <a:gd name="T7" fmla="*/ 28 h 28"/>
                <a:gd name="T8" fmla="*/ 48 w 48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28">
                  <a:moveTo>
                    <a:pt x="48" y="28"/>
                  </a:moveTo>
                  <a:lnTo>
                    <a:pt x="38" y="0"/>
                  </a:lnTo>
                  <a:lnTo>
                    <a:pt x="0" y="0"/>
                  </a:lnTo>
                  <a:lnTo>
                    <a:pt x="9" y="28"/>
                  </a:lnTo>
                  <a:lnTo>
                    <a:pt x="48" y="28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3" name="Freeform 31"/>
            <p:cNvSpPr>
              <a:spLocks/>
            </p:cNvSpPr>
            <p:nvPr/>
          </p:nvSpPr>
          <p:spPr bwMode="auto">
            <a:xfrm>
              <a:off x="4775201" y="3781425"/>
              <a:ext cx="71438" cy="44450"/>
            </a:xfrm>
            <a:custGeom>
              <a:avLst/>
              <a:gdLst>
                <a:gd name="T0" fmla="*/ 0 w 45"/>
                <a:gd name="T1" fmla="*/ 0 h 28"/>
                <a:gd name="T2" fmla="*/ 5 w 45"/>
                <a:gd name="T3" fmla="*/ 28 h 28"/>
                <a:gd name="T4" fmla="*/ 45 w 45"/>
                <a:gd name="T5" fmla="*/ 28 h 28"/>
                <a:gd name="T6" fmla="*/ 38 w 45"/>
                <a:gd name="T7" fmla="*/ 0 h 28"/>
                <a:gd name="T8" fmla="*/ 0 w 45"/>
                <a:gd name="T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28">
                  <a:moveTo>
                    <a:pt x="0" y="0"/>
                  </a:moveTo>
                  <a:lnTo>
                    <a:pt x="5" y="28"/>
                  </a:lnTo>
                  <a:lnTo>
                    <a:pt x="45" y="28"/>
                  </a:lnTo>
                  <a:lnTo>
                    <a:pt x="3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4" name="Freeform 32"/>
            <p:cNvSpPr>
              <a:spLocks/>
            </p:cNvSpPr>
            <p:nvPr/>
          </p:nvSpPr>
          <p:spPr bwMode="auto">
            <a:xfrm>
              <a:off x="4845051" y="3781425"/>
              <a:ext cx="73025" cy="44450"/>
            </a:xfrm>
            <a:custGeom>
              <a:avLst/>
              <a:gdLst>
                <a:gd name="T0" fmla="*/ 46 w 46"/>
                <a:gd name="T1" fmla="*/ 28 h 28"/>
                <a:gd name="T2" fmla="*/ 39 w 46"/>
                <a:gd name="T3" fmla="*/ 0 h 28"/>
                <a:gd name="T4" fmla="*/ 0 w 46"/>
                <a:gd name="T5" fmla="*/ 0 h 28"/>
                <a:gd name="T6" fmla="*/ 6 w 46"/>
                <a:gd name="T7" fmla="*/ 28 h 28"/>
                <a:gd name="T8" fmla="*/ 46 w 46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28">
                  <a:moveTo>
                    <a:pt x="46" y="28"/>
                  </a:moveTo>
                  <a:lnTo>
                    <a:pt x="39" y="0"/>
                  </a:lnTo>
                  <a:lnTo>
                    <a:pt x="0" y="0"/>
                  </a:lnTo>
                  <a:lnTo>
                    <a:pt x="6" y="28"/>
                  </a:lnTo>
                  <a:lnTo>
                    <a:pt x="46" y="28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5" name="Freeform 33"/>
            <p:cNvSpPr>
              <a:spLocks/>
            </p:cNvSpPr>
            <p:nvPr/>
          </p:nvSpPr>
          <p:spPr bwMode="auto">
            <a:xfrm>
              <a:off x="4705351" y="3781425"/>
              <a:ext cx="68263" cy="44450"/>
            </a:xfrm>
            <a:custGeom>
              <a:avLst/>
              <a:gdLst>
                <a:gd name="T0" fmla="*/ 0 w 43"/>
                <a:gd name="T1" fmla="*/ 0 h 28"/>
                <a:gd name="T2" fmla="*/ 3 w 43"/>
                <a:gd name="T3" fmla="*/ 28 h 28"/>
                <a:gd name="T4" fmla="*/ 43 w 43"/>
                <a:gd name="T5" fmla="*/ 28 h 28"/>
                <a:gd name="T6" fmla="*/ 38 w 43"/>
                <a:gd name="T7" fmla="*/ 0 h 28"/>
                <a:gd name="T8" fmla="*/ 0 w 43"/>
                <a:gd name="T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28">
                  <a:moveTo>
                    <a:pt x="0" y="0"/>
                  </a:moveTo>
                  <a:lnTo>
                    <a:pt x="3" y="28"/>
                  </a:lnTo>
                  <a:lnTo>
                    <a:pt x="43" y="28"/>
                  </a:lnTo>
                  <a:lnTo>
                    <a:pt x="3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6" name="Freeform 34"/>
            <p:cNvSpPr>
              <a:spLocks/>
            </p:cNvSpPr>
            <p:nvPr/>
          </p:nvSpPr>
          <p:spPr bwMode="auto">
            <a:xfrm>
              <a:off x="4833938" y="3730625"/>
              <a:ext cx="69850" cy="41275"/>
            </a:xfrm>
            <a:custGeom>
              <a:avLst/>
              <a:gdLst>
                <a:gd name="T0" fmla="*/ 6 w 44"/>
                <a:gd name="T1" fmla="*/ 26 h 26"/>
                <a:gd name="T2" fmla="*/ 44 w 44"/>
                <a:gd name="T3" fmla="*/ 26 h 26"/>
                <a:gd name="T4" fmla="*/ 37 w 44"/>
                <a:gd name="T5" fmla="*/ 0 h 26"/>
                <a:gd name="T6" fmla="*/ 0 w 44"/>
                <a:gd name="T7" fmla="*/ 0 h 26"/>
                <a:gd name="T8" fmla="*/ 6 w 44"/>
                <a:gd name="T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26">
                  <a:moveTo>
                    <a:pt x="6" y="26"/>
                  </a:moveTo>
                  <a:lnTo>
                    <a:pt x="44" y="26"/>
                  </a:lnTo>
                  <a:lnTo>
                    <a:pt x="37" y="0"/>
                  </a:lnTo>
                  <a:lnTo>
                    <a:pt x="0" y="0"/>
                  </a:lnTo>
                  <a:lnTo>
                    <a:pt x="6" y="26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7" name="Freeform 35"/>
            <p:cNvSpPr>
              <a:spLocks/>
            </p:cNvSpPr>
            <p:nvPr/>
          </p:nvSpPr>
          <p:spPr bwMode="auto">
            <a:xfrm>
              <a:off x="4699001" y="3730625"/>
              <a:ext cx="65088" cy="41275"/>
            </a:xfrm>
            <a:custGeom>
              <a:avLst/>
              <a:gdLst>
                <a:gd name="T0" fmla="*/ 3 w 41"/>
                <a:gd name="T1" fmla="*/ 26 h 26"/>
                <a:gd name="T2" fmla="*/ 41 w 41"/>
                <a:gd name="T3" fmla="*/ 26 h 26"/>
                <a:gd name="T4" fmla="*/ 37 w 41"/>
                <a:gd name="T5" fmla="*/ 0 h 26"/>
                <a:gd name="T6" fmla="*/ 0 w 41"/>
                <a:gd name="T7" fmla="*/ 0 h 26"/>
                <a:gd name="T8" fmla="*/ 3 w 41"/>
                <a:gd name="T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6">
                  <a:moveTo>
                    <a:pt x="3" y="26"/>
                  </a:moveTo>
                  <a:lnTo>
                    <a:pt x="41" y="26"/>
                  </a:lnTo>
                  <a:lnTo>
                    <a:pt x="37" y="0"/>
                  </a:lnTo>
                  <a:lnTo>
                    <a:pt x="0" y="0"/>
                  </a:lnTo>
                  <a:lnTo>
                    <a:pt x="3" y="26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8" name="Freeform 36"/>
            <p:cNvSpPr>
              <a:spLocks/>
            </p:cNvSpPr>
            <p:nvPr/>
          </p:nvSpPr>
          <p:spPr bwMode="auto">
            <a:xfrm>
              <a:off x="4629151" y="3730625"/>
              <a:ext cx="66675" cy="41275"/>
            </a:xfrm>
            <a:custGeom>
              <a:avLst/>
              <a:gdLst>
                <a:gd name="T0" fmla="*/ 3 w 42"/>
                <a:gd name="T1" fmla="*/ 26 h 26"/>
                <a:gd name="T2" fmla="*/ 42 w 42"/>
                <a:gd name="T3" fmla="*/ 26 h 26"/>
                <a:gd name="T4" fmla="*/ 38 w 42"/>
                <a:gd name="T5" fmla="*/ 0 h 26"/>
                <a:gd name="T6" fmla="*/ 0 w 42"/>
                <a:gd name="T7" fmla="*/ 0 h 26"/>
                <a:gd name="T8" fmla="*/ 3 w 42"/>
                <a:gd name="T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6">
                  <a:moveTo>
                    <a:pt x="3" y="26"/>
                  </a:moveTo>
                  <a:lnTo>
                    <a:pt x="42" y="26"/>
                  </a:lnTo>
                  <a:lnTo>
                    <a:pt x="38" y="0"/>
                  </a:lnTo>
                  <a:lnTo>
                    <a:pt x="0" y="0"/>
                  </a:lnTo>
                  <a:lnTo>
                    <a:pt x="3" y="26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9" name="Freeform 37"/>
            <p:cNvSpPr>
              <a:spLocks/>
            </p:cNvSpPr>
            <p:nvPr/>
          </p:nvSpPr>
          <p:spPr bwMode="auto">
            <a:xfrm>
              <a:off x="4635501" y="3781425"/>
              <a:ext cx="66675" cy="44450"/>
            </a:xfrm>
            <a:custGeom>
              <a:avLst/>
              <a:gdLst>
                <a:gd name="T0" fmla="*/ 2 w 42"/>
                <a:gd name="T1" fmla="*/ 28 h 28"/>
                <a:gd name="T2" fmla="*/ 42 w 42"/>
                <a:gd name="T3" fmla="*/ 28 h 28"/>
                <a:gd name="T4" fmla="*/ 38 w 42"/>
                <a:gd name="T5" fmla="*/ 0 h 28"/>
                <a:gd name="T6" fmla="*/ 0 w 42"/>
                <a:gd name="T7" fmla="*/ 0 h 28"/>
                <a:gd name="T8" fmla="*/ 2 w 42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8">
                  <a:moveTo>
                    <a:pt x="2" y="28"/>
                  </a:moveTo>
                  <a:lnTo>
                    <a:pt x="42" y="28"/>
                  </a:lnTo>
                  <a:lnTo>
                    <a:pt x="38" y="0"/>
                  </a:lnTo>
                  <a:lnTo>
                    <a:pt x="0" y="0"/>
                  </a:lnTo>
                  <a:lnTo>
                    <a:pt x="2" y="28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0" name="Freeform 38"/>
            <p:cNvSpPr>
              <a:spLocks/>
            </p:cNvSpPr>
            <p:nvPr/>
          </p:nvSpPr>
          <p:spPr bwMode="auto">
            <a:xfrm>
              <a:off x="4564063" y="3781425"/>
              <a:ext cx="65088" cy="44450"/>
            </a:xfrm>
            <a:custGeom>
              <a:avLst/>
              <a:gdLst>
                <a:gd name="T0" fmla="*/ 2 w 41"/>
                <a:gd name="T1" fmla="*/ 28 h 28"/>
                <a:gd name="T2" fmla="*/ 41 w 41"/>
                <a:gd name="T3" fmla="*/ 28 h 28"/>
                <a:gd name="T4" fmla="*/ 39 w 41"/>
                <a:gd name="T5" fmla="*/ 0 h 28"/>
                <a:gd name="T6" fmla="*/ 0 w 41"/>
                <a:gd name="T7" fmla="*/ 0 h 28"/>
                <a:gd name="T8" fmla="*/ 2 w 41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8">
                  <a:moveTo>
                    <a:pt x="2" y="28"/>
                  </a:moveTo>
                  <a:lnTo>
                    <a:pt x="41" y="28"/>
                  </a:lnTo>
                  <a:lnTo>
                    <a:pt x="39" y="0"/>
                  </a:lnTo>
                  <a:lnTo>
                    <a:pt x="0" y="0"/>
                  </a:lnTo>
                  <a:lnTo>
                    <a:pt x="2" y="28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1" name="Freeform 39"/>
            <p:cNvSpPr>
              <a:spLocks/>
            </p:cNvSpPr>
            <p:nvPr/>
          </p:nvSpPr>
          <p:spPr bwMode="auto">
            <a:xfrm>
              <a:off x="4765676" y="3730625"/>
              <a:ext cx="68263" cy="41275"/>
            </a:xfrm>
            <a:custGeom>
              <a:avLst/>
              <a:gdLst>
                <a:gd name="T0" fmla="*/ 5 w 43"/>
                <a:gd name="T1" fmla="*/ 26 h 26"/>
                <a:gd name="T2" fmla="*/ 43 w 43"/>
                <a:gd name="T3" fmla="*/ 26 h 26"/>
                <a:gd name="T4" fmla="*/ 37 w 43"/>
                <a:gd name="T5" fmla="*/ 0 h 26"/>
                <a:gd name="T6" fmla="*/ 0 w 43"/>
                <a:gd name="T7" fmla="*/ 0 h 26"/>
                <a:gd name="T8" fmla="*/ 5 w 43"/>
                <a:gd name="T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26">
                  <a:moveTo>
                    <a:pt x="5" y="26"/>
                  </a:moveTo>
                  <a:lnTo>
                    <a:pt x="43" y="26"/>
                  </a:lnTo>
                  <a:lnTo>
                    <a:pt x="37" y="0"/>
                  </a:lnTo>
                  <a:lnTo>
                    <a:pt x="0" y="0"/>
                  </a:lnTo>
                  <a:lnTo>
                    <a:pt x="5" y="26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2" name="Freeform 40"/>
            <p:cNvSpPr>
              <a:spLocks/>
            </p:cNvSpPr>
            <p:nvPr/>
          </p:nvSpPr>
          <p:spPr bwMode="auto">
            <a:xfrm>
              <a:off x="5037138" y="3730625"/>
              <a:ext cx="76200" cy="41275"/>
            </a:xfrm>
            <a:custGeom>
              <a:avLst/>
              <a:gdLst>
                <a:gd name="T0" fmla="*/ 9 w 48"/>
                <a:gd name="T1" fmla="*/ 26 h 26"/>
                <a:gd name="T2" fmla="*/ 48 w 48"/>
                <a:gd name="T3" fmla="*/ 26 h 26"/>
                <a:gd name="T4" fmla="*/ 38 w 48"/>
                <a:gd name="T5" fmla="*/ 0 h 26"/>
                <a:gd name="T6" fmla="*/ 0 w 48"/>
                <a:gd name="T7" fmla="*/ 0 h 26"/>
                <a:gd name="T8" fmla="*/ 9 w 48"/>
                <a:gd name="T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26">
                  <a:moveTo>
                    <a:pt x="9" y="26"/>
                  </a:moveTo>
                  <a:lnTo>
                    <a:pt x="48" y="26"/>
                  </a:lnTo>
                  <a:lnTo>
                    <a:pt x="38" y="0"/>
                  </a:lnTo>
                  <a:lnTo>
                    <a:pt x="0" y="0"/>
                  </a:lnTo>
                  <a:lnTo>
                    <a:pt x="9" y="26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3" name="Freeform 41"/>
            <p:cNvSpPr>
              <a:spLocks/>
            </p:cNvSpPr>
            <p:nvPr/>
          </p:nvSpPr>
          <p:spPr bwMode="auto">
            <a:xfrm>
              <a:off x="4349751" y="3835400"/>
              <a:ext cx="136525" cy="46038"/>
            </a:xfrm>
            <a:custGeom>
              <a:avLst/>
              <a:gdLst>
                <a:gd name="T0" fmla="*/ 86 w 86"/>
                <a:gd name="T1" fmla="*/ 0 h 29"/>
                <a:gd name="T2" fmla="*/ 1 w 86"/>
                <a:gd name="T3" fmla="*/ 0 h 29"/>
                <a:gd name="T4" fmla="*/ 0 w 86"/>
                <a:gd name="T5" fmla="*/ 29 h 29"/>
                <a:gd name="T6" fmla="*/ 86 w 86"/>
                <a:gd name="T7" fmla="*/ 29 h 29"/>
                <a:gd name="T8" fmla="*/ 86 w 86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29">
                  <a:moveTo>
                    <a:pt x="86" y="0"/>
                  </a:moveTo>
                  <a:lnTo>
                    <a:pt x="1" y="0"/>
                  </a:lnTo>
                  <a:lnTo>
                    <a:pt x="0" y="29"/>
                  </a:lnTo>
                  <a:lnTo>
                    <a:pt x="86" y="29"/>
                  </a:lnTo>
                  <a:lnTo>
                    <a:pt x="86" y="0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4" name="Freeform 42"/>
            <p:cNvSpPr>
              <a:spLocks/>
            </p:cNvSpPr>
            <p:nvPr/>
          </p:nvSpPr>
          <p:spPr bwMode="auto">
            <a:xfrm>
              <a:off x="4638676" y="3835400"/>
              <a:ext cx="69850" cy="46038"/>
            </a:xfrm>
            <a:custGeom>
              <a:avLst/>
              <a:gdLst>
                <a:gd name="T0" fmla="*/ 40 w 44"/>
                <a:gd name="T1" fmla="*/ 0 h 29"/>
                <a:gd name="T2" fmla="*/ 0 w 44"/>
                <a:gd name="T3" fmla="*/ 0 h 29"/>
                <a:gd name="T4" fmla="*/ 3 w 44"/>
                <a:gd name="T5" fmla="*/ 29 h 29"/>
                <a:gd name="T6" fmla="*/ 44 w 44"/>
                <a:gd name="T7" fmla="*/ 29 h 29"/>
                <a:gd name="T8" fmla="*/ 40 w 44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29">
                  <a:moveTo>
                    <a:pt x="40" y="0"/>
                  </a:moveTo>
                  <a:lnTo>
                    <a:pt x="0" y="0"/>
                  </a:lnTo>
                  <a:lnTo>
                    <a:pt x="3" y="29"/>
                  </a:lnTo>
                  <a:lnTo>
                    <a:pt x="44" y="29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5" name="Freeform 43"/>
            <p:cNvSpPr>
              <a:spLocks/>
            </p:cNvSpPr>
            <p:nvPr/>
          </p:nvSpPr>
          <p:spPr bwMode="auto">
            <a:xfrm>
              <a:off x="4784726" y="3835400"/>
              <a:ext cx="73025" cy="46038"/>
            </a:xfrm>
            <a:custGeom>
              <a:avLst/>
              <a:gdLst>
                <a:gd name="T0" fmla="*/ 39 w 46"/>
                <a:gd name="T1" fmla="*/ 0 h 29"/>
                <a:gd name="T2" fmla="*/ 0 w 46"/>
                <a:gd name="T3" fmla="*/ 0 h 29"/>
                <a:gd name="T4" fmla="*/ 5 w 46"/>
                <a:gd name="T5" fmla="*/ 29 h 29"/>
                <a:gd name="T6" fmla="*/ 46 w 46"/>
                <a:gd name="T7" fmla="*/ 29 h 29"/>
                <a:gd name="T8" fmla="*/ 39 w 46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29">
                  <a:moveTo>
                    <a:pt x="39" y="0"/>
                  </a:moveTo>
                  <a:lnTo>
                    <a:pt x="0" y="0"/>
                  </a:lnTo>
                  <a:lnTo>
                    <a:pt x="5" y="29"/>
                  </a:lnTo>
                  <a:lnTo>
                    <a:pt x="46" y="29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6" name="Freeform 44"/>
            <p:cNvSpPr>
              <a:spLocks/>
            </p:cNvSpPr>
            <p:nvPr/>
          </p:nvSpPr>
          <p:spPr bwMode="auto">
            <a:xfrm>
              <a:off x="4494213" y="3835400"/>
              <a:ext cx="66675" cy="46038"/>
            </a:xfrm>
            <a:custGeom>
              <a:avLst/>
              <a:gdLst>
                <a:gd name="T0" fmla="*/ 40 w 42"/>
                <a:gd name="T1" fmla="*/ 0 h 29"/>
                <a:gd name="T2" fmla="*/ 0 w 42"/>
                <a:gd name="T3" fmla="*/ 0 h 29"/>
                <a:gd name="T4" fmla="*/ 0 w 42"/>
                <a:gd name="T5" fmla="*/ 29 h 29"/>
                <a:gd name="T6" fmla="*/ 42 w 42"/>
                <a:gd name="T7" fmla="*/ 29 h 29"/>
                <a:gd name="T8" fmla="*/ 40 w 42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9">
                  <a:moveTo>
                    <a:pt x="40" y="0"/>
                  </a:moveTo>
                  <a:lnTo>
                    <a:pt x="0" y="0"/>
                  </a:lnTo>
                  <a:lnTo>
                    <a:pt x="0" y="29"/>
                  </a:lnTo>
                  <a:lnTo>
                    <a:pt x="42" y="29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7" name="Freeform 45"/>
            <p:cNvSpPr>
              <a:spLocks/>
            </p:cNvSpPr>
            <p:nvPr/>
          </p:nvSpPr>
          <p:spPr bwMode="auto">
            <a:xfrm>
              <a:off x="4567238" y="3835400"/>
              <a:ext cx="68263" cy="46038"/>
            </a:xfrm>
            <a:custGeom>
              <a:avLst/>
              <a:gdLst>
                <a:gd name="T0" fmla="*/ 40 w 43"/>
                <a:gd name="T1" fmla="*/ 0 h 29"/>
                <a:gd name="T2" fmla="*/ 0 w 43"/>
                <a:gd name="T3" fmla="*/ 0 h 29"/>
                <a:gd name="T4" fmla="*/ 1 w 43"/>
                <a:gd name="T5" fmla="*/ 29 h 29"/>
                <a:gd name="T6" fmla="*/ 43 w 43"/>
                <a:gd name="T7" fmla="*/ 29 h 29"/>
                <a:gd name="T8" fmla="*/ 40 w 43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29">
                  <a:moveTo>
                    <a:pt x="40" y="0"/>
                  </a:moveTo>
                  <a:lnTo>
                    <a:pt x="0" y="0"/>
                  </a:lnTo>
                  <a:lnTo>
                    <a:pt x="1" y="29"/>
                  </a:lnTo>
                  <a:lnTo>
                    <a:pt x="43" y="29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8" name="Freeform 46"/>
            <p:cNvSpPr>
              <a:spLocks/>
            </p:cNvSpPr>
            <p:nvPr/>
          </p:nvSpPr>
          <p:spPr bwMode="auto">
            <a:xfrm>
              <a:off x="4856163" y="3835400"/>
              <a:ext cx="76200" cy="46038"/>
            </a:xfrm>
            <a:custGeom>
              <a:avLst/>
              <a:gdLst>
                <a:gd name="T0" fmla="*/ 40 w 48"/>
                <a:gd name="T1" fmla="*/ 0 h 29"/>
                <a:gd name="T2" fmla="*/ 0 w 48"/>
                <a:gd name="T3" fmla="*/ 0 h 29"/>
                <a:gd name="T4" fmla="*/ 7 w 48"/>
                <a:gd name="T5" fmla="*/ 29 h 29"/>
                <a:gd name="T6" fmla="*/ 48 w 48"/>
                <a:gd name="T7" fmla="*/ 29 h 29"/>
                <a:gd name="T8" fmla="*/ 40 w 48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29">
                  <a:moveTo>
                    <a:pt x="40" y="0"/>
                  </a:moveTo>
                  <a:lnTo>
                    <a:pt x="0" y="0"/>
                  </a:lnTo>
                  <a:lnTo>
                    <a:pt x="7" y="29"/>
                  </a:lnTo>
                  <a:lnTo>
                    <a:pt x="48" y="29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9" name="Freeform 47"/>
            <p:cNvSpPr>
              <a:spLocks/>
            </p:cNvSpPr>
            <p:nvPr/>
          </p:nvSpPr>
          <p:spPr bwMode="auto">
            <a:xfrm>
              <a:off x="4711701" y="3835400"/>
              <a:ext cx="71438" cy="46038"/>
            </a:xfrm>
            <a:custGeom>
              <a:avLst/>
              <a:gdLst>
                <a:gd name="T0" fmla="*/ 40 w 45"/>
                <a:gd name="T1" fmla="*/ 0 h 29"/>
                <a:gd name="T2" fmla="*/ 0 w 45"/>
                <a:gd name="T3" fmla="*/ 0 h 29"/>
                <a:gd name="T4" fmla="*/ 4 w 45"/>
                <a:gd name="T5" fmla="*/ 29 h 29"/>
                <a:gd name="T6" fmla="*/ 45 w 45"/>
                <a:gd name="T7" fmla="*/ 29 h 29"/>
                <a:gd name="T8" fmla="*/ 40 w 45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29">
                  <a:moveTo>
                    <a:pt x="40" y="0"/>
                  </a:moveTo>
                  <a:lnTo>
                    <a:pt x="0" y="0"/>
                  </a:lnTo>
                  <a:lnTo>
                    <a:pt x="4" y="29"/>
                  </a:lnTo>
                  <a:lnTo>
                    <a:pt x="45" y="29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0" name="Freeform 48"/>
            <p:cNvSpPr>
              <a:spLocks/>
            </p:cNvSpPr>
            <p:nvPr/>
          </p:nvSpPr>
          <p:spPr bwMode="auto">
            <a:xfrm>
              <a:off x="3741738" y="3835400"/>
              <a:ext cx="93663" cy="46038"/>
            </a:xfrm>
            <a:custGeom>
              <a:avLst/>
              <a:gdLst>
                <a:gd name="T0" fmla="*/ 59 w 59"/>
                <a:gd name="T1" fmla="*/ 0 h 29"/>
                <a:gd name="T2" fmla="*/ 12 w 59"/>
                <a:gd name="T3" fmla="*/ 0 h 29"/>
                <a:gd name="T4" fmla="*/ 0 w 59"/>
                <a:gd name="T5" fmla="*/ 29 h 29"/>
                <a:gd name="T6" fmla="*/ 49 w 59"/>
                <a:gd name="T7" fmla="*/ 29 h 29"/>
                <a:gd name="T8" fmla="*/ 59 w 59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29">
                  <a:moveTo>
                    <a:pt x="59" y="0"/>
                  </a:moveTo>
                  <a:lnTo>
                    <a:pt x="12" y="0"/>
                  </a:lnTo>
                  <a:lnTo>
                    <a:pt x="0" y="29"/>
                  </a:lnTo>
                  <a:lnTo>
                    <a:pt x="49" y="29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1" name="Freeform 49"/>
            <p:cNvSpPr>
              <a:spLocks/>
            </p:cNvSpPr>
            <p:nvPr/>
          </p:nvSpPr>
          <p:spPr bwMode="auto">
            <a:xfrm>
              <a:off x="4929188" y="3835400"/>
              <a:ext cx="77788" cy="46038"/>
            </a:xfrm>
            <a:custGeom>
              <a:avLst/>
              <a:gdLst>
                <a:gd name="T0" fmla="*/ 40 w 49"/>
                <a:gd name="T1" fmla="*/ 0 h 29"/>
                <a:gd name="T2" fmla="*/ 0 w 49"/>
                <a:gd name="T3" fmla="*/ 0 h 29"/>
                <a:gd name="T4" fmla="*/ 8 w 49"/>
                <a:gd name="T5" fmla="*/ 29 h 29"/>
                <a:gd name="T6" fmla="*/ 49 w 49"/>
                <a:gd name="T7" fmla="*/ 29 h 29"/>
                <a:gd name="T8" fmla="*/ 40 w 49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9">
                  <a:moveTo>
                    <a:pt x="40" y="0"/>
                  </a:moveTo>
                  <a:lnTo>
                    <a:pt x="0" y="0"/>
                  </a:lnTo>
                  <a:lnTo>
                    <a:pt x="8" y="29"/>
                  </a:lnTo>
                  <a:lnTo>
                    <a:pt x="49" y="29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2" name="Freeform 50"/>
            <p:cNvSpPr>
              <a:spLocks/>
            </p:cNvSpPr>
            <p:nvPr/>
          </p:nvSpPr>
          <p:spPr bwMode="auto">
            <a:xfrm>
              <a:off x="5073651" y="3835400"/>
              <a:ext cx="82550" cy="46038"/>
            </a:xfrm>
            <a:custGeom>
              <a:avLst/>
              <a:gdLst>
                <a:gd name="T0" fmla="*/ 0 w 52"/>
                <a:gd name="T1" fmla="*/ 0 h 29"/>
                <a:gd name="T2" fmla="*/ 11 w 52"/>
                <a:gd name="T3" fmla="*/ 29 h 29"/>
                <a:gd name="T4" fmla="*/ 52 w 52"/>
                <a:gd name="T5" fmla="*/ 29 h 29"/>
                <a:gd name="T6" fmla="*/ 41 w 52"/>
                <a:gd name="T7" fmla="*/ 0 h 29"/>
                <a:gd name="T8" fmla="*/ 0 w 52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29">
                  <a:moveTo>
                    <a:pt x="0" y="0"/>
                  </a:moveTo>
                  <a:lnTo>
                    <a:pt x="11" y="29"/>
                  </a:lnTo>
                  <a:lnTo>
                    <a:pt x="52" y="29"/>
                  </a:lnTo>
                  <a:lnTo>
                    <a:pt x="4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3" name="Freeform 51"/>
            <p:cNvSpPr>
              <a:spLocks/>
            </p:cNvSpPr>
            <p:nvPr/>
          </p:nvSpPr>
          <p:spPr bwMode="auto">
            <a:xfrm>
              <a:off x="3795713" y="3730625"/>
              <a:ext cx="76200" cy="41275"/>
            </a:xfrm>
            <a:custGeom>
              <a:avLst/>
              <a:gdLst>
                <a:gd name="T0" fmla="*/ 39 w 48"/>
                <a:gd name="T1" fmla="*/ 26 h 26"/>
                <a:gd name="T2" fmla="*/ 48 w 48"/>
                <a:gd name="T3" fmla="*/ 0 h 26"/>
                <a:gd name="T4" fmla="*/ 10 w 48"/>
                <a:gd name="T5" fmla="*/ 0 h 26"/>
                <a:gd name="T6" fmla="*/ 0 w 48"/>
                <a:gd name="T7" fmla="*/ 26 h 26"/>
                <a:gd name="T8" fmla="*/ 39 w 48"/>
                <a:gd name="T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26">
                  <a:moveTo>
                    <a:pt x="39" y="26"/>
                  </a:moveTo>
                  <a:lnTo>
                    <a:pt x="48" y="0"/>
                  </a:lnTo>
                  <a:lnTo>
                    <a:pt x="10" y="0"/>
                  </a:lnTo>
                  <a:lnTo>
                    <a:pt x="0" y="26"/>
                  </a:lnTo>
                  <a:lnTo>
                    <a:pt x="39" y="26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4" name="Freeform 52"/>
            <p:cNvSpPr>
              <a:spLocks/>
            </p:cNvSpPr>
            <p:nvPr/>
          </p:nvSpPr>
          <p:spPr bwMode="auto">
            <a:xfrm>
              <a:off x="5054601" y="3781425"/>
              <a:ext cx="80963" cy="44450"/>
            </a:xfrm>
            <a:custGeom>
              <a:avLst/>
              <a:gdLst>
                <a:gd name="T0" fmla="*/ 40 w 51"/>
                <a:gd name="T1" fmla="*/ 0 h 28"/>
                <a:gd name="T2" fmla="*/ 0 w 51"/>
                <a:gd name="T3" fmla="*/ 0 h 28"/>
                <a:gd name="T4" fmla="*/ 10 w 51"/>
                <a:gd name="T5" fmla="*/ 28 h 28"/>
                <a:gd name="T6" fmla="*/ 51 w 51"/>
                <a:gd name="T7" fmla="*/ 28 h 28"/>
                <a:gd name="T8" fmla="*/ 40 w 51"/>
                <a:gd name="T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28">
                  <a:moveTo>
                    <a:pt x="40" y="0"/>
                  </a:moveTo>
                  <a:lnTo>
                    <a:pt x="0" y="0"/>
                  </a:lnTo>
                  <a:lnTo>
                    <a:pt x="10" y="28"/>
                  </a:lnTo>
                  <a:lnTo>
                    <a:pt x="51" y="28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5" name="Freeform 53"/>
            <p:cNvSpPr>
              <a:spLocks/>
            </p:cNvSpPr>
            <p:nvPr/>
          </p:nvSpPr>
          <p:spPr bwMode="auto">
            <a:xfrm>
              <a:off x="5002213" y="3835400"/>
              <a:ext cx="79375" cy="46038"/>
            </a:xfrm>
            <a:custGeom>
              <a:avLst/>
              <a:gdLst>
                <a:gd name="T0" fmla="*/ 39 w 50"/>
                <a:gd name="T1" fmla="*/ 0 h 29"/>
                <a:gd name="T2" fmla="*/ 0 w 50"/>
                <a:gd name="T3" fmla="*/ 0 h 29"/>
                <a:gd name="T4" fmla="*/ 8 w 50"/>
                <a:gd name="T5" fmla="*/ 29 h 29"/>
                <a:gd name="T6" fmla="*/ 50 w 50"/>
                <a:gd name="T7" fmla="*/ 29 h 29"/>
                <a:gd name="T8" fmla="*/ 39 w 50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9">
                  <a:moveTo>
                    <a:pt x="39" y="0"/>
                  </a:moveTo>
                  <a:lnTo>
                    <a:pt x="0" y="0"/>
                  </a:lnTo>
                  <a:lnTo>
                    <a:pt x="8" y="29"/>
                  </a:lnTo>
                  <a:lnTo>
                    <a:pt x="50" y="29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6" name="Freeform 54"/>
            <p:cNvSpPr>
              <a:spLocks/>
            </p:cNvSpPr>
            <p:nvPr/>
          </p:nvSpPr>
          <p:spPr bwMode="auto">
            <a:xfrm>
              <a:off x="4064001" y="3781425"/>
              <a:ext cx="71438" cy="44450"/>
            </a:xfrm>
            <a:custGeom>
              <a:avLst/>
              <a:gdLst>
                <a:gd name="T0" fmla="*/ 45 w 45"/>
                <a:gd name="T1" fmla="*/ 0 h 28"/>
                <a:gd name="T2" fmla="*/ 6 w 45"/>
                <a:gd name="T3" fmla="*/ 0 h 28"/>
                <a:gd name="T4" fmla="*/ 0 w 45"/>
                <a:gd name="T5" fmla="*/ 28 h 28"/>
                <a:gd name="T6" fmla="*/ 40 w 45"/>
                <a:gd name="T7" fmla="*/ 28 h 28"/>
                <a:gd name="T8" fmla="*/ 45 w 45"/>
                <a:gd name="T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28">
                  <a:moveTo>
                    <a:pt x="45" y="0"/>
                  </a:moveTo>
                  <a:lnTo>
                    <a:pt x="6" y="0"/>
                  </a:lnTo>
                  <a:lnTo>
                    <a:pt x="0" y="28"/>
                  </a:lnTo>
                  <a:lnTo>
                    <a:pt x="40" y="28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7" name="Freeform 55"/>
            <p:cNvSpPr>
              <a:spLocks/>
            </p:cNvSpPr>
            <p:nvPr/>
          </p:nvSpPr>
          <p:spPr bwMode="auto">
            <a:xfrm>
              <a:off x="3848101" y="3781425"/>
              <a:ext cx="76200" cy="44450"/>
            </a:xfrm>
            <a:custGeom>
              <a:avLst/>
              <a:gdLst>
                <a:gd name="T0" fmla="*/ 0 w 48"/>
                <a:gd name="T1" fmla="*/ 28 h 28"/>
                <a:gd name="T2" fmla="*/ 39 w 48"/>
                <a:gd name="T3" fmla="*/ 28 h 28"/>
                <a:gd name="T4" fmla="*/ 48 w 48"/>
                <a:gd name="T5" fmla="*/ 0 h 28"/>
                <a:gd name="T6" fmla="*/ 10 w 48"/>
                <a:gd name="T7" fmla="*/ 0 h 28"/>
                <a:gd name="T8" fmla="*/ 0 w 48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28">
                  <a:moveTo>
                    <a:pt x="0" y="28"/>
                  </a:moveTo>
                  <a:lnTo>
                    <a:pt x="39" y="28"/>
                  </a:lnTo>
                  <a:lnTo>
                    <a:pt x="48" y="0"/>
                  </a:lnTo>
                  <a:lnTo>
                    <a:pt x="10" y="0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8" name="Freeform 56"/>
            <p:cNvSpPr>
              <a:spLocks/>
            </p:cNvSpPr>
            <p:nvPr/>
          </p:nvSpPr>
          <p:spPr bwMode="auto">
            <a:xfrm>
              <a:off x="4275138" y="3835400"/>
              <a:ext cx="66675" cy="46038"/>
            </a:xfrm>
            <a:custGeom>
              <a:avLst/>
              <a:gdLst>
                <a:gd name="T0" fmla="*/ 42 w 42"/>
                <a:gd name="T1" fmla="*/ 0 h 29"/>
                <a:gd name="T2" fmla="*/ 3 w 42"/>
                <a:gd name="T3" fmla="*/ 0 h 29"/>
                <a:gd name="T4" fmla="*/ 0 w 42"/>
                <a:gd name="T5" fmla="*/ 29 h 29"/>
                <a:gd name="T6" fmla="*/ 41 w 42"/>
                <a:gd name="T7" fmla="*/ 29 h 29"/>
                <a:gd name="T8" fmla="*/ 42 w 42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9">
                  <a:moveTo>
                    <a:pt x="42" y="0"/>
                  </a:moveTo>
                  <a:lnTo>
                    <a:pt x="3" y="0"/>
                  </a:lnTo>
                  <a:lnTo>
                    <a:pt x="0" y="29"/>
                  </a:lnTo>
                  <a:lnTo>
                    <a:pt x="41" y="29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9" name="Freeform 57"/>
            <p:cNvSpPr>
              <a:spLocks/>
            </p:cNvSpPr>
            <p:nvPr/>
          </p:nvSpPr>
          <p:spPr bwMode="auto">
            <a:xfrm>
              <a:off x="3773488" y="3781425"/>
              <a:ext cx="80963" cy="44450"/>
            </a:xfrm>
            <a:custGeom>
              <a:avLst/>
              <a:gdLst>
                <a:gd name="T0" fmla="*/ 0 w 51"/>
                <a:gd name="T1" fmla="*/ 28 h 28"/>
                <a:gd name="T2" fmla="*/ 41 w 51"/>
                <a:gd name="T3" fmla="*/ 28 h 28"/>
                <a:gd name="T4" fmla="*/ 51 w 51"/>
                <a:gd name="T5" fmla="*/ 0 h 28"/>
                <a:gd name="T6" fmla="*/ 11 w 51"/>
                <a:gd name="T7" fmla="*/ 0 h 28"/>
                <a:gd name="T8" fmla="*/ 0 w 51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28">
                  <a:moveTo>
                    <a:pt x="0" y="28"/>
                  </a:moveTo>
                  <a:lnTo>
                    <a:pt x="41" y="28"/>
                  </a:lnTo>
                  <a:lnTo>
                    <a:pt x="51" y="0"/>
                  </a:lnTo>
                  <a:lnTo>
                    <a:pt x="11" y="0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0" name="Freeform 58"/>
            <p:cNvSpPr>
              <a:spLocks/>
            </p:cNvSpPr>
            <p:nvPr/>
          </p:nvSpPr>
          <p:spPr bwMode="auto">
            <a:xfrm>
              <a:off x="4006851" y="3730625"/>
              <a:ext cx="68263" cy="41275"/>
            </a:xfrm>
            <a:custGeom>
              <a:avLst/>
              <a:gdLst>
                <a:gd name="T0" fmla="*/ 0 w 43"/>
                <a:gd name="T1" fmla="*/ 26 h 26"/>
                <a:gd name="T2" fmla="*/ 38 w 43"/>
                <a:gd name="T3" fmla="*/ 26 h 26"/>
                <a:gd name="T4" fmla="*/ 43 w 43"/>
                <a:gd name="T5" fmla="*/ 0 h 26"/>
                <a:gd name="T6" fmla="*/ 6 w 43"/>
                <a:gd name="T7" fmla="*/ 0 h 26"/>
                <a:gd name="T8" fmla="*/ 0 w 43"/>
                <a:gd name="T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26">
                  <a:moveTo>
                    <a:pt x="0" y="26"/>
                  </a:moveTo>
                  <a:lnTo>
                    <a:pt x="38" y="26"/>
                  </a:lnTo>
                  <a:lnTo>
                    <a:pt x="43" y="0"/>
                  </a:lnTo>
                  <a:lnTo>
                    <a:pt x="6" y="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1" name="Freeform 59"/>
            <p:cNvSpPr>
              <a:spLocks/>
            </p:cNvSpPr>
            <p:nvPr/>
          </p:nvSpPr>
          <p:spPr bwMode="auto">
            <a:xfrm>
              <a:off x="3829051" y="3835400"/>
              <a:ext cx="79375" cy="46038"/>
            </a:xfrm>
            <a:custGeom>
              <a:avLst/>
              <a:gdLst>
                <a:gd name="T0" fmla="*/ 41 w 50"/>
                <a:gd name="T1" fmla="*/ 29 h 29"/>
                <a:gd name="T2" fmla="*/ 50 w 50"/>
                <a:gd name="T3" fmla="*/ 0 h 29"/>
                <a:gd name="T4" fmla="*/ 10 w 50"/>
                <a:gd name="T5" fmla="*/ 0 h 29"/>
                <a:gd name="T6" fmla="*/ 0 w 50"/>
                <a:gd name="T7" fmla="*/ 29 h 29"/>
                <a:gd name="T8" fmla="*/ 41 w 50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9">
                  <a:moveTo>
                    <a:pt x="41" y="29"/>
                  </a:moveTo>
                  <a:lnTo>
                    <a:pt x="50" y="0"/>
                  </a:lnTo>
                  <a:lnTo>
                    <a:pt x="10" y="0"/>
                  </a:lnTo>
                  <a:lnTo>
                    <a:pt x="0" y="29"/>
                  </a:lnTo>
                  <a:lnTo>
                    <a:pt x="41" y="29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2" name="Freeform 60"/>
            <p:cNvSpPr>
              <a:spLocks/>
            </p:cNvSpPr>
            <p:nvPr/>
          </p:nvSpPr>
          <p:spPr bwMode="auto">
            <a:xfrm>
              <a:off x="3937001" y="3730625"/>
              <a:ext cx="71438" cy="41275"/>
            </a:xfrm>
            <a:custGeom>
              <a:avLst/>
              <a:gdLst>
                <a:gd name="T0" fmla="*/ 0 w 45"/>
                <a:gd name="T1" fmla="*/ 26 h 26"/>
                <a:gd name="T2" fmla="*/ 38 w 45"/>
                <a:gd name="T3" fmla="*/ 26 h 26"/>
                <a:gd name="T4" fmla="*/ 45 w 45"/>
                <a:gd name="T5" fmla="*/ 0 h 26"/>
                <a:gd name="T6" fmla="*/ 8 w 45"/>
                <a:gd name="T7" fmla="*/ 0 h 26"/>
                <a:gd name="T8" fmla="*/ 0 w 45"/>
                <a:gd name="T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26">
                  <a:moveTo>
                    <a:pt x="0" y="26"/>
                  </a:moveTo>
                  <a:lnTo>
                    <a:pt x="38" y="26"/>
                  </a:lnTo>
                  <a:lnTo>
                    <a:pt x="45" y="0"/>
                  </a:lnTo>
                  <a:lnTo>
                    <a:pt x="8" y="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3" name="Freeform 61"/>
            <p:cNvSpPr>
              <a:spLocks/>
            </p:cNvSpPr>
            <p:nvPr/>
          </p:nvSpPr>
          <p:spPr bwMode="auto">
            <a:xfrm>
              <a:off x="3867151" y="3730625"/>
              <a:ext cx="73025" cy="41275"/>
            </a:xfrm>
            <a:custGeom>
              <a:avLst/>
              <a:gdLst>
                <a:gd name="T0" fmla="*/ 0 w 46"/>
                <a:gd name="T1" fmla="*/ 26 h 26"/>
                <a:gd name="T2" fmla="*/ 38 w 46"/>
                <a:gd name="T3" fmla="*/ 26 h 26"/>
                <a:gd name="T4" fmla="*/ 46 w 46"/>
                <a:gd name="T5" fmla="*/ 0 h 26"/>
                <a:gd name="T6" fmla="*/ 9 w 46"/>
                <a:gd name="T7" fmla="*/ 0 h 26"/>
                <a:gd name="T8" fmla="*/ 0 w 46"/>
                <a:gd name="T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26">
                  <a:moveTo>
                    <a:pt x="0" y="26"/>
                  </a:moveTo>
                  <a:lnTo>
                    <a:pt x="38" y="26"/>
                  </a:lnTo>
                  <a:lnTo>
                    <a:pt x="46" y="0"/>
                  </a:lnTo>
                  <a:lnTo>
                    <a:pt x="9" y="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4" name="Freeform 62"/>
            <p:cNvSpPr>
              <a:spLocks/>
            </p:cNvSpPr>
            <p:nvPr/>
          </p:nvSpPr>
          <p:spPr bwMode="auto">
            <a:xfrm>
              <a:off x="4125913" y="3835400"/>
              <a:ext cx="71438" cy="46038"/>
            </a:xfrm>
            <a:custGeom>
              <a:avLst/>
              <a:gdLst>
                <a:gd name="T0" fmla="*/ 45 w 45"/>
                <a:gd name="T1" fmla="*/ 0 h 29"/>
                <a:gd name="T2" fmla="*/ 6 w 45"/>
                <a:gd name="T3" fmla="*/ 0 h 29"/>
                <a:gd name="T4" fmla="*/ 0 w 45"/>
                <a:gd name="T5" fmla="*/ 29 h 29"/>
                <a:gd name="T6" fmla="*/ 41 w 45"/>
                <a:gd name="T7" fmla="*/ 29 h 29"/>
                <a:gd name="T8" fmla="*/ 45 w 45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29">
                  <a:moveTo>
                    <a:pt x="45" y="0"/>
                  </a:moveTo>
                  <a:lnTo>
                    <a:pt x="6" y="0"/>
                  </a:lnTo>
                  <a:lnTo>
                    <a:pt x="0" y="29"/>
                  </a:lnTo>
                  <a:lnTo>
                    <a:pt x="41" y="29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5" name="Freeform 63"/>
            <p:cNvSpPr>
              <a:spLocks/>
            </p:cNvSpPr>
            <p:nvPr/>
          </p:nvSpPr>
          <p:spPr bwMode="auto">
            <a:xfrm>
              <a:off x="4200526" y="3835400"/>
              <a:ext cx="474663" cy="46038"/>
            </a:xfrm>
            <a:custGeom>
              <a:avLst/>
              <a:gdLst>
                <a:gd name="T0" fmla="*/ 299 w 299"/>
                <a:gd name="T1" fmla="*/ 0 h 29"/>
                <a:gd name="T2" fmla="*/ 4 w 299"/>
                <a:gd name="T3" fmla="*/ 0 h 29"/>
                <a:gd name="T4" fmla="*/ 0 w 299"/>
                <a:gd name="T5" fmla="*/ 29 h 29"/>
                <a:gd name="T6" fmla="*/ 297 w 299"/>
                <a:gd name="T7" fmla="*/ 29 h 29"/>
                <a:gd name="T8" fmla="*/ 299 w 299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9" h="29">
                  <a:moveTo>
                    <a:pt x="299" y="0"/>
                  </a:moveTo>
                  <a:lnTo>
                    <a:pt x="4" y="0"/>
                  </a:lnTo>
                  <a:lnTo>
                    <a:pt x="0" y="29"/>
                  </a:lnTo>
                  <a:lnTo>
                    <a:pt x="297" y="29"/>
                  </a:lnTo>
                  <a:lnTo>
                    <a:pt x="299" y="0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6" name="Freeform 64"/>
            <p:cNvSpPr>
              <a:spLocks/>
            </p:cNvSpPr>
            <p:nvPr/>
          </p:nvSpPr>
          <p:spPr bwMode="auto">
            <a:xfrm>
              <a:off x="3976688" y="3835400"/>
              <a:ext cx="76200" cy="46038"/>
            </a:xfrm>
            <a:custGeom>
              <a:avLst/>
              <a:gdLst>
                <a:gd name="T0" fmla="*/ 48 w 48"/>
                <a:gd name="T1" fmla="*/ 0 h 29"/>
                <a:gd name="T2" fmla="*/ 8 w 48"/>
                <a:gd name="T3" fmla="*/ 0 h 29"/>
                <a:gd name="T4" fmla="*/ 0 w 48"/>
                <a:gd name="T5" fmla="*/ 29 h 29"/>
                <a:gd name="T6" fmla="*/ 41 w 48"/>
                <a:gd name="T7" fmla="*/ 29 h 29"/>
                <a:gd name="T8" fmla="*/ 48 w 48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29">
                  <a:moveTo>
                    <a:pt x="48" y="0"/>
                  </a:moveTo>
                  <a:lnTo>
                    <a:pt x="8" y="0"/>
                  </a:lnTo>
                  <a:lnTo>
                    <a:pt x="0" y="29"/>
                  </a:lnTo>
                  <a:lnTo>
                    <a:pt x="41" y="29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7" name="Freeform 65"/>
            <p:cNvSpPr>
              <a:spLocks/>
            </p:cNvSpPr>
            <p:nvPr/>
          </p:nvSpPr>
          <p:spPr bwMode="auto">
            <a:xfrm>
              <a:off x="3903663" y="3835400"/>
              <a:ext cx="76200" cy="46038"/>
            </a:xfrm>
            <a:custGeom>
              <a:avLst/>
              <a:gdLst>
                <a:gd name="T0" fmla="*/ 48 w 48"/>
                <a:gd name="T1" fmla="*/ 0 h 29"/>
                <a:gd name="T2" fmla="*/ 9 w 48"/>
                <a:gd name="T3" fmla="*/ 0 h 29"/>
                <a:gd name="T4" fmla="*/ 0 w 48"/>
                <a:gd name="T5" fmla="*/ 29 h 29"/>
                <a:gd name="T6" fmla="*/ 41 w 48"/>
                <a:gd name="T7" fmla="*/ 29 h 29"/>
                <a:gd name="T8" fmla="*/ 48 w 48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29">
                  <a:moveTo>
                    <a:pt x="48" y="0"/>
                  </a:moveTo>
                  <a:lnTo>
                    <a:pt x="9" y="0"/>
                  </a:lnTo>
                  <a:lnTo>
                    <a:pt x="0" y="29"/>
                  </a:lnTo>
                  <a:lnTo>
                    <a:pt x="41" y="29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8" name="Freeform 66"/>
            <p:cNvSpPr>
              <a:spLocks/>
            </p:cNvSpPr>
            <p:nvPr/>
          </p:nvSpPr>
          <p:spPr bwMode="auto">
            <a:xfrm>
              <a:off x="4052888" y="3835400"/>
              <a:ext cx="71438" cy="46038"/>
            </a:xfrm>
            <a:custGeom>
              <a:avLst/>
              <a:gdLst>
                <a:gd name="T0" fmla="*/ 45 w 45"/>
                <a:gd name="T1" fmla="*/ 0 h 29"/>
                <a:gd name="T2" fmla="*/ 6 w 45"/>
                <a:gd name="T3" fmla="*/ 0 h 29"/>
                <a:gd name="T4" fmla="*/ 0 w 45"/>
                <a:gd name="T5" fmla="*/ 29 h 29"/>
                <a:gd name="T6" fmla="*/ 41 w 45"/>
                <a:gd name="T7" fmla="*/ 29 h 29"/>
                <a:gd name="T8" fmla="*/ 45 w 45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29">
                  <a:moveTo>
                    <a:pt x="45" y="0"/>
                  </a:moveTo>
                  <a:lnTo>
                    <a:pt x="6" y="0"/>
                  </a:lnTo>
                  <a:lnTo>
                    <a:pt x="0" y="29"/>
                  </a:lnTo>
                  <a:lnTo>
                    <a:pt x="41" y="29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9" name="Freeform 67"/>
            <p:cNvSpPr>
              <a:spLocks/>
            </p:cNvSpPr>
            <p:nvPr/>
          </p:nvSpPr>
          <p:spPr bwMode="auto">
            <a:xfrm>
              <a:off x="4354513" y="3730625"/>
              <a:ext cx="60325" cy="41275"/>
            </a:xfrm>
            <a:custGeom>
              <a:avLst/>
              <a:gdLst>
                <a:gd name="T0" fmla="*/ 38 w 38"/>
                <a:gd name="T1" fmla="*/ 0 h 26"/>
                <a:gd name="T2" fmla="*/ 1 w 38"/>
                <a:gd name="T3" fmla="*/ 0 h 26"/>
                <a:gd name="T4" fmla="*/ 0 w 38"/>
                <a:gd name="T5" fmla="*/ 26 h 26"/>
                <a:gd name="T6" fmla="*/ 38 w 38"/>
                <a:gd name="T7" fmla="*/ 26 h 26"/>
                <a:gd name="T8" fmla="*/ 38 w 38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6">
                  <a:moveTo>
                    <a:pt x="38" y="0"/>
                  </a:moveTo>
                  <a:lnTo>
                    <a:pt x="1" y="0"/>
                  </a:lnTo>
                  <a:lnTo>
                    <a:pt x="0" y="26"/>
                  </a:lnTo>
                  <a:lnTo>
                    <a:pt x="38" y="26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0" name="Rectangle 319"/>
            <p:cNvSpPr>
              <a:spLocks noChangeArrowheads="1"/>
            </p:cNvSpPr>
            <p:nvPr/>
          </p:nvSpPr>
          <p:spPr bwMode="auto">
            <a:xfrm>
              <a:off x="4422776" y="3730625"/>
              <a:ext cx="63500" cy="41275"/>
            </a:xfrm>
            <a:prstGeom prst="rect">
              <a:avLst/>
            </a:pr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1" name="Freeform 69"/>
            <p:cNvSpPr>
              <a:spLocks/>
            </p:cNvSpPr>
            <p:nvPr/>
          </p:nvSpPr>
          <p:spPr bwMode="auto">
            <a:xfrm>
              <a:off x="4352926" y="3781425"/>
              <a:ext cx="133350" cy="44450"/>
            </a:xfrm>
            <a:custGeom>
              <a:avLst/>
              <a:gdLst>
                <a:gd name="T0" fmla="*/ 44 w 84"/>
                <a:gd name="T1" fmla="*/ 0 h 28"/>
                <a:gd name="T2" fmla="*/ 44 w 84"/>
                <a:gd name="T3" fmla="*/ 28 h 28"/>
                <a:gd name="T4" fmla="*/ 39 w 84"/>
                <a:gd name="T5" fmla="*/ 28 h 28"/>
                <a:gd name="T6" fmla="*/ 39 w 84"/>
                <a:gd name="T7" fmla="*/ 0 h 28"/>
                <a:gd name="T8" fmla="*/ 0 w 84"/>
                <a:gd name="T9" fmla="*/ 0 h 28"/>
                <a:gd name="T10" fmla="*/ 0 w 84"/>
                <a:gd name="T11" fmla="*/ 28 h 28"/>
                <a:gd name="T12" fmla="*/ 84 w 84"/>
                <a:gd name="T13" fmla="*/ 28 h 28"/>
                <a:gd name="T14" fmla="*/ 84 w 84"/>
                <a:gd name="T15" fmla="*/ 0 h 28"/>
                <a:gd name="T16" fmla="*/ 44 w 84"/>
                <a:gd name="T1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" h="28">
                  <a:moveTo>
                    <a:pt x="44" y="0"/>
                  </a:moveTo>
                  <a:lnTo>
                    <a:pt x="44" y="28"/>
                  </a:lnTo>
                  <a:lnTo>
                    <a:pt x="39" y="28"/>
                  </a:lnTo>
                  <a:lnTo>
                    <a:pt x="39" y="0"/>
                  </a:lnTo>
                  <a:lnTo>
                    <a:pt x="0" y="0"/>
                  </a:lnTo>
                  <a:lnTo>
                    <a:pt x="0" y="28"/>
                  </a:lnTo>
                  <a:lnTo>
                    <a:pt x="84" y="28"/>
                  </a:lnTo>
                  <a:lnTo>
                    <a:pt x="84" y="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2" name="Freeform 70"/>
            <p:cNvSpPr>
              <a:spLocks noEditPoints="1"/>
            </p:cNvSpPr>
            <p:nvPr/>
          </p:nvSpPr>
          <p:spPr bwMode="auto">
            <a:xfrm>
              <a:off x="4230688" y="3176588"/>
              <a:ext cx="447675" cy="446088"/>
            </a:xfrm>
            <a:custGeom>
              <a:avLst/>
              <a:gdLst>
                <a:gd name="T0" fmla="*/ 0 w 282"/>
                <a:gd name="T1" fmla="*/ 0 h 281"/>
                <a:gd name="T2" fmla="*/ 0 w 282"/>
                <a:gd name="T3" fmla="*/ 281 h 281"/>
                <a:gd name="T4" fmla="*/ 282 w 282"/>
                <a:gd name="T5" fmla="*/ 281 h 281"/>
                <a:gd name="T6" fmla="*/ 282 w 282"/>
                <a:gd name="T7" fmla="*/ 0 h 281"/>
                <a:gd name="T8" fmla="*/ 0 w 282"/>
                <a:gd name="T9" fmla="*/ 0 h 281"/>
                <a:gd name="T10" fmla="*/ 265 w 282"/>
                <a:gd name="T11" fmla="*/ 240 h 281"/>
                <a:gd name="T12" fmla="*/ 17 w 282"/>
                <a:gd name="T13" fmla="*/ 240 h 281"/>
                <a:gd name="T14" fmla="*/ 17 w 282"/>
                <a:gd name="T15" fmla="*/ 18 h 281"/>
                <a:gd name="T16" fmla="*/ 265 w 282"/>
                <a:gd name="T17" fmla="*/ 18 h 281"/>
                <a:gd name="T18" fmla="*/ 265 w 282"/>
                <a:gd name="T19" fmla="*/ 240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2" h="281">
                  <a:moveTo>
                    <a:pt x="0" y="0"/>
                  </a:moveTo>
                  <a:lnTo>
                    <a:pt x="0" y="281"/>
                  </a:lnTo>
                  <a:lnTo>
                    <a:pt x="282" y="281"/>
                  </a:lnTo>
                  <a:lnTo>
                    <a:pt x="282" y="0"/>
                  </a:lnTo>
                  <a:lnTo>
                    <a:pt x="0" y="0"/>
                  </a:lnTo>
                  <a:close/>
                  <a:moveTo>
                    <a:pt x="265" y="240"/>
                  </a:moveTo>
                  <a:lnTo>
                    <a:pt x="17" y="240"/>
                  </a:lnTo>
                  <a:lnTo>
                    <a:pt x="17" y="18"/>
                  </a:lnTo>
                  <a:lnTo>
                    <a:pt x="265" y="18"/>
                  </a:lnTo>
                  <a:lnTo>
                    <a:pt x="265" y="2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3" name="Freeform 71"/>
            <p:cNvSpPr>
              <a:spLocks noEditPoints="1"/>
            </p:cNvSpPr>
            <p:nvPr/>
          </p:nvSpPr>
          <p:spPr bwMode="auto">
            <a:xfrm>
              <a:off x="4230688" y="3176588"/>
              <a:ext cx="447675" cy="446088"/>
            </a:xfrm>
            <a:custGeom>
              <a:avLst/>
              <a:gdLst>
                <a:gd name="T0" fmla="*/ 0 w 282"/>
                <a:gd name="T1" fmla="*/ 0 h 281"/>
                <a:gd name="T2" fmla="*/ 0 w 282"/>
                <a:gd name="T3" fmla="*/ 281 h 281"/>
                <a:gd name="T4" fmla="*/ 282 w 282"/>
                <a:gd name="T5" fmla="*/ 281 h 281"/>
                <a:gd name="T6" fmla="*/ 282 w 282"/>
                <a:gd name="T7" fmla="*/ 0 h 281"/>
                <a:gd name="T8" fmla="*/ 0 w 282"/>
                <a:gd name="T9" fmla="*/ 0 h 281"/>
                <a:gd name="T10" fmla="*/ 265 w 282"/>
                <a:gd name="T11" fmla="*/ 240 h 281"/>
                <a:gd name="T12" fmla="*/ 17 w 282"/>
                <a:gd name="T13" fmla="*/ 240 h 281"/>
                <a:gd name="T14" fmla="*/ 17 w 282"/>
                <a:gd name="T15" fmla="*/ 18 h 281"/>
                <a:gd name="T16" fmla="*/ 265 w 282"/>
                <a:gd name="T17" fmla="*/ 18 h 281"/>
                <a:gd name="T18" fmla="*/ 265 w 282"/>
                <a:gd name="T19" fmla="*/ 240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2" h="281">
                  <a:moveTo>
                    <a:pt x="0" y="0"/>
                  </a:moveTo>
                  <a:lnTo>
                    <a:pt x="0" y="281"/>
                  </a:lnTo>
                  <a:lnTo>
                    <a:pt x="282" y="281"/>
                  </a:lnTo>
                  <a:lnTo>
                    <a:pt x="282" y="0"/>
                  </a:lnTo>
                  <a:lnTo>
                    <a:pt x="0" y="0"/>
                  </a:lnTo>
                  <a:moveTo>
                    <a:pt x="265" y="240"/>
                  </a:moveTo>
                  <a:lnTo>
                    <a:pt x="17" y="240"/>
                  </a:lnTo>
                  <a:lnTo>
                    <a:pt x="17" y="18"/>
                  </a:lnTo>
                  <a:lnTo>
                    <a:pt x="265" y="18"/>
                  </a:lnTo>
                  <a:lnTo>
                    <a:pt x="265" y="24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4" name="Freeform 72"/>
            <p:cNvSpPr>
              <a:spLocks/>
            </p:cNvSpPr>
            <p:nvPr/>
          </p:nvSpPr>
          <p:spPr bwMode="auto">
            <a:xfrm>
              <a:off x="4275138" y="3327400"/>
              <a:ext cx="358775" cy="214313"/>
            </a:xfrm>
            <a:custGeom>
              <a:avLst/>
              <a:gdLst>
                <a:gd name="T0" fmla="*/ 201 w 226"/>
                <a:gd name="T1" fmla="*/ 105 h 135"/>
                <a:gd name="T2" fmla="*/ 133 w 226"/>
                <a:gd name="T3" fmla="*/ 5 h 135"/>
                <a:gd name="T4" fmla="*/ 113 w 226"/>
                <a:gd name="T5" fmla="*/ 39 h 135"/>
                <a:gd name="T6" fmla="*/ 90 w 226"/>
                <a:gd name="T7" fmla="*/ 0 h 135"/>
                <a:gd name="T8" fmla="*/ 43 w 226"/>
                <a:gd name="T9" fmla="*/ 82 h 135"/>
                <a:gd name="T10" fmla="*/ 0 w 226"/>
                <a:gd name="T11" fmla="*/ 8 h 135"/>
                <a:gd name="T12" fmla="*/ 0 w 226"/>
                <a:gd name="T13" fmla="*/ 135 h 135"/>
                <a:gd name="T14" fmla="*/ 226 w 226"/>
                <a:gd name="T15" fmla="*/ 135 h 135"/>
                <a:gd name="T16" fmla="*/ 226 w 226"/>
                <a:gd name="T17" fmla="*/ 62 h 135"/>
                <a:gd name="T18" fmla="*/ 201 w 226"/>
                <a:gd name="T19" fmla="*/ 10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" h="135">
                  <a:moveTo>
                    <a:pt x="201" y="105"/>
                  </a:moveTo>
                  <a:lnTo>
                    <a:pt x="133" y="5"/>
                  </a:lnTo>
                  <a:lnTo>
                    <a:pt x="113" y="39"/>
                  </a:lnTo>
                  <a:lnTo>
                    <a:pt x="90" y="0"/>
                  </a:lnTo>
                  <a:lnTo>
                    <a:pt x="43" y="82"/>
                  </a:lnTo>
                  <a:lnTo>
                    <a:pt x="0" y="8"/>
                  </a:lnTo>
                  <a:lnTo>
                    <a:pt x="0" y="135"/>
                  </a:lnTo>
                  <a:lnTo>
                    <a:pt x="226" y="135"/>
                  </a:lnTo>
                  <a:lnTo>
                    <a:pt x="226" y="62"/>
                  </a:lnTo>
                  <a:lnTo>
                    <a:pt x="201" y="10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5" name="Oval 324"/>
            <p:cNvSpPr>
              <a:spLocks noChangeArrowheads="1"/>
            </p:cNvSpPr>
            <p:nvPr/>
          </p:nvSpPr>
          <p:spPr bwMode="auto">
            <a:xfrm>
              <a:off x="4527551" y="3248025"/>
              <a:ext cx="85725" cy="8413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6" name="Freeform 74"/>
            <p:cNvSpPr>
              <a:spLocks noEditPoints="1"/>
            </p:cNvSpPr>
            <p:nvPr/>
          </p:nvSpPr>
          <p:spPr bwMode="auto">
            <a:xfrm>
              <a:off x="3992563" y="2979738"/>
              <a:ext cx="1052513" cy="590550"/>
            </a:xfrm>
            <a:custGeom>
              <a:avLst/>
              <a:gdLst>
                <a:gd name="T0" fmla="*/ 652 w 981"/>
                <a:gd name="T1" fmla="*/ 280 h 556"/>
                <a:gd name="T2" fmla="*/ 648 w 981"/>
                <a:gd name="T3" fmla="*/ 289 h 556"/>
                <a:gd name="T4" fmla="*/ 640 w 981"/>
                <a:gd name="T5" fmla="*/ 302 h 556"/>
                <a:gd name="T6" fmla="*/ 640 w 981"/>
                <a:gd name="T7" fmla="*/ 410 h 556"/>
                <a:gd name="T8" fmla="*/ 688 w 981"/>
                <a:gd name="T9" fmla="*/ 440 h 556"/>
                <a:gd name="T10" fmla="*/ 695 w 981"/>
                <a:gd name="T11" fmla="*/ 373 h 556"/>
                <a:gd name="T12" fmla="*/ 694 w 981"/>
                <a:gd name="T13" fmla="*/ 365 h 556"/>
                <a:gd name="T14" fmla="*/ 681 w 981"/>
                <a:gd name="T15" fmla="*/ 328 h 556"/>
                <a:gd name="T16" fmla="*/ 677 w 981"/>
                <a:gd name="T17" fmla="*/ 329 h 556"/>
                <a:gd name="T18" fmla="*/ 675 w 981"/>
                <a:gd name="T19" fmla="*/ 328 h 556"/>
                <a:gd name="T20" fmla="*/ 674 w 981"/>
                <a:gd name="T21" fmla="*/ 328 h 556"/>
                <a:gd name="T22" fmla="*/ 645 w 981"/>
                <a:gd name="T23" fmla="*/ 316 h 556"/>
                <a:gd name="T24" fmla="*/ 645 w 981"/>
                <a:gd name="T25" fmla="*/ 316 h 556"/>
                <a:gd name="T26" fmla="*/ 663 w 981"/>
                <a:gd name="T27" fmla="*/ 297 h 556"/>
                <a:gd name="T28" fmla="*/ 658 w 981"/>
                <a:gd name="T29" fmla="*/ 288 h 556"/>
                <a:gd name="T30" fmla="*/ 652 w 981"/>
                <a:gd name="T31" fmla="*/ 280 h 556"/>
                <a:gd name="T32" fmla="*/ 523 w 981"/>
                <a:gd name="T33" fmla="*/ 213 h 556"/>
                <a:gd name="T34" fmla="*/ 340 w 981"/>
                <a:gd name="T35" fmla="*/ 213 h 556"/>
                <a:gd name="T36" fmla="*/ 359 w 981"/>
                <a:gd name="T37" fmla="*/ 230 h 556"/>
                <a:gd name="T38" fmla="*/ 614 w 981"/>
                <a:gd name="T39" fmla="*/ 393 h 556"/>
                <a:gd name="T40" fmla="*/ 614 w 981"/>
                <a:gd name="T41" fmla="*/ 315 h 556"/>
                <a:gd name="T42" fmla="*/ 610 w 981"/>
                <a:gd name="T43" fmla="*/ 315 h 556"/>
                <a:gd name="T44" fmla="*/ 594 w 981"/>
                <a:gd name="T45" fmla="*/ 312 h 556"/>
                <a:gd name="T46" fmla="*/ 593 w 981"/>
                <a:gd name="T47" fmla="*/ 312 h 556"/>
                <a:gd name="T48" fmla="*/ 614 w 981"/>
                <a:gd name="T49" fmla="*/ 262 h 556"/>
                <a:gd name="T50" fmla="*/ 614 w 981"/>
                <a:gd name="T51" fmla="*/ 256 h 556"/>
                <a:gd name="T52" fmla="*/ 610 w 981"/>
                <a:gd name="T53" fmla="*/ 256 h 556"/>
                <a:gd name="T54" fmla="*/ 598 w 981"/>
                <a:gd name="T55" fmla="*/ 278 h 556"/>
                <a:gd name="T56" fmla="*/ 578 w 981"/>
                <a:gd name="T57" fmla="*/ 297 h 556"/>
                <a:gd name="T58" fmla="*/ 538 w 981"/>
                <a:gd name="T59" fmla="*/ 331 h 556"/>
                <a:gd name="T60" fmla="*/ 499 w 981"/>
                <a:gd name="T61" fmla="*/ 292 h 556"/>
                <a:gd name="T62" fmla="*/ 499 w 981"/>
                <a:gd name="T63" fmla="*/ 290 h 556"/>
                <a:gd name="T64" fmla="*/ 488 w 981"/>
                <a:gd name="T65" fmla="*/ 291 h 556"/>
                <a:gd name="T66" fmla="*/ 469 w 981"/>
                <a:gd name="T67" fmla="*/ 267 h 556"/>
                <a:gd name="T68" fmla="*/ 523 w 981"/>
                <a:gd name="T69" fmla="*/ 213 h 556"/>
                <a:gd name="T70" fmla="*/ 981 w 981"/>
                <a:gd name="T71" fmla="*/ 0 h 556"/>
                <a:gd name="T72" fmla="*/ 0 w 981"/>
                <a:gd name="T73" fmla="*/ 0 h 556"/>
                <a:gd name="T74" fmla="*/ 291 w 981"/>
                <a:gd name="T75" fmla="*/ 186 h 556"/>
                <a:gd name="T76" fmla="*/ 640 w 981"/>
                <a:gd name="T77" fmla="*/ 186 h 556"/>
                <a:gd name="T78" fmla="*/ 640 w 981"/>
                <a:gd name="T79" fmla="*/ 187 h 556"/>
                <a:gd name="T80" fmla="*/ 656 w 981"/>
                <a:gd name="T81" fmla="*/ 194 h 556"/>
                <a:gd name="T82" fmla="*/ 780 w 981"/>
                <a:gd name="T83" fmla="*/ 267 h 556"/>
                <a:gd name="T84" fmla="*/ 813 w 981"/>
                <a:gd name="T85" fmla="*/ 293 h 556"/>
                <a:gd name="T86" fmla="*/ 833 w 981"/>
                <a:gd name="T87" fmla="*/ 318 h 556"/>
                <a:gd name="T88" fmla="*/ 948 w 981"/>
                <a:gd name="T89" fmla="*/ 513 h 556"/>
                <a:gd name="T90" fmla="*/ 981 w 981"/>
                <a:gd name="T91" fmla="*/ 556 h 556"/>
                <a:gd name="T92" fmla="*/ 981 w 981"/>
                <a:gd name="T93" fmla="*/ 0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81" h="556">
                  <a:moveTo>
                    <a:pt x="652" y="280"/>
                  </a:moveTo>
                  <a:cubicBezTo>
                    <a:pt x="648" y="289"/>
                    <a:pt x="648" y="289"/>
                    <a:pt x="648" y="289"/>
                  </a:cubicBezTo>
                  <a:cubicBezTo>
                    <a:pt x="646" y="294"/>
                    <a:pt x="643" y="298"/>
                    <a:pt x="640" y="302"/>
                  </a:cubicBezTo>
                  <a:cubicBezTo>
                    <a:pt x="640" y="410"/>
                    <a:pt x="640" y="410"/>
                    <a:pt x="640" y="410"/>
                  </a:cubicBezTo>
                  <a:cubicBezTo>
                    <a:pt x="688" y="440"/>
                    <a:pt x="688" y="440"/>
                    <a:pt x="688" y="440"/>
                  </a:cubicBezTo>
                  <a:cubicBezTo>
                    <a:pt x="696" y="420"/>
                    <a:pt x="699" y="396"/>
                    <a:pt x="695" y="373"/>
                  </a:cubicBezTo>
                  <a:cubicBezTo>
                    <a:pt x="695" y="370"/>
                    <a:pt x="694" y="368"/>
                    <a:pt x="694" y="365"/>
                  </a:cubicBezTo>
                  <a:cubicBezTo>
                    <a:pt x="691" y="351"/>
                    <a:pt x="687" y="340"/>
                    <a:pt x="681" y="328"/>
                  </a:cubicBezTo>
                  <a:cubicBezTo>
                    <a:pt x="680" y="328"/>
                    <a:pt x="678" y="329"/>
                    <a:pt x="677" y="329"/>
                  </a:cubicBezTo>
                  <a:cubicBezTo>
                    <a:pt x="676" y="329"/>
                    <a:pt x="676" y="328"/>
                    <a:pt x="675" y="328"/>
                  </a:cubicBezTo>
                  <a:cubicBezTo>
                    <a:pt x="675" y="328"/>
                    <a:pt x="675" y="328"/>
                    <a:pt x="674" y="328"/>
                  </a:cubicBezTo>
                  <a:cubicBezTo>
                    <a:pt x="664" y="328"/>
                    <a:pt x="653" y="324"/>
                    <a:pt x="645" y="316"/>
                  </a:cubicBezTo>
                  <a:cubicBezTo>
                    <a:pt x="645" y="316"/>
                    <a:pt x="645" y="316"/>
                    <a:pt x="645" y="316"/>
                  </a:cubicBezTo>
                  <a:cubicBezTo>
                    <a:pt x="663" y="297"/>
                    <a:pt x="663" y="297"/>
                    <a:pt x="663" y="297"/>
                  </a:cubicBezTo>
                  <a:cubicBezTo>
                    <a:pt x="662" y="294"/>
                    <a:pt x="660" y="292"/>
                    <a:pt x="658" y="288"/>
                  </a:cubicBezTo>
                  <a:cubicBezTo>
                    <a:pt x="656" y="285"/>
                    <a:pt x="654" y="282"/>
                    <a:pt x="652" y="280"/>
                  </a:cubicBezTo>
                  <a:moveTo>
                    <a:pt x="523" y="213"/>
                  </a:moveTo>
                  <a:cubicBezTo>
                    <a:pt x="340" y="213"/>
                    <a:pt x="340" y="213"/>
                    <a:pt x="340" y="213"/>
                  </a:cubicBezTo>
                  <a:cubicBezTo>
                    <a:pt x="346" y="217"/>
                    <a:pt x="352" y="223"/>
                    <a:pt x="359" y="230"/>
                  </a:cubicBezTo>
                  <a:cubicBezTo>
                    <a:pt x="614" y="393"/>
                    <a:pt x="614" y="393"/>
                    <a:pt x="614" y="393"/>
                  </a:cubicBezTo>
                  <a:cubicBezTo>
                    <a:pt x="614" y="315"/>
                    <a:pt x="614" y="315"/>
                    <a:pt x="614" y="315"/>
                  </a:cubicBezTo>
                  <a:cubicBezTo>
                    <a:pt x="612" y="315"/>
                    <a:pt x="611" y="315"/>
                    <a:pt x="610" y="315"/>
                  </a:cubicBezTo>
                  <a:cubicBezTo>
                    <a:pt x="604" y="315"/>
                    <a:pt x="599" y="314"/>
                    <a:pt x="594" y="312"/>
                  </a:cubicBezTo>
                  <a:cubicBezTo>
                    <a:pt x="593" y="312"/>
                    <a:pt x="593" y="312"/>
                    <a:pt x="593" y="312"/>
                  </a:cubicBezTo>
                  <a:cubicBezTo>
                    <a:pt x="614" y="262"/>
                    <a:pt x="614" y="262"/>
                    <a:pt x="614" y="262"/>
                  </a:cubicBezTo>
                  <a:cubicBezTo>
                    <a:pt x="614" y="256"/>
                    <a:pt x="614" y="256"/>
                    <a:pt x="614" y="256"/>
                  </a:cubicBezTo>
                  <a:cubicBezTo>
                    <a:pt x="613" y="256"/>
                    <a:pt x="611" y="256"/>
                    <a:pt x="610" y="256"/>
                  </a:cubicBezTo>
                  <a:cubicBezTo>
                    <a:pt x="598" y="278"/>
                    <a:pt x="598" y="278"/>
                    <a:pt x="598" y="278"/>
                  </a:cubicBezTo>
                  <a:cubicBezTo>
                    <a:pt x="593" y="286"/>
                    <a:pt x="586" y="293"/>
                    <a:pt x="578" y="297"/>
                  </a:cubicBezTo>
                  <a:cubicBezTo>
                    <a:pt x="575" y="317"/>
                    <a:pt x="558" y="331"/>
                    <a:pt x="538" y="331"/>
                  </a:cubicBezTo>
                  <a:cubicBezTo>
                    <a:pt x="517" y="331"/>
                    <a:pt x="499" y="314"/>
                    <a:pt x="499" y="292"/>
                  </a:cubicBezTo>
                  <a:cubicBezTo>
                    <a:pt x="499" y="291"/>
                    <a:pt x="499" y="290"/>
                    <a:pt x="499" y="290"/>
                  </a:cubicBezTo>
                  <a:cubicBezTo>
                    <a:pt x="495" y="290"/>
                    <a:pt x="491" y="291"/>
                    <a:pt x="488" y="291"/>
                  </a:cubicBezTo>
                  <a:cubicBezTo>
                    <a:pt x="469" y="291"/>
                    <a:pt x="455" y="281"/>
                    <a:pt x="469" y="267"/>
                  </a:cubicBezTo>
                  <a:cubicBezTo>
                    <a:pt x="476" y="259"/>
                    <a:pt x="503" y="229"/>
                    <a:pt x="523" y="213"/>
                  </a:cubicBezTo>
                  <a:moveTo>
                    <a:pt x="98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1" y="186"/>
                    <a:pt x="291" y="186"/>
                    <a:pt x="291" y="186"/>
                  </a:cubicBezTo>
                  <a:cubicBezTo>
                    <a:pt x="640" y="186"/>
                    <a:pt x="640" y="186"/>
                    <a:pt x="640" y="186"/>
                  </a:cubicBezTo>
                  <a:cubicBezTo>
                    <a:pt x="640" y="187"/>
                    <a:pt x="640" y="187"/>
                    <a:pt x="640" y="187"/>
                  </a:cubicBezTo>
                  <a:cubicBezTo>
                    <a:pt x="646" y="189"/>
                    <a:pt x="651" y="191"/>
                    <a:pt x="656" y="194"/>
                  </a:cubicBezTo>
                  <a:cubicBezTo>
                    <a:pt x="780" y="267"/>
                    <a:pt x="780" y="267"/>
                    <a:pt x="780" y="267"/>
                  </a:cubicBezTo>
                  <a:cubicBezTo>
                    <a:pt x="792" y="274"/>
                    <a:pt x="803" y="283"/>
                    <a:pt x="813" y="293"/>
                  </a:cubicBezTo>
                  <a:cubicBezTo>
                    <a:pt x="821" y="300"/>
                    <a:pt x="828" y="309"/>
                    <a:pt x="833" y="318"/>
                  </a:cubicBezTo>
                  <a:cubicBezTo>
                    <a:pt x="948" y="513"/>
                    <a:pt x="948" y="513"/>
                    <a:pt x="948" y="513"/>
                  </a:cubicBezTo>
                  <a:cubicBezTo>
                    <a:pt x="981" y="556"/>
                    <a:pt x="981" y="556"/>
                    <a:pt x="981" y="556"/>
                  </a:cubicBezTo>
                  <a:cubicBezTo>
                    <a:pt x="981" y="0"/>
                    <a:pt x="981" y="0"/>
                    <a:pt x="981" y="0"/>
                  </a:cubicBezTo>
                </a:path>
              </a:pathLst>
            </a:custGeom>
            <a:solidFill>
              <a:srgbClr val="1A8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7" name="Freeform 75"/>
            <p:cNvSpPr>
              <a:spLocks noEditPoints="1"/>
            </p:cNvSpPr>
            <p:nvPr/>
          </p:nvSpPr>
          <p:spPr bwMode="auto">
            <a:xfrm>
              <a:off x="4305301" y="3176588"/>
              <a:ext cx="373063" cy="239713"/>
            </a:xfrm>
            <a:custGeom>
              <a:avLst/>
              <a:gdLst>
                <a:gd name="T0" fmla="*/ 349 w 349"/>
                <a:gd name="T1" fmla="*/ 116 h 224"/>
                <a:gd name="T2" fmla="*/ 323 w 349"/>
                <a:gd name="T3" fmla="*/ 129 h 224"/>
                <a:gd name="T4" fmla="*/ 323 w 349"/>
                <a:gd name="T5" fmla="*/ 207 h 224"/>
                <a:gd name="T6" fmla="*/ 349 w 349"/>
                <a:gd name="T7" fmla="*/ 224 h 224"/>
                <a:gd name="T8" fmla="*/ 349 w 349"/>
                <a:gd name="T9" fmla="*/ 116 h 224"/>
                <a:gd name="T10" fmla="*/ 323 w 349"/>
                <a:gd name="T11" fmla="*/ 70 h 224"/>
                <a:gd name="T12" fmla="*/ 323 w 349"/>
                <a:gd name="T13" fmla="*/ 76 h 224"/>
                <a:gd name="T14" fmla="*/ 325 w 349"/>
                <a:gd name="T15" fmla="*/ 70 h 224"/>
                <a:gd name="T16" fmla="*/ 323 w 349"/>
                <a:gd name="T17" fmla="*/ 70 h 224"/>
                <a:gd name="T18" fmla="*/ 349 w 349"/>
                <a:gd name="T19" fmla="*/ 0 h 224"/>
                <a:gd name="T20" fmla="*/ 0 w 349"/>
                <a:gd name="T21" fmla="*/ 0 h 224"/>
                <a:gd name="T22" fmla="*/ 23 w 349"/>
                <a:gd name="T23" fmla="*/ 15 h 224"/>
                <a:gd name="T24" fmla="*/ 35 w 349"/>
                <a:gd name="T25" fmla="*/ 17 h 224"/>
                <a:gd name="T26" fmla="*/ 49 w 349"/>
                <a:gd name="T27" fmla="*/ 27 h 224"/>
                <a:gd name="T28" fmla="*/ 232 w 349"/>
                <a:gd name="T29" fmla="*/ 27 h 224"/>
                <a:gd name="T30" fmla="*/ 246 w 349"/>
                <a:gd name="T31" fmla="*/ 17 h 224"/>
                <a:gd name="T32" fmla="*/ 325 w 349"/>
                <a:gd name="T33" fmla="*/ 3 h 224"/>
                <a:gd name="T34" fmla="*/ 340 w 349"/>
                <a:gd name="T35" fmla="*/ 0 h 224"/>
                <a:gd name="T36" fmla="*/ 349 w 349"/>
                <a:gd name="T37" fmla="*/ 1 h 224"/>
                <a:gd name="T38" fmla="*/ 349 w 349"/>
                <a:gd name="T39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49" h="224">
                  <a:moveTo>
                    <a:pt x="349" y="116"/>
                  </a:moveTo>
                  <a:cubicBezTo>
                    <a:pt x="342" y="123"/>
                    <a:pt x="333" y="128"/>
                    <a:pt x="323" y="129"/>
                  </a:cubicBezTo>
                  <a:cubicBezTo>
                    <a:pt x="323" y="207"/>
                    <a:pt x="323" y="207"/>
                    <a:pt x="323" y="207"/>
                  </a:cubicBezTo>
                  <a:cubicBezTo>
                    <a:pt x="349" y="224"/>
                    <a:pt x="349" y="224"/>
                    <a:pt x="349" y="224"/>
                  </a:cubicBezTo>
                  <a:cubicBezTo>
                    <a:pt x="349" y="116"/>
                    <a:pt x="349" y="116"/>
                    <a:pt x="349" y="116"/>
                  </a:cubicBezTo>
                  <a:moveTo>
                    <a:pt x="323" y="70"/>
                  </a:moveTo>
                  <a:cubicBezTo>
                    <a:pt x="323" y="76"/>
                    <a:pt x="323" y="76"/>
                    <a:pt x="323" y="76"/>
                  </a:cubicBezTo>
                  <a:cubicBezTo>
                    <a:pt x="325" y="70"/>
                    <a:pt x="325" y="70"/>
                    <a:pt x="325" y="70"/>
                  </a:cubicBezTo>
                  <a:cubicBezTo>
                    <a:pt x="324" y="70"/>
                    <a:pt x="324" y="70"/>
                    <a:pt x="323" y="70"/>
                  </a:cubicBezTo>
                  <a:moveTo>
                    <a:pt x="34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9" y="19"/>
                    <a:pt x="44" y="22"/>
                    <a:pt x="49" y="27"/>
                  </a:cubicBezTo>
                  <a:cubicBezTo>
                    <a:pt x="232" y="27"/>
                    <a:pt x="232" y="27"/>
                    <a:pt x="232" y="27"/>
                  </a:cubicBezTo>
                  <a:cubicBezTo>
                    <a:pt x="237" y="22"/>
                    <a:pt x="242" y="19"/>
                    <a:pt x="246" y="17"/>
                  </a:cubicBezTo>
                  <a:cubicBezTo>
                    <a:pt x="325" y="3"/>
                    <a:pt x="325" y="3"/>
                    <a:pt x="325" y="3"/>
                  </a:cubicBezTo>
                  <a:cubicBezTo>
                    <a:pt x="330" y="1"/>
                    <a:pt x="335" y="0"/>
                    <a:pt x="340" y="0"/>
                  </a:cubicBezTo>
                  <a:cubicBezTo>
                    <a:pt x="343" y="0"/>
                    <a:pt x="346" y="1"/>
                    <a:pt x="349" y="1"/>
                  </a:cubicBezTo>
                  <a:cubicBezTo>
                    <a:pt x="349" y="0"/>
                    <a:pt x="349" y="0"/>
                    <a:pt x="34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8" name="Freeform 76"/>
            <p:cNvSpPr>
              <a:spLocks/>
            </p:cNvSpPr>
            <p:nvPr/>
          </p:nvSpPr>
          <p:spPr bwMode="auto">
            <a:xfrm>
              <a:off x="4527551" y="3255963"/>
              <a:ext cx="85725" cy="76200"/>
            </a:xfrm>
            <a:custGeom>
              <a:avLst/>
              <a:gdLst>
                <a:gd name="T0" fmla="*/ 49 w 79"/>
                <a:gd name="T1" fmla="*/ 0 h 71"/>
                <a:gd name="T2" fmla="*/ 30 w 79"/>
                <a:gd name="T3" fmla="*/ 14 h 71"/>
                <a:gd name="T4" fmla="*/ 0 w 79"/>
                <a:gd name="T5" fmla="*/ 30 h 71"/>
                <a:gd name="T6" fmla="*/ 0 w 79"/>
                <a:gd name="T7" fmla="*/ 32 h 71"/>
                <a:gd name="T8" fmla="*/ 39 w 79"/>
                <a:gd name="T9" fmla="*/ 71 h 71"/>
                <a:gd name="T10" fmla="*/ 79 w 79"/>
                <a:gd name="T11" fmla="*/ 37 h 71"/>
                <a:gd name="T12" fmla="*/ 54 w 79"/>
                <a:gd name="T13" fmla="*/ 44 h 71"/>
                <a:gd name="T14" fmla="*/ 28 w 79"/>
                <a:gd name="T15" fmla="*/ 37 h 71"/>
                <a:gd name="T16" fmla="*/ 28 w 79"/>
                <a:gd name="T17" fmla="*/ 37 h 71"/>
                <a:gd name="T18" fmla="*/ 49 w 79"/>
                <a:gd name="T19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9" h="71">
                  <a:moveTo>
                    <a:pt x="49" y="0"/>
                  </a:moveTo>
                  <a:cubicBezTo>
                    <a:pt x="44" y="2"/>
                    <a:pt x="39" y="6"/>
                    <a:pt x="30" y="14"/>
                  </a:cubicBezTo>
                  <a:cubicBezTo>
                    <a:pt x="22" y="23"/>
                    <a:pt x="11" y="28"/>
                    <a:pt x="0" y="30"/>
                  </a:cubicBezTo>
                  <a:cubicBezTo>
                    <a:pt x="0" y="30"/>
                    <a:pt x="0" y="31"/>
                    <a:pt x="0" y="32"/>
                  </a:cubicBezTo>
                  <a:cubicBezTo>
                    <a:pt x="0" y="54"/>
                    <a:pt x="18" y="71"/>
                    <a:pt x="39" y="71"/>
                  </a:cubicBezTo>
                  <a:cubicBezTo>
                    <a:pt x="59" y="71"/>
                    <a:pt x="76" y="57"/>
                    <a:pt x="79" y="37"/>
                  </a:cubicBezTo>
                  <a:cubicBezTo>
                    <a:pt x="71" y="42"/>
                    <a:pt x="62" y="44"/>
                    <a:pt x="54" y="44"/>
                  </a:cubicBezTo>
                  <a:cubicBezTo>
                    <a:pt x="45" y="44"/>
                    <a:pt x="36" y="42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49" y="0"/>
                    <a:pt x="49" y="0"/>
                    <a:pt x="4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9" name="Freeform 77"/>
            <p:cNvSpPr>
              <a:spLocks/>
            </p:cNvSpPr>
            <p:nvPr/>
          </p:nvSpPr>
          <p:spPr bwMode="auto">
            <a:xfrm>
              <a:off x="4629151" y="3238500"/>
              <a:ext cx="71438" cy="82550"/>
            </a:xfrm>
            <a:custGeom>
              <a:avLst/>
              <a:gdLst>
                <a:gd name="T0" fmla="*/ 1 w 67"/>
                <a:gd name="T1" fmla="*/ 68 h 77"/>
                <a:gd name="T2" fmla="*/ 0 w 67"/>
                <a:gd name="T3" fmla="*/ 68 h 77"/>
                <a:gd name="T4" fmla="*/ 28 w 67"/>
                <a:gd name="T5" fmla="*/ 0 h 77"/>
                <a:gd name="T6" fmla="*/ 67 w 67"/>
                <a:gd name="T7" fmla="*/ 16 h 77"/>
                <a:gd name="T8" fmla="*/ 55 w 67"/>
                <a:gd name="T9" fmla="*/ 45 h 77"/>
                <a:gd name="T10" fmla="*/ 1 w 67"/>
                <a:gd name="T11" fmla="*/ 68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7" h="77">
                  <a:moveTo>
                    <a:pt x="1" y="68"/>
                  </a:moveTo>
                  <a:cubicBezTo>
                    <a:pt x="0" y="68"/>
                    <a:pt x="0" y="68"/>
                    <a:pt x="0" y="68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55" y="45"/>
                    <a:pt x="55" y="45"/>
                    <a:pt x="55" y="45"/>
                  </a:cubicBezTo>
                  <a:cubicBezTo>
                    <a:pt x="46" y="67"/>
                    <a:pt x="22" y="77"/>
                    <a:pt x="1" y="68"/>
                  </a:cubicBezTo>
                </a:path>
              </a:pathLst>
            </a:custGeom>
            <a:solidFill>
              <a:srgbClr val="AF8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0" name="Freeform 78"/>
            <p:cNvSpPr>
              <a:spLocks/>
            </p:cNvSpPr>
            <p:nvPr/>
          </p:nvSpPr>
          <p:spPr bwMode="auto">
            <a:xfrm>
              <a:off x="4684713" y="3260725"/>
              <a:ext cx="85725" cy="71438"/>
            </a:xfrm>
            <a:custGeom>
              <a:avLst/>
              <a:gdLst>
                <a:gd name="T0" fmla="*/ 0 w 81"/>
                <a:gd name="T1" fmla="*/ 52 h 68"/>
                <a:gd name="T2" fmla="*/ 0 w 81"/>
                <a:gd name="T3" fmla="*/ 52 h 68"/>
                <a:gd name="T4" fmla="*/ 52 w 81"/>
                <a:gd name="T5" fmla="*/ 0 h 68"/>
                <a:gd name="T6" fmla="*/ 81 w 81"/>
                <a:gd name="T7" fmla="*/ 30 h 68"/>
                <a:gd name="T8" fmla="*/ 59 w 81"/>
                <a:gd name="T9" fmla="*/ 52 h 68"/>
                <a:gd name="T10" fmla="*/ 0 w 81"/>
                <a:gd name="T11" fmla="*/ 5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" h="68">
                  <a:moveTo>
                    <a:pt x="0" y="52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81" y="30"/>
                    <a:pt x="81" y="30"/>
                    <a:pt x="81" y="30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43" y="68"/>
                    <a:pt x="16" y="68"/>
                    <a:pt x="0" y="52"/>
                  </a:cubicBezTo>
                </a:path>
              </a:pathLst>
            </a:custGeom>
            <a:solidFill>
              <a:srgbClr val="9B74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1" name="Freeform 79"/>
            <p:cNvSpPr>
              <a:spLocks/>
            </p:cNvSpPr>
            <p:nvPr/>
          </p:nvSpPr>
          <p:spPr bwMode="auto">
            <a:xfrm>
              <a:off x="4557713" y="3211513"/>
              <a:ext cx="96838" cy="98425"/>
            </a:xfrm>
            <a:custGeom>
              <a:avLst/>
              <a:gdLst>
                <a:gd name="T0" fmla="*/ 0 w 90"/>
                <a:gd name="T1" fmla="*/ 79 h 93"/>
                <a:gd name="T2" fmla="*/ 0 w 90"/>
                <a:gd name="T3" fmla="*/ 79 h 93"/>
                <a:gd name="T4" fmla="*/ 45 w 90"/>
                <a:gd name="T5" fmla="*/ 0 h 93"/>
                <a:gd name="T6" fmla="*/ 90 w 90"/>
                <a:gd name="T7" fmla="*/ 25 h 93"/>
                <a:gd name="T8" fmla="*/ 71 w 90"/>
                <a:gd name="T9" fmla="*/ 60 h 93"/>
                <a:gd name="T10" fmla="*/ 0 w 90"/>
                <a:gd name="T11" fmla="*/ 7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0" h="93">
                  <a:moveTo>
                    <a:pt x="0" y="79"/>
                  </a:moveTo>
                  <a:cubicBezTo>
                    <a:pt x="0" y="79"/>
                    <a:pt x="0" y="79"/>
                    <a:pt x="0" y="79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90" y="25"/>
                    <a:pt x="90" y="25"/>
                    <a:pt x="90" y="25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57" y="84"/>
                    <a:pt x="25" y="93"/>
                    <a:pt x="0" y="79"/>
                  </a:cubicBezTo>
                </a:path>
              </a:pathLst>
            </a:custGeom>
            <a:solidFill>
              <a:srgbClr val="C69C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2" name="Freeform 80"/>
            <p:cNvSpPr>
              <a:spLocks/>
            </p:cNvSpPr>
            <p:nvPr/>
          </p:nvSpPr>
          <p:spPr bwMode="auto">
            <a:xfrm>
              <a:off x="4557713" y="3251200"/>
              <a:ext cx="88900" cy="47625"/>
            </a:xfrm>
            <a:custGeom>
              <a:avLst/>
              <a:gdLst>
                <a:gd name="T0" fmla="*/ 75 w 83"/>
                <a:gd name="T1" fmla="*/ 0 h 44"/>
                <a:gd name="T2" fmla="*/ 48 w 83"/>
                <a:gd name="T3" fmla="*/ 1 h 44"/>
                <a:gd name="T4" fmla="*/ 21 w 83"/>
                <a:gd name="T5" fmla="*/ 4 h 44"/>
                <a:gd name="T6" fmla="*/ 0 w 83"/>
                <a:gd name="T7" fmla="*/ 41 h 44"/>
                <a:gd name="T8" fmla="*/ 0 w 83"/>
                <a:gd name="T9" fmla="*/ 41 h 44"/>
                <a:gd name="T10" fmla="*/ 7 w 83"/>
                <a:gd name="T11" fmla="*/ 44 h 44"/>
                <a:gd name="T12" fmla="*/ 17 w 83"/>
                <a:gd name="T13" fmla="*/ 27 h 44"/>
                <a:gd name="T14" fmla="*/ 43 w 83"/>
                <a:gd name="T15" fmla="*/ 10 h 44"/>
                <a:gd name="T16" fmla="*/ 43 w 83"/>
                <a:gd name="T17" fmla="*/ 10 h 44"/>
                <a:gd name="T18" fmla="*/ 44 w 83"/>
                <a:gd name="T19" fmla="*/ 9 h 44"/>
                <a:gd name="T20" fmla="*/ 54 w 83"/>
                <a:gd name="T21" fmla="*/ 9 h 44"/>
                <a:gd name="T22" fmla="*/ 76 w 83"/>
                <a:gd name="T23" fmla="*/ 11 h 44"/>
                <a:gd name="T24" fmla="*/ 83 w 83"/>
                <a:gd name="T25" fmla="*/ 0 h 44"/>
                <a:gd name="T26" fmla="*/ 75 w 83"/>
                <a:gd name="T2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3" h="44">
                  <a:moveTo>
                    <a:pt x="75" y="0"/>
                  </a:moveTo>
                  <a:cubicBezTo>
                    <a:pt x="68" y="0"/>
                    <a:pt x="59" y="0"/>
                    <a:pt x="48" y="1"/>
                  </a:cubicBezTo>
                  <a:cubicBezTo>
                    <a:pt x="32" y="3"/>
                    <a:pt x="27" y="2"/>
                    <a:pt x="21" y="4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3" y="42"/>
                    <a:pt x="5" y="43"/>
                    <a:pt x="7" y="44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22" y="18"/>
                    <a:pt x="32" y="11"/>
                    <a:pt x="43" y="1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7" y="9"/>
                    <a:pt x="51" y="9"/>
                    <a:pt x="54" y="9"/>
                  </a:cubicBezTo>
                  <a:cubicBezTo>
                    <a:pt x="62" y="9"/>
                    <a:pt x="69" y="10"/>
                    <a:pt x="76" y="11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0" y="0"/>
                    <a:pt x="78" y="0"/>
                    <a:pt x="75" y="0"/>
                  </a:cubicBezTo>
                </a:path>
              </a:pathLst>
            </a:custGeom>
            <a:solidFill>
              <a:srgbClr val="B28C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3" name="Freeform 81"/>
            <p:cNvSpPr>
              <a:spLocks/>
            </p:cNvSpPr>
            <p:nvPr/>
          </p:nvSpPr>
          <p:spPr bwMode="auto">
            <a:xfrm>
              <a:off x="4629151" y="3251200"/>
              <a:ext cx="63500" cy="61913"/>
            </a:xfrm>
            <a:custGeom>
              <a:avLst/>
              <a:gdLst>
                <a:gd name="T0" fmla="*/ 23 w 59"/>
                <a:gd name="T1" fmla="*/ 0 h 58"/>
                <a:gd name="T2" fmla="*/ 0 w 59"/>
                <a:gd name="T3" fmla="*/ 56 h 58"/>
                <a:gd name="T4" fmla="*/ 1 w 59"/>
                <a:gd name="T5" fmla="*/ 56 h 58"/>
                <a:gd name="T6" fmla="*/ 6 w 59"/>
                <a:gd name="T7" fmla="*/ 58 h 58"/>
                <a:gd name="T8" fmla="*/ 19 w 59"/>
                <a:gd name="T9" fmla="*/ 27 h 58"/>
                <a:gd name="T10" fmla="*/ 29 w 59"/>
                <a:gd name="T11" fmla="*/ 19 h 58"/>
                <a:gd name="T12" fmla="*/ 35 w 59"/>
                <a:gd name="T13" fmla="*/ 21 h 58"/>
                <a:gd name="T14" fmla="*/ 54 w 59"/>
                <a:gd name="T15" fmla="*/ 35 h 58"/>
                <a:gd name="T16" fmla="*/ 54 w 59"/>
                <a:gd name="T17" fmla="*/ 36 h 58"/>
                <a:gd name="T18" fmla="*/ 55 w 59"/>
                <a:gd name="T19" fmla="*/ 33 h 58"/>
                <a:gd name="T20" fmla="*/ 59 w 59"/>
                <a:gd name="T21" fmla="*/ 24 h 58"/>
                <a:gd name="T22" fmla="*/ 23 w 59"/>
                <a:gd name="T2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58">
                  <a:moveTo>
                    <a:pt x="23" y="0"/>
                  </a:moveTo>
                  <a:cubicBezTo>
                    <a:pt x="0" y="56"/>
                    <a:pt x="0" y="56"/>
                    <a:pt x="0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2" y="57"/>
                    <a:pt x="4" y="57"/>
                    <a:pt x="6" y="5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1" y="22"/>
                    <a:pt x="25" y="19"/>
                    <a:pt x="29" y="19"/>
                  </a:cubicBezTo>
                  <a:cubicBezTo>
                    <a:pt x="31" y="19"/>
                    <a:pt x="34" y="20"/>
                    <a:pt x="35" y="21"/>
                  </a:cubicBezTo>
                  <a:cubicBezTo>
                    <a:pt x="42" y="25"/>
                    <a:pt x="48" y="30"/>
                    <a:pt x="54" y="35"/>
                  </a:cubicBezTo>
                  <a:cubicBezTo>
                    <a:pt x="54" y="36"/>
                    <a:pt x="54" y="36"/>
                    <a:pt x="54" y="36"/>
                  </a:cubicBezTo>
                  <a:cubicBezTo>
                    <a:pt x="54" y="35"/>
                    <a:pt x="55" y="34"/>
                    <a:pt x="55" y="33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48" y="9"/>
                    <a:pt x="38" y="2"/>
                    <a:pt x="23" y="0"/>
                  </a:cubicBezTo>
                </a:path>
              </a:pathLst>
            </a:custGeom>
            <a:solidFill>
              <a:srgbClr val="9D7A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4" name="Freeform 82"/>
            <p:cNvSpPr>
              <a:spLocks/>
            </p:cNvSpPr>
            <p:nvPr/>
          </p:nvSpPr>
          <p:spPr bwMode="auto">
            <a:xfrm>
              <a:off x="4716463" y="3328988"/>
              <a:ext cx="6350" cy="0"/>
            </a:xfrm>
            <a:custGeom>
              <a:avLst/>
              <a:gdLst>
                <a:gd name="T0" fmla="*/ 6 w 6"/>
                <a:gd name="T1" fmla="*/ 0 h 1"/>
                <a:gd name="T2" fmla="*/ 0 w 6"/>
                <a:gd name="T3" fmla="*/ 0 h 1"/>
                <a:gd name="T4" fmla="*/ 2 w 6"/>
                <a:gd name="T5" fmla="*/ 1 h 1"/>
                <a:gd name="T6" fmla="*/ 6 w 6"/>
                <a:gd name="T7" fmla="*/ 0 h 1"/>
                <a:gd name="T8" fmla="*/ 6 w 6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">
                  <a:moveTo>
                    <a:pt x="6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1" y="0"/>
                    <a:pt x="1" y="1"/>
                    <a:pt x="2" y="1"/>
                  </a:cubicBezTo>
                  <a:cubicBezTo>
                    <a:pt x="3" y="1"/>
                    <a:pt x="5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1778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5" name="Freeform 83"/>
            <p:cNvSpPr>
              <a:spLocks/>
            </p:cNvSpPr>
            <p:nvPr/>
          </p:nvSpPr>
          <p:spPr bwMode="auto">
            <a:xfrm>
              <a:off x="4684713" y="3295650"/>
              <a:ext cx="38100" cy="33338"/>
            </a:xfrm>
            <a:custGeom>
              <a:avLst/>
              <a:gdLst>
                <a:gd name="T0" fmla="*/ 18 w 36"/>
                <a:gd name="T1" fmla="*/ 0 h 31"/>
                <a:gd name="T2" fmla="*/ 0 w 36"/>
                <a:gd name="T3" fmla="*/ 19 h 31"/>
                <a:gd name="T4" fmla="*/ 0 w 36"/>
                <a:gd name="T5" fmla="*/ 19 h 31"/>
                <a:gd name="T6" fmla="*/ 4 w 36"/>
                <a:gd name="T7" fmla="*/ 23 h 31"/>
                <a:gd name="T8" fmla="*/ 9 w 36"/>
                <a:gd name="T9" fmla="*/ 18 h 31"/>
                <a:gd name="T10" fmla="*/ 14 w 36"/>
                <a:gd name="T11" fmla="*/ 16 h 31"/>
                <a:gd name="T12" fmla="*/ 19 w 36"/>
                <a:gd name="T13" fmla="*/ 18 h 31"/>
                <a:gd name="T14" fmla="*/ 29 w 36"/>
                <a:gd name="T15" fmla="*/ 31 h 31"/>
                <a:gd name="T16" fmla="*/ 30 w 36"/>
                <a:gd name="T17" fmla="*/ 31 h 31"/>
                <a:gd name="T18" fmla="*/ 36 w 36"/>
                <a:gd name="T19" fmla="*/ 31 h 31"/>
                <a:gd name="T20" fmla="*/ 18 w 36"/>
                <a:gd name="T21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31">
                  <a:moveTo>
                    <a:pt x="18" y="0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1" y="21"/>
                    <a:pt x="3" y="22"/>
                    <a:pt x="4" y="23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10" y="17"/>
                    <a:pt x="12" y="16"/>
                    <a:pt x="14" y="16"/>
                  </a:cubicBezTo>
                  <a:cubicBezTo>
                    <a:pt x="16" y="16"/>
                    <a:pt x="18" y="17"/>
                    <a:pt x="19" y="18"/>
                  </a:cubicBezTo>
                  <a:cubicBezTo>
                    <a:pt x="23" y="23"/>
                    <a:pt x="27" y="27"/>
                    <a:pt x="29" y="31"/>
                  </a:cubicBezTo>
                  <a:cubicBezTo>
                    <a:pt x="29" y="31"/>
                    <a:pt x="30" y="31"/>
                    <a:pt x="30" y="31"/>
                  </a:cubicBezTo>
                  <a:cubicBezTo>
                    <a:pt x="32" y="31"/>
                    <a:pt x="34" y="31"/>
                    <a:pt x="36" y="31"/>
                  </a:cubicBezTo>
                  <a:cubicBezTo>
                    <a:pt x="31" y="22"/>
                    <a:pt x="26" y="12"/>
                    <a:pt x="18" y="0"/>
                  </a:cubicBezTo>
                </a:path>
              </a:pathLst>
            </a:custGeom>
            <a:solidFill>
              <a:srgbClr val="8B68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6" name="Freeform 84"/>
            <p:cNvSpPr>
              <a:spLocks/>
            </p:cNvSpPr>
            <p:nvPr/>
          </p:nvSpPr>
          <p:spPr bwMode="auto">
            <a:xfrm>
              <a:off x="4467226" y="3175000"/>
              <a:ext cx="968375" cy="912813"/>
            </a:xfrm>
            <a:custGeom>
              <a:avLst/>
              <a:gdLst>
                <a:gd name="T0" fmla="*/ 904 w 904"/>
                <a:gd name="T1" fmla="*/ 855 h 858"/>
                <a:gd name="T2" fmla="*/ 506 w 904"/>
                <a:gd name="T3" fmla="*/ 329 h 858"/>
                <a:gd name="T4" fmla="*/ 391 w 904"/>
                <a:gd name="T5" fmla="*/ 134 h 858"/>
                <a:gd name="T6" fmla="*/ 371 w 904"/>
                <a:gd name="T7" fmla="*/ 109 h 858"/>
                <a:gd name="T8" fmla="*/ 338 w 904"/>
                <a:gd name="T9" fmla="*/ 83 h 858"/>
                <a:gd name="T10" fmla="*/ 214 w 904"/>
                <a:gd name="T11" fmla="*/ 10 h 858"/>
                <a:gd name="T12" fmla="*/ 174 w 904"/>
                <a:gd name="T13" fmla="*/ 5 h 858"/>
                <a:gd name="T14" fmla="*/ 95 w 904"/>
                <a:gd name="T15" fmla="*/ 19 h 858"/>
                <a:gd name="T16" fmla="*/ 27 w 904"/>
                <a:gd name="T17" fmla="*/ 83 h 858"/>
                <a:gd name="T18" fmla="*/ 87 w 904"/>
                <a:gd name="T19" fmla="*/ 90 h 858"/>
                <a:gd name="T20" fmla="*/ 133 w 904"/>
                <a:gd name="T21" fmla="*/ 73 h 858"/>
                <a:gd name="T22" fmla="*/ 216 w 904"/>
                <a:gd name="T23" fmla="*/ 104 h 858"/>
                <a:gd name="T24" fmla="*/ 252 w 904"/>
                <a:gd name="T25" fmla="*/ 181 h 858"/>
                <a:gd name="T26" fmla="*/ 253 w 904"/>
                <a:gd name="T27" fmla="*/ 189 h 858"/>
                <a:gd name="T28" fmla="*/ 151 w 904"/>
                <a:gd name="T29" fmla="*/ 335 h 858"/>
                <a:gd name="T30" fmla="*/ 93 w 904"/>
                <a:gd name="T31" fmla="*/ 346 h 858"/>
                <a:gd name="T32" fmla="*/ 1 w 904"/>
                <a:gd name="T33" fmla="*/ 434 h 858"/>
                <a:gd name="T34" fmla="*/ 18 w 904"/>
                <a:gd name="T35" fmla="*/ 446 h 858"/>
                <a:gd name="T36" fmla="*/ 144 w 904"/>
                <a:gd name="T37" fmla="*/ 402 h 858"/>
                <a:gd name="T38" fmla="*/ 252 w 904"/>
                <a:gd name="T39" fmla="*/ 421 h 858"/>
                <a:gd name="T40" fmla="*/ 308 w 904"/>
                <a:gd name="T41" fmla="*/ 444 h 858"/>
                <a:gd name="T42" fmla="*/ 360 w 904"/>
                <a:gd name="T43" fmla="*/ 451 h 858"/>
                <a:gd name="T44" fmla="*/ 413 w 904"/>
                <a:gd name="T45" fmla="*/ 477 h 858"/>
                <a:gd name="T46" fmla="*/ 623 w 904"/>
                <a:gd name="T47" fmla="*/ 858 h 858"/>
                <a:gd name="T48" fmla="*/ 904 w 904"/>
                <a:gd name="T49" fmla="*/ 855 h 8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04" h="858">
                  <a:moveTo>
                    <a:pt x="904" y="855"/>
                  </a:moveTo>
                  <a:cubicBezTo>
                    <a:pt x="506" y="329"/>
                    <a:pt x="506" y="329"/>
                    <a:pt x="506" y="329"/>
                  </a:cubicBezTo>
                  <a:cubicBezTo>
                    <a:pt x="391" y="134"/>
                    <a:pt x="391" y="134"/>
                    <a:pt x="391" y="134"/>
                  </a:cubicBezTo>
                  <a:cubicBezTo>
                    <a:pt x="386" y="125"/>
                    <a:pt x="379" y="116"/>
                    <a:pt x="371" y="109"/>
                  </a:cubicBezTo>
                  <a:cubicBezTo>
                    <a:pt x="361" y="99"/>
                    <a:pt x="350" y="90"/>
                    <a:pt x="338" y="83"/>
                  </a:cubicBezTo>
                  <a:cubicBezTo>
                    <a:pt x="214" y="10"/>
                    <a:pt x="214" y="10"/>
                    <a:pt x="214" y="10"/>
                  </a:cubicBezTo>
                  <a:cubicBezTo>
                    <a:pt x="202" y="2"/>
                    <a:pt x="187" y="0"/>
                    <a:pt x="174" y="5"/>
                  </a:cubicBezTo>
                  <a:cubicBezTo>
                    <a:pt x="95" y="19"/>
                    <a:pt x="95" y="19"/>
                    <a:pt x="95" y="19"/>
                  </a:cubicBezTo>
                  <a:cubicBezTo>
                    <a:pt x="78" y="26"/>
                    <a:pt x="35" y="73"/>
                    <a:pt x="27" y="83"/>
                  </a:cubicBezTo>
                  <a:cubicBezTo>
                    <a:pt x="2" y="108"/>
                    <a:pt x="62" y="118"/>
                    <a:pt x="87" y="90"/>
                  </a:cubicBezTo>
                  <a:cubicBezTo>
                    <a:pt x="110" y="70"/>
                    <a:pt x="106" y="77"/>
                    <a:pt x="133" y="73"/>
                  </a:cubicBezTo>
                  <a:cubicBezTo>
                    <a:pt x="180" y="70"/>
                    <a:pt x="194" y="70"/>
                    <a:pt x="216" y="104"/>
                  </a:cubicBezTo>
                  <a:cubicBezTo>
                    <a:pt x="237" y="138"/>
                    <a:pt x="246" y="154"/>
                    <a:pt x="252" y="181"/>
                  </a:cubicBezTo>
                  <a:cubicBezTo>
                    <a:pt x="252" y="184"/>
                    <a:pt x="253" y="186"/>
                    <a:pt x="253" y="189"/>
                  </a:cubicBezTo>
                  <a:cubicBezTo>
                    <a:pt x="265" y="257"/>
                    <a:pt x="219" y="322"/>
                    <a:pt x="151" y="335"/>
                  </a:cubicBezTo>
                  <a:cubicBezTo>
                    <a:pt x="93" y="346"/>
                    <a:pt x="93" y="346"/>
                    <a:pt x="93" y="346"/>
                  </a:cubicBezTo>
                  <a:cubicBezTo>
                    <a:pt x="18" y="370"/>
                    <a:pt x="3" y="410"/>
                    <a:pt x="1" y="434"/>
                  </a:cubicBezTo>
                  <a:cubicBezTo>
                    <a:pt x="0" y="443"/>
                    <a:pt x="10" y="450"/>
                    <a:pt x="18" y="446"/>
                  </a:cubicBezTo>
                  <a:cubicBezTo>
                    <a:pt x="62" y="424"/>
                    <a:pt x="104" y="410"/>
                    <a:pt x="144" y="402"/>
                  </a:cubicBezTo>
                  <a:cubicBezTo>
                    <a:pt x="181" y="395"/>
                    <a:pt x="220" y="402"/>
                    <a:pt x="252" y="421"/>
                  </a:cubicBezTo>
                  <a:cubicBezTo>
                    <a:pt x="268" y="431"/>
                    <a:pt x="287" y="439"/>
                    <a:pt x="308" y="444"/>
                  </a:cubicBezTo>
                  <a:cubicBezTo>
                    <a:pt x="326" y="449"/>
                    <a:pt x="344" y="451"/>
                    <a:pt x="360" y="451"/>
                  </a:cubicBezTo>
                  <a:cubicBezTo>
                    <a:pt x="381" y="452"/>
                    <a:pt x="400" y="461"/>
                    <a:pt x="413" y="477"/>
                  </a:cubicBezTo>
                  <a:cubicBezTo>
                    <a:pt x="508" y="600"/>
                    <a:pt x="623" y="858"/>
                    <a:pt x="623" y="858"/>
                  </a:cubicBezTo>
                  <a:cubicBezTo>
                    <a:pt x="904" y="855"/>
                    <a:pt x="904" y="855"/>
                    <a:pt x="904" y="855"/>
                  </a:cubicBezTo>
                </a:path>
              </a:pathLst>
            </a:custGeom>
            <a:solidFill>
              <a:srgbClr val="D8B0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7" name="Freeform 85"/>
            <p:cNvSpPr>
              <a:spLocks noEditPoints="1"/>
            </p:cNvSpPr>
            <p:nvPr/>
          </p:nvSpPr>
          <p:spPr bwMode="auto">
            <a:xfrm>
              <a:off x="4859338" y="3656013"/>
              <a:ext cx="50800" cy="28575"/>
            </a:xfrm>
            <a:custGeom>
              <a:avLst/>
              <a:gdLst>
                <a:gd name="T0" fmla="*/ 48 w 48"/>
                <a:gd name="T1" fmla="*/ 26 h 27"/>
                <a:gd name="T2" fmla="*/ 48 w 48"/>
                <a:gd name="T3" fmla="*/ 27 h 27"/>
                <a:gd name="T4" fmla="*/ 48 w 48"/>
                <a:gd name="T5" fmla="*/ 27 h 27"/>
                <a:gd name="T6" fmla="*/ 48 w 48"/>
                <a:gd name="T7" fmla="*/ 26 h 27"/>
                <a:gd name="T8" fmla="*/ 0 w 48"/>
                <a:gd name="T9" fmla="*/ 0 h 27"/>
                <a:gd name="T10" fmla="*/ 0 w 48"/>
                <a:gd name="T11" fmla="*/ 0 h 27"/>
                <a:gd name="T12" fmla="*/ 0 w 48"/>
                <a:gd name="T13" fmla="*/ 0 h 27"/>
                <a:gd name="T14" fmla="*/ 0 w 48"/>
                <a:gd name="T15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27">
                  <a:moveTo>
                    <a:pt x="48" y="26"/>
                  </a:move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6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6C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8" name="Freeform 86"/>
            <p:cNvSpPr>
              <a:spLocks/>
            </p:cNvSpPr>
            <p:nvPr/>
          </p:nvSpPr>
          <p:spPr bwMode="auto">
            <a:xfrm>
              <a:off x="4859338" y="3625850"/>
              <a:ext cx="103188" cy="58738"/>
            </a:xfrm>
            <a:custGeom>
              <a:avLst/>
              <a:gdLst>
                <a:gd name="T0" fmla="*/ 97 w 97"/>
                <a:gd name="T1" fmla="*/ 0 h 55"/>
                <a:gd name="T2" fmla="*/ 0 w 97"/>
                <a:gd name="T3" fmla="*/ 28 h 55"/>
                <a:gd name="T4" fmla="*/ 0 w 97"/>
                <a:gd name="T5" fmla="*/ 28 h 55"/>
                <a:gd name="T6" fmla="*/ 48 w 97"/>
                <a:gd name="T7" fmla="*/ 54 h 55"/>
                <a:gd name="T8" fmla="*/ 48 w 97"/>
                <a:gd name="T9" fmla="*/ 55 h 55"/>
                <a:gd name="T10" fmla="*/ 97 w 97"/>
                <a:gd name="T11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7" h="55">
                  <a:moveTo>
                    <a:pt x="97" y="0"/>
                  </a:moveTo>
                  <a:cubicBezTo>
                    <a:pt x="76" y="19"/>
                    <a:pt x="48" y="23"/>
                    <a:pt x="0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32" y="30"/>
                    <a:pt x="47" y="54"/>
                    <a:pt x="48" y="54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80" y="38"/>
                    <a:pt x="97" y="0"/>
                    <a:pt x="97" y="0"/>
                  </a:cubicBezTo>
                </a:path>
              </a:pathLst>
            </a:custGeom>
            <a:solidFill>
              <a:srgbClr val="C29E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9" name="Freeform 87"/>
            <p:cNvSpPr>
              <a:spLocks/>
            </p:cNvSpPr>
            <p:nvPr/>
          </p:nvSpPr>
          <p:spPr bwMode="auto">
            <a:xfrm>
              <a:off x="5075238" y="3868738"/>
              <a:ext cx="230188" cy="138113"/>
            </a:xfrm>
            <a:custGeom>
              <a:avLst/>
              <a:gdLst>
                <a:gd name="T0" fmla="*/ 215 w 215"/>
                <a:gd name="T1" fmla="*/ 27 h 130"/>
                <a:gd name="T2" fmla="*/ 162 w 215"/>
                <a:gd name="T3" fmla="*/ 9 h 130"/>
                <a:gd name="T4" fmla="*/ 144 w 215"/>
                <a:gd name="T5" fmla="*/ 29 h 130"/>
                <a:gd name="T6" fmla="*/ 117 w 215"/>
                <a:gd name="T7" fmla="*/ 32 h 130"/>
                <a:gd name="T8" fmla="*/ 99 w 215"/>
                <a:gd name="T9" fmla="*/ 51 h 130"/>
                <a:gd name="T10" fmla="*/ 72 w 215"/>
                <a:gd name="T11" fmla="*/ 54 h 130"/>
                <a:gd name="T12" fmla="*/ 54 w 215"/>
                <a:gd name="T13" fmla="*/ 74 h 130"/>
                <a:gd name="T14" fmla="*/ 27 w 215"/>
                <a:gd name="T15" fmla="*/ 77 h 130"/>
                <a:gd name="T16" fmla="*/ 10 w 215"/>
                <a:gd name="T17" fmla="*/ 130 h 130"/>
                <a:gd name="T18" fmla="*/ 215 w 215"/>
                <a:gd name="T19" fmla="*/ 27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5" h="130">
                  <a:moveTo>
                    <a:pt x="215" y="27"/>
                  </a:moveTo>
                  <a:cubicBezTo>
                    <a:pt x="205" y="7"/>
                    <a:pt x="182" y="0"/>
                    <a:pt x="162" y="9"/>
                  </a:cubicBezTo>
                  <a:cubicBezTo>
                    <a:pt x="154" y="14"/>
                    <a:pt x="147" y="21"/>
                    <a:pt x="144" y="29"/>
                  </a:cubicBezTo>
                  <a:cubicBezTo>
                    <a:pt x="135" y="27"/>
                    <a:pt x="126" y="28"/>
                    <a:pt x="117" y="32"/>
                  </a:cubicBezTo>
                  <a:cubicBezTo>
                    <a:pt x="109" y="36"/>
                    <a:pt x="102" y="43"/>
                    <a:pt x="99" y="51"/>
                  </a:cubicBezTo>
                  <a:cubicBezTo>
                    <a:pt x="90" y="49"/>
                    <a:pt x="81" y="50"/>
                    <a:pt x="72" y="54"/>
                  </a:cubicBezTo>
                  <a:cubicBezTo>
                    <a:pt x="64" y="59"/>
                    <a:pt x="57" y="66"/>
                    <a:pt x="54" y="74"/>
                  </a:cubicBezTo>
                  <a:cubicBezTo>
                    <a:pt x="45" y="72"/>
                    <a:pt x="36" y="73"/>
                    <a:pt x="27" y="77"/>
                  </a:cubicBezTo>
                  <a:cubicBezTo>
                    <a:pt x="8" y="87"/>
                    <a:pt x="0" y="111"/>
                    <a:pt x="10" y="130"/>
                  </a:cubicBezTo>
                  <a:cubicBezTo>
                    <a:pt x="215" y="27"/>
                    <a:pt x="215" y="27"/>
                    <a:pt x="215" y="2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0" name="Freeform 88"/>
            <p:cNvSpPr>
              <a:spLocks/>
            </p:cNvSpPr>
            <p:nvPr/>
          </p:nvSpPr>
          <p:spPr bwMode="auto">
            <a:xfrm>
              <a:off x="4210051" y="3238500"/>
              <a:ext cx="73025" cy="82550"/>
            </a:xfrm>
            <a:custGeom>
              <a:avLst/>
              <a:gdLst>
                <a:gd name="T0" fmla="*/ 66 w 67"/>
                <a:gd name="T1" fmla="*/ 68 h 77"/>
                <a:gd name="T2" fmla="*/ 67 w 67"/>
                <a:gd name="T3" fmla="*/ 68 h 77"/>
                <a:gd name="T4" fmla="*/ 39 w 67"/>
                <a:gd name="T5" fmla="*/ 0 h 77"/>
                <a:gd name="T6" fmla="*/ 0 w 67"/>
                <a:gd name="T7" fmla="*/ 16 h 77"/>
                <a:gd name="T8" fmla="*/ 12 w 67"/>
                <a:gd name="T9" fmla="*/ 45 h 77"/>
                <a:gd name="T10" fmla="*/ 66 w 67"/>
                <a:gd name="T11" fmla="*/ 68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7" h="77">
                  <a:moveTo>
                    <a:pt x="66" y="68"/>
                  </a:moveTo>
                  <a:cubicBezTo>
                    <a:pt x="67" y="68"/>
                    <a:pt x="67" y="68"/>
                    <a:pt x="67" y="68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21" y="67"/>
                    <a:pt x="45" y="77"/>
                    <a:pt x="66" y="68"/>
                  </a:cubicBezTo>
                </a:path>
              </a:pathLst>
            </a:custGeom>
            <a:solidFill>
              <a:srgbClr val="AF8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1" name="Freeform 89"/>
            <p:cNvSpPr>
              <a:spLocks/>
            </p:cNvSpPr>
            <p:nvPr/>
          </p:nvSpPr>
          <p:spPr bwMode="auto">
            <a:xfrm>
              <a:off x="4140201" y="3260725"/>
              <a:ext cx="87313" cy="71438"/>
            </a:xfrm>
            <a:custGeom>
              <a:avLst/>
              <a:gdLst>
                <a:gd name="T0" fmla="*/ 81 w 81"/>
                <a:gd name="T1" fmla="*/ 52 h 68"/>
                <a:gd name="T2" fmla="*/ 81 w 81"/>
                <a:gd name="T3" fmla="*/ 52 h 68"/>
                <a:gd name="T4" fmla="*/ 30 w 81"/>
                <a:gd name="T5" fmla="*/ 0 h 68"/>
                <a:gd name="T6" fmla="*/ 0 w 81"/>
                <a:gd name="T7" fmla="*/ 30 h 68"/>
                <a:gd name="T8" fmla="*/ 22 w 81"/>
                <a:gd name="T9" fmla="*/ 52 h 68"/>
                <a:gd name="T10" fmla="*/ 81 w 81"/>
                <a:gd name="T11" fmla="*/ 5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" h="68">
                  <a:moveTo>
                    <a:pt x="81" y="52"/>
                  </a:moveTo>
                  <a:cubicBezTo>
                    <a:pt x="81" y="52"/>
                    <a:pt x="81" y="52"/>
                    <a:pt x="81" y="52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2" y="52"/>
                    <a:pt x="22" y="52"/>
                    <a:pt x="22" y="52"/>
                  </a:cubicBezTo>
                  <a:cubicBezTo>
                    <a:pt x="39" y="68"/>
                    <a:pt x="65" y="68"/>
                    <a:pt x="81" y="52"/>
                  </a:cubicBezTo>
                </a:path>
              </a:pathLst>
            </a:custGeom>
            <a:solidFill>
              <a:srgbClr val="9B74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2" name="Freeform 90"/>
            <p:cNvSpPr>
              <a:spLocks/>
            </p:cNvSpPr>
            <p:nvPr/>
          </p:nvSpPr>
          <p:spPr bwMode="auto">
            <a:xfrm>
              <a:off x="4256088" y="3211513"/>
              <a:ext cx="96838" cy="98425"/>
            </a:xfrm>
            <a:custGeom>
              <a:avLst/>
              <a:gdLst>
                <a:gd name="T0" fmla="*/ 90 w 90"/>
                <a:gd name="T1" fmla="*/ 79 h 93"/>
                <a:gd name="T2" fmla="*/ 90 w 90"/>
                <a:gd name="T3" fmla="*/ 79 h 93"/>
                <a:gd name="T4" fmla="*/ 45 w 90"/>
                <a:gd name="T5" fmla="*/ 0 h 93"/>
                <a:gd name="T6" fmla="*/ 0 w 90"/>
                <a:gd name="T7" fmla="*/ 25 h 93"/>
                <a:gd name="T8" fmla="*/ 20 w 90"/>
                <a:gd name="T9" fmla="*/ 60 h 93"/>
                <a:gd name="T10" fmla="*/ 90 w 90"/>
                <a:gd name="T11" fmla="*/ 7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0" h="93">
                  <a:moveTo>
                    <a:pt x="90" y="79"/>
                  </a:moveTo>
                  <a:cubicBezTo>
                    <a:pt x="90" y="79"/>
                    <a:pt x="90" y="79"/>
                    <a:pt x="90" y="79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34" y="84"/>
                    <a:pt x="65" y="93"/>
                    <a:pt x="90" y="79"/>
                  </a:cubicBezTo>
                </a:path>
              </a:pathLst>
            </a:custGeom>
            <a:solidFill>
              <a:srgbClr val="C69C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3" name="Freeform 91"/>
            <p:cNvSpPr>
              <a:spLocks/>
            </p:cNvSpPr>
            <p:nvPr/>
          </p:nvSpPr>
          <p:spPr bwMode="auto">
            <a:xfrm>
              <a:off x="4264026" y="3251200"/>
              <a:ext cx="88900" cy="47625"/>
            </a:xfrm>
            <a:custGeom>
              <a:avLst/>
              <a:gdLst>
                <a:gd name="T0" fmla="*/ 8 w 83"/>
                <a:gd name="T1" fmla="*/ 0 h 44"/>
                <a:gd name="T2" fmla="*/ 0 w 83"/>
                <a:gd name="T3" fmla="*/ 0 h 44"/>
                <a:gd name="T4" fmla="*/ 7 w 83"/>
                <a:gd name="T5" fmla="*/ 11 h 44"/>
                <a:gd name="T6" fmla="*/ 29 w 83"/>
                <a:gd name="T7" fmla="*/ 9 h 44"/>
                <a:gd name="T8" fmla="*/ 40 w 83"/>
                <a:gd name="T9" fmla="*/ 9 h 44"/>
                <a:gd name="T10" fmla="*/ 40 w 83"/>
                <a:gd name="T11" fmla="*/ 10 h 44"/>
                <a:gd name="T12" fmla="*/ 41 w 83"/>
                <a:gd name="T13" fmla="*/ 10 h 44"/>
                <a:gd name="T14" fmla="*/ 67 w 83"/>
                <a:gd name="T15" fmla="*/ 27 h 44"/>
                <a:gd name="T16" fmla="*/ 76 w 83"/>
                <a:gd name="T17" fmla="*/ 44 h 44"/>
                <a:gd name="T18" fmla="*/ 83 w 83"/>
                <a:gd name="T19" fmla="*/ 41 h 44"/>
                <a:gd name="T20" fmla="*/ 83 w 83"/>
                <a:gd name="T21" fmla="*/ 41 h 44"/>
                <a:gd name="T22" fmla="*/ 62 w 83"/>
                <a:gd name="T23" fmla="*/ 4 h 44"/>
                <a:gd name="T24" fmla="*/ 35 w 83"/>
                <a:gd name="T25" fmla="*/ 1 h 44"/>
                <a:gd name="T26" fmla="*/ 8 w 83"/>
                <a:gd name="T2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3" h="44">
                  <a:moveTo>
                    <a:pt x="8" y="0"/>
                  </a:moveTo>
                  <a:cubicBezTo>
                    <a:pt x="5" y="0"/>
                    <a:pt x="3" y="0"/>
                    <a:pt x="0" y="0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4" y="10"/>
                    <a:pt x="21" y="9"/>
                    <a:pt x="29" y="9"/>
                  </a:cubicBezTo>
                  <a:cubicBezTo>
                    <a:pt x="32" y="9"/>
                    <a:pt x="36" y="9"/>
                    <a:pt x="40" y="9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51" y="11"/>
                    <a:pt x="61" y="18"/>
                    <a:pt x="67" y="27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8" y="43"/>
                    <a:pt x="81" y="42"/>
                    <a:pt x="83" y="41"/>
                  </a:cubicBezTo>
                  <a:cubicBezTo>
                    <a:pt x="83" y="41"/>
                    <a:pt x="83" y="41"/>
                    <a:pt x="83" y="41"/>
                  </a:cubicBezTo>
                  <a:cubicBezTo>
                    <a:pt x="62" y="4"/>
                    <a:pt x="62" y="4"/>
                    <a:pt x="62" y="4"/>
                  </a:cubicBezTo>
                  <a:cubicBezTo>
                    <a:pt x="56" y="2"/>
                    <a:pt x="51" y="3"/>
                    <a:pt x="35" y="1"/>
                  </a:cubicBezTo>
                  <a:cubicBezTo>
                    <a:pt x="24" y="0"/>
                    <a:pt x="15" y="0"/>
                    <a:pt x="8" y="0"/>
                  </a:cubicBezTo>
                </a:path>
              </a:pathLst>
            </a:custGeom>
            <a:solidFill>
              <a:srgbClr val="B28C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4" name="Freeform 92"/>
            <p:cNvSpPr>
              <a:spLocks/>
            </p:cNvSpPr>
            <p:nvPr/>
          </p:nvSpPr>
          <p:spPr bwMode="auto">
            <a:xfrm>
              <a:off x="4219576" y="3251200"/>
              <a:ext cx="63500" cy="61913"/>
            </a:xfrm>
            <a:custGeom>
              <a:avLst/>
              <a:gdLst>
                <a:gd name="T0" fmla="*/ 36 w 59"/>
                <a:gd name="T1" fmla="*/ 0 h 58"/>
                <a:gd name="T2" fmla="*/ 0 w 59"/>
                <a:gd name="T3" fmla="*/ 24 h 58"/>
                <a:gd name="T4" fmla="*/ 4 w 59"/>
                <a:gd name="T5" fmla="*/ 33 h 58"/>
                <a:gd name="T6" fmla="*/ 5 w 59"/>
                <a:gd name="T7" fmla="*/ 36 h 58"/>
                <a:gd name="T8" fmla="*/ 6 w 59"/>
                <a:gd name="T9" fmla="*/ 35 h 58"/>
                <a:gd name="T10" fmla="*/ 24 w 59"/>
                <a:gd name="T11" fmla="*/ 21 h 58"/>
                <a:gd name="T12" fmla="*/ 30 w 59"/>
                <a:gd name="T13" fmla="*/ 19 h 58"/>
                <a:gd name="T14" fmla="*/ 40 w 59"/>
                <a:gd name="T15" fmla="*/ 27 h 58"/>
                <a:gd name="T16" fmla="*/ 53 w 59"/>
                <a:gd name="T17" fmla="*/ 58 h 58"/>
                <a:gd name="T18" fmla="*/ 58 w 59"/>
                <a:gd name="T19" fmla="*/ 56 h 58"/>
                <a:gd name="T20" fmla="*/ 58 w 59"/>
                <a:gd name="T21" fmla="*/ 56 h 58"/>
                <a:gd name="T22" fmla="*/ 58 w 59"/>
                <a:gd name="T23" fmla="*/ 56 h 58"/>
                <a:gd name="T24" fmla="*/ 59 w 59"/>
                <a:gd name="T25" fmla="*/ 56 h 58"/>
                <a:gd name="T26" fmla="*/ 36 w 59"/>
                <a:gd name="T27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9" h="58">
                  <a:moveTo>
                    <a:pt x="36" y="0"/>
                  </a:moveTo>
                  <a:cubicBezTo>
                    <a:pt x="21" y="2"/>
                    <a:pt x="11" y="9"/>
                    <a:pt x="0" y="24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4"/>
                    <a:pt x="5" y="35"/>
                    <a:pt x="5" y="36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11" y="30"/>
                    <a:pt x="17" y="25"/>
                    <a:pt x="24" y="21"/>
                  </a:cubicBezTo>
                  <a:cubicBezTo>
                    <a:pt x="26" y="20"/>
                    <a:pt x="28" y="19"/>
                    <a:pt x="30" y="19"/>
                  </a:cubicBezTo>
                  <a:cubicBezTo>
                    <a:pt x="34" y="19"/>
                    <a:pt x="39" y="22"/>
                    <a:pt x="40" y="27"/>
                  </a:cubicBezTo>
                  <a:cubicBezTo>
                    <a:pt x="53" y="58"/>
                    <a:pt x="53" y="58"/>
                    <a:pt x="53" y="58"/>
                  </a:cubicBezTo>
                  <a:cubicBezTo>
                    <a:pt x="55" y="57"/>
                    <a:pt x="57" y="57"/>
                    <a:pt x="58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9" y="56"/>
                    <a:pt x="59" y="56"/>
                    <a:pt x="59" y="56"/>
                  </a:cubicBezTo>
                  <a:cubicBezTo>
                    <a:pt x="36" y="0"/>
                    <a:pt x="36" y="0"/>
                    <a:pt x="36" y="0"/>
                  </a:cubicBezTo>
                </a:path>
              </a:pathLst>
            </a:custGeom>
            <a:solidFill>
              <a:srgbClr val="9D7A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5" name="Freeform 93"/>
            <p:cNvSpPr>
              <a:spLocks noEditPoints="1"/>
            </p:cNvSpPr>
            <p:nvPr/>
          </p:nvSpPr>
          <p:spPr bwMode="auto">
            <a:xfrm>
              <a:off x="4187826" y="3295650"/>
              <a:ext cx="39688" cy="33338"/>
            </a:xfrm>
            <a:custGeom>
              <a:avLst/>
              <a:gdLst>
                <a:gd name="T0" fmla="*/ 0 w 36"/>
                <a:gd name="T1" fmla="*/ 31 h 32"/>
                <a:gd name="T2" fmla="*/ 0 w 36"/>
                <a:gd name="T3" fmla="*/ 31 h 32"/>
                <a:gd name="T4" fmla="*/ 4 w 36"/>
                <a:gd name="T5" fmla="*/ 32 h 32"/>
                <a:gd name="T6" fmla="*/ 6 w 36"/>
                <a:gd name="T7" fmla="*/ 31 h 32"/>
                <a:gd name="T8" fmla="*/ 0 w 36"/>
                <a:gd name="T9" fmla="*/ 31 h 32"/>
                <a:gd name="T10" fmla="*/ 18 w 36"/>
                <a:gd name="T11" fmla="*/ 0 h 32"/>
                <a:gd name="T12" fmla="*/ 18 w 36"/>
                <a:gd name="T13" fmla="*/ 0 h 32"/>
                <a:gd name="T14" fmla="*/ 36 w 36"/>
                <a:gd name="T15" fmla="*/ 19 h 32"/>
                <a:gd name="T16" fmla="*/ 18 w 36"/>
                <a:gd name="T1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32">
                  <a:moveTo>
                    <a:pt x="0" y="31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1" y="31"/>
                    <a:pt x="3" y="32"/>
                    <a:pt x="4" y="32"/>
                  </a:cubicBezTo>
                  <a:cubicBezTo>
                    <a:pt x="5" y="32"/>
                    <a:pt x="5" y="31"/>
                    <a:pt x="6" y="31"/>
                  </a:cubicBezTo>
                  <a:cubicBezTo>
                    <a:pt x="4" y="31"/>
                    <a:pt x="2" y="31"/>
                    <a:pt x="0" y="31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18" y="0"/>
                    <a:pt x="18" y="0"/>
                    <a:pt x="18" y="0"/>
                  </a:cubicBezTo>
                </a:path>
              </a:pathLst>
            </a:custGeom>
            <a:solidFill>
              <a:srgbClr val="006C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6" name="Freeform 94"/>
            <p:cNvSpPr>
              <a:spLocks/>
            </p:cNvSpPr>
            <p:nvPr/>
          </p:nvSpPr>
          <p:spPr bwMode="auto">
            <a:xfrm>
              <a:off x="4187826" y="3295650"/>
              <a:ext cx="39688" cy="33338"/>
            </a:xfrm>
            <a:custGeom>
              <a:avLst/>
              <a:gdLst>
                <a:gd name="T0" fmla="*/ 18 w 36"/>
                <a:gd name="T1" fmla="*/ 0 h 31"/>
                <a:gd name="T2" fmla="*/ 0 w 36"/>
                <a:gd name="T3" fmla="*/ 31 h 31"/>
                <a:gd name="T4" fmla="*/ 6 w 36"/>
                <a:gd name="T5" fmla="*/ 31 h 31"/>
                <a:gd name="T6" fmla="*/ 7 w 36"/>
                <a:gd name="T7" fmla="*/ 31 h 31"/>
                <a:gd name="T8" fmla="*/ 17 w 36"/>
                <a:gd name="T9" fmla="*/ 18 h 31"/>
                <a:gd name="T10" fmla="*/ 22 w 36"/>
                <a:gd name="T11" fmla="*/ 16 h 31"/>
                <a:gd name="T12" fmla="*/ 27 w 36"/>
                <a:gd name="T13" fmla="*/ 18 h 31"/>
                <a:gd name="T14" fmla="*/ 32 w 36"/>
                <a:gd name="T15" fmla="*/ 23 h 31"/>
                <a:gd name="T16" fmla="*/ 36 w 36"/>
                <a:gd name="T17" fmla="*/ 19 h 31"/>
                <a:gd name="T18" fmla="*/ 36 w 36"/>
                <a:gd name="T19" fmla="*/ 19 h 31"/>
                <a:gd name="T20" fmla="*/ 18 w 36"/>
                <a:gd name="T21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31">
                  <a:moveTo>
                    <a:pt x="18" y="0"/>
                  </a:moveTo>
                  <a:cubicBezTo>
                    <a:pt x="10" y="12"/>
                    <a:pt x="5" y="22"/>
                    <a:pt x="0" y="31"/>
                  </a:cubicBezTo>
                  <a:cubicBezTo>
                    <a:pt x="2" y="31"/>
                    <a:pt x="4" y="31"/>
                    <a:pt x="6" y="31"/>
                  </a:cubicBezTo>
                  <a:cubicBezTo>
                    <a:pt x="6" y="31"/>
                    <a:pt x="7" y="31"/>
                    <a:pt x="7" y="31"/>
                  </a:cubicBezTo>
                  <a:cubicBezTo>
                    <a:pt x="9" y="27"/>
                    <a:pt x="13" y="23"/>
                    <a:pt x="17" y="18"/>
                  </a:cubicBezTo>
                  <a:cubicBezTo>
                    <a:pt x="18" y="17"/>
                    <a:pt x="20" y="16"/>
                    <a:pt x="22" y="16"/>
                  </a:cubicBezTo>
                  <a:cubicBezTo>
                    <a:pt x="24" y="16"/>
                    <a:pt x="26" y="17"/>
                    <a:pt x="27" y="18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3" y="22"/>
                    <a:pt x="35" y="21"/>
                    <a:pt x="36" y="19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18" y="0"/>
                    <a:pt x="18" y="0"/>
                    <a:pt x="18" y="0"/>
                  </a:cubicBezTo>
                </a:path>
              </a:pathLst>
            </a:custGeom>
            <a:solidFill>
              <a:srgbClr val="8B68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7" name="Freeform 95"/>
            <p:cNvSpPr>
              <a:spLocks/>
            </p:cNvSpPr>
            <p:nvPr/>
          </p:nvSpPr>
          <p:spPr bwMode="auto">
            <a:xfrm>
              <a:off x="3475038" y="3175000"/>
              <a:ext cx="969963" cy="912813"/>
            </a:xfrm>
            <a:custGeom>
              <a:avLst/>
              <a:gdLst>
                <a:gd name="T0" fmla="*/ 0 w 904"/>
                <a:gd name="T1" fmla="*/ 855 h 858"/>
                <a:gd name="T2" fmla="*/ 398 w 904"/>
                <a:gd name="T3" fmla="*/ 329 h 858"/>
                <a:gd name="T4" fmla="*/ 513 w 904"/>
                <a:gd name="T5" fmla="*/ 134 h 858"/>
                <a:gd name="T6" fmla="*/ 533 w 904"/>
                <a:gd name="T7" fmla="*/ 109 h 858"/>
                <a:gd name="T8" fmla="*/ 566 w 904"/>
                <a:gd name="T9" fmla="*/ 83 h 858"/>
                <a:gd name="T10" fmla="*/ 690 w 904"/>
                <a:gd name="T11" fmla="*/ 10 h 858"/>
                <a:gd name="T12" fmla="*/ 730 w 904"/>
                <a:gd name="T13" fmla="*/ 5 h 858"/>
                <a:gd name="T14" fmla="*/ 809 w 904"/>
                <a:gd name="T15" fmla="*/ 19 h 858"/>
                <a:gd name="T16" fmla="*/ 877 w 904"/>
                <a:gd name="T17" fmla="*/ 83 h 858"/>
                <a:gd name="T18" fmla="*/ 817 w 904"/>
                <a:gd name="T19" fmla="*/ 90 h 858"/>
                <a:gd name="T20" fmla="*/ 771 w 904"/>
                <a:gd name="T21" fmla="*/ 73 h 858"/>
                <a:gd name="T22" fmla="*/ 688 w 904"/>
                <a:gd name="T23" fmla="*/ 104 h 858"/>
                <a:gd name="T24" fmla="*/ 652 w 904"/>
                <a:gd name="T25" fmla="*/ 181 h 858"/>
                <a:gd name="T26" fmla="*/ 651 w 904"/>
                <a:gd name="T27" fmla="*/ 189 h 858"/>
                <a:gd name="T28" fmla="*/ 753 w 904"/>
                <a:gd name="T29" fmla="*/ 335 h 858"/>
                <a:gd name="T30" fmla="*/ 811 w 904"/>
                <a:gd name="T31" fmla="*/ 346 h 858"/>
                <a:gd name="T32" fmla="*/ 903 w 904"/>
                <a:gd name="T33" fmla="*/ 434 h 858"/>
                <a:gd name="T34" fmla="*/ 886 w 904"/>
                <a:gd name="T35" fmla="*/ 446 h 858"/>
                <a:gd name="T36" fmla="*/ 760 w 904"/>
                <a:gd name="T37" fmla="*/ 402 h 858"/>
                <a:gd name="T38" fmla="*/ 652 w 904"/>
                <a:gd name="T39" fmla="*/ 421 h 858"/>
                <a:gd name="T40" fmla="*/ 596 w 904"/>
                <a:gd name="T41" fmla="*/ 444 h 858"/>
                <a:gd name="T42" fmla="*/ 544 w 904"/>
                <a:gd name="T43" fmla="*/ 451 h 858"/>
                <a:gd name="T44" fmla="*/ 492 w 904"/>
                <a:gd name="T45" fmla="*/ 477 h 858"/>
                <a:gd name="T46" fmla="*/ 281 w 904"/>
                <a:gd name="T47" fmla="*/ 858 h 858"/>
                <a:gd name="T48" fmla="*/ 0 w 904"/>
                <a:gd name="T49" fmla="*/ 855 h 8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04" h="858">
                  <a:moveTo>
                    <a:pt x="0" y="855"/>
                  </a:moveTo>
                  <a:cubicBezTo>
                    <a:pt x="398" y="329"/>
                    <a:pt x="398" y="329"/>
                    <a:pt x="398" y="329"/>
                  </a:cubicBezTo>
                  <a:cubicBezTo>
                    <a:pt x="513" y="134"/>
                    <a:pt x="513" y="134"/>
                    <a:pt x="513" y="134"/>
                  </a:cubicBezTo>
                  <a:cubicBezTo>
                    <a:pt x="518" y="125"/>
                    <a:pt x="525" y="116"/>
                    <a:pt x="533" y="109"/>
                  </a:cubicBezTo>
                  <a:cubicBezTo>
                    <a:pt x="543" y="99"/>
                    <a:pt x="554" y="90"/>
                    <a:pt x="566" y="83"/>
                  </a:cubicBezTo>
                  <a:cubicBezTo>
                    <a:pt x="690" y="10"/>
                    <a:pt x="690" y="10"/>
                    <a:pt x="690" y="10"/>
                  </a:cubicBezTo>
                  <a:cubicBezTo>
                    <a:pt x="702" y="2"/>
                    <a:pt x="717" y="0"/>
                    <a:pt x="730" y="5"/>
                  </a:cubicBezTo>
                  <a:cubicBezTo>
                    <a:pt x="809" y="19"/>
                    <a:pt x="809" y="19"/>
                    <a:pt x="809" y="19"/>
                  </a:cubicBezTo>
                  <a:cubicBezTo>
                    <a:pt x="826" y="26"/>
                    <a:pt x="869" y="73"/>
                    <a:pt x="877" y="83"/>
                  </a:cubicBezTo>
                  <a:cubicBezTo>
                    <a:pt x="902" y="108"/>
                    <a:pt x="842" y="118"/>
                    <a:pt x="817" y="90"/>
                  </a:cubicBezTo>
                  <a:cubicBezTo>
                    <a:pt x="794" y="70"/>
                    <a:pt x="798" y="77"/>
                    <a:pt x="771" y="73"/>
                  </a:cubicBezTo>
                  <a:cubicBezTo>
                    <a:pt x="724" y="70"/>
                    <a:pt x="710" y="70"/>
                    <a:pt x="688" y="104"/>
                  </a:cubicBezTo>
                  <a:cubicBezTo>
                    <a:pt x="667" y="138"/>
                    <a:pt x="658" y="154"/>
                    <a:pt x="652" y="181"/>
                  </a:cubicBezTo>
                  <a:cubicBezTo>
                    <a:pt x="652" y="184"/>
                    <a:pt x="651" y="186"/>
                    <a:pt x="651" y="189"/>
                  </a:cubicBezTo>
                  <a:cubicBezTo>
                    <a:pt x="639" y="257"/>
                    <a:pt x="685" y="322"/>
                    <a:pt x="753" y="335"/>
                  </a:cubicBezTo>
                  <a:cubicBezTo>
                    <a:pt x="811" y="346"/>
                    <a:pt x="811" y="346"/>
                    <a:pt x="811" y="346"/>
                  </a:cubicBezTo>
                  <a:cubicBezTo>
                    <a:pt x="886" y="370"/>
                    <a:pt x="901" y="410"/>
                    <a:pt x="903" y="434"/>
                  </a:cubicBezTo>
                  <a:cubicBezTo>
                    <a:pt x="904" y="443"/>
                    <a:pt x="894" y="450"/>
                    <a:pt x="886" y="446"/>
                  </a:cubicBezTo>
                  <a:cubicBezTo>
                    <a:pt x="842" y="424"/>
                    <a:pt x="800" y="410"/>
                    <a:pt x="760" y="402"/>
                  </a:cubicBezTo>
                  <a:cubicBezTo>
                    <a:pt x="723" y="395"/>
                    <a:pt x="684" y="402"/>
                    <a:pt x="652" y="421"/>
                  </a:cubicBezTo>
                  <a:cubicBezTo>
                    <a:pt x="636" y="431"/>
                    <a:pt x="617" y="439"/>
                    <a:pt x="596" y="444"/>
                  </a:cubicBezTo>
                  <a:cubicBezTo>
                    <a:pt x="578" y="449"/>
                    <a:pt x="560" y="451"/>
                    <a:pt x="544" y="451"/>
                  </a:cubicBezTo>
                  <a:cubicBezTo>
                    <a:pt x="523" y="452"/>
                    <a:pt x="504" y="461"/>
                    <a:pt x="492" y="477"/>
                  </a:cubicBezTo>
                  <a:cubicBezTo>
                    <a:pt x="396" y="600"/>
                    <a:pt x="281" y="858"/>
                    <a:pt x="281" y="858"/>
                  </a:cubicBezTo>
                  <a:cubicBezTo>
                    <a:pt x="0" y="855"/>
                    <a:pt x="0" y="855"/>
                    <a:pt x="0" y="855"/>
                  </a:cubicBezTo>
                </a:path>
              </a:pathLst>
            </a:custGeom>
            <a:solidFill>
              <a:srgbClr val="D8B0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8" name="Freeform 96"/>
            <p:cNvSpPr>
              <a:spLocks/>
            </p:cNvSpPr>
            <p:nvPr/>
          </p:nvSpPr>
          <p:spPr bwMode="auto">
            <a:xfrm>
              <a:off x="3605213" y="3868738"/>
              <a:ext cx="230188" cy="138113"/>
            </a:xfrm>
            <a:custGeom>
              <a:avLst/>
              <a:gdLst>
                <a:gd name="T0" fmla="*/ 0 w 215"/>
                <a:gd name="T1" fmla="*/ 27 h 130"/>
                <a:gd name="T2" fmla="*/ 53 w 215"/>
                <a:gd name="T3" fmla="*/ 9 h 130"/>
                <a:gd name="T4" fmla="*/ 71 w 215"/>
                <a:gd name="T5" fmla="*/ 29 h 130"/>
                <a:gd name="T6" fmla="*/ 98 w 215"/>
                <a:gd name="T7" fmla="*/ 32 h 130"/>
                <a:gd name="T8" fmla="*/ 116 w 215"/>
                <a:gd name="T9" fmla="*/ 51 h 130"/>
                <a:gd name="T10" fmla="*/ 143 w 215"/>
                <a:gd name="T11" fmla="*/ 54 h 130"/>
                <a:gd name="T12" fmla="*/ 161 w 215"/>
                <a:gd name="T13" fmla="*/ 74 h 130"/>
                <a:gd name="T14" fmla="*/ 188 w 215"/>
                <a:gd name="T15" fmla="*/ 77 h 130"/>
                <a:gd name="T16" fmla="*/ 206 w 215"/>
                <a:gd name="T17" fmla="*/ 130 h 130"/>
                <a:gd name="T18" fmla="*/ 0 w 215"/>
                <a:gd name="T19" fmla="*/ 27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5" h="130">
                  <a:moveTo>
                    <a:pt x="0" y="27"/>
                  </a:moveTo>
                  <a:cubicBezTo>
                    <a:pt x="10" y="7"/>
                    <a:pt x="33" y="0"/>
                    <a:pt x="53" y="9"/>
                  </a:cubicBezTo>
                  <a:cubicBezTo>
                    <a:pt x="62" y="14"/>
                    <a:pt x="68" y="21"/>
                    <a:pt x="71" y="29"/>
                  </a:cubicBezTo>
                  <a:cubicBezTo>
                    <a:pt x="80" y="27"/>
                    <a:pt x="89" y="28"/>
                    <a:pt x="98" y="32"/>
                  </a:cubicBezTo>
                  <a:cubicBezTo>
                    <a:pt x="107" y="36"/>
                    <a:pt x="113" y="43"/>
                    <a:pt x="116" y="51"/>
                  </a:cubicBezTo>
                  <a:cubicBezTo>
                    <a:pt x="125" y="49"/>
                    <a:pt x="134" y="50"/>
                    <a:pt x="143" y="54"/>
                  </a:cubicBezTo>
                  <a:cubicBezTo>
                    <a:pt x="151" y="59"/>
                    <a:pt x="158" y="66"/>
                    <a:pt x="161" y="74"/>
                  </a:cubicBezTo>
                  <a:cubicBezTo>
                    <a:pt x="170" y="72"/>
                    <a:pt x="179" y="73"/>
                    <a:pt x="188" y="77"/>
                  </a:cubicBezTo>
                  <a:cubicBezTo>
                    <a:pt x="207" y="87"/>
                    <a:pt x="215" y="111"/>
                    <a:pt x="206" y="130"/>
                  </a:cubicBezTo>
                  <a:cubicBezTo>
                    <a:pt x="0" y="27"/>
                    <a:pt x="0" y="27"/>
                    <a:pt x="0" y="2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9" name="Freeform 97"/>
            <p:cNvSpPr>
              <a:spLocks/>
            </p:cNvSpPr>
            <p:nvPr/>
          </p:nvSpPr>
          <p:spPr bwMode="auto">
            <a:xfrm>
              <a:off x="5057776" y="3875088"/>
              <a:ext cx="669925" cy="638175"/>
            </a:xfrm>
            <a:custGeom>
              <a:avLst/>
              <a:gdLst>
                <a:gd name="T0" fmla="*/ 626 w 626"/>
                <a:gd name="T1" fmla="*/ 599 h 599"/>
                <a:gd name="T2" fmla="*/ 273 w 626"/>
                <a:gd name="T3" fmla="*/ 599 h 599"/>
                <a:gd name="T4" fmla="*/ 4 w 626"/>
                <a:gd name="T5" fmla="*/ 165 h 599"/>
                <a:gd name="T6" fmla="*/ 2 w 626"/>
                <a:gd name="T7" fmla="*/ 159 h 599"/>
                <a:gd name="T8" fmla="*/ 0 w 626"/>
                <a:gd name="T9" fmla="*/ 145 h 599"/>
                <a:gd name="T10" fmla="*/ 21 w 626"/>
                <a:gd name="T11" fmla="*/ 113 h 599"/>
                <a:gd name="T12" fmla="*/ 23 w 626"/>
                <a:gd name="T13" fmla="*/ 112 h 599"/>
                <a:gd name="T14" fmla="*/ 29 w 626"/>
                <a:gd name="T15" fmla="*/ 109 h 599"/>
                <a:gd name="T16" fmla="*/ 46 w 626"/>
                <a:gd name="T17" fmla="*/ 100 h 599"/>
                <a:gd name="T18" fmla="*/ 46 w 626"/>
                <a:gd name="T19" fmla="*/ 100 h 599"/>
                <a:gd name="T20" fmla="*/ 136 w 626"/>
                <a:gd name="T21" fmla="*/ 55 h 599"/>
                <a:gd name="T22" fmla="*/ 216 w 626"/>
                <a:gd name="T23" fmla="*/ 15 h 599"/>
                <a:gd name="T24" fmla="*/ 224 w 626"/>
                <a:gd name="T25" fmla="*/ 11 h 599"/>
                <a:gd name="T26" fmla="*/ 225 w 626"/>
                <a:gd name="T27" fmla="*/ 10 h 599"/>
                <a:gd name="T28" fmla="*/ 225 w 626"/>
                <a:gd name="T29" fmla="*/ 10 h 599"/>
                <a:gd name="T30" fmla="*/ 227 w 626"/>
                <a:gd name="T31" fmla="*/ 10 h 599"/>
                <a:gd name="T32" fmla="*/ 279 w 626"/>
                <a:gd name="T33" fmla="*/ 27 h 599"/>
                <a:gd name="T34" fmla="*/ 626 w 626"/>
                <a:gd name="T35" fmla="*/ 599 h 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26" h="599">
                  <a:moveTo>
                    <a:pt x="626" y="599"/>
                  </a:moveTo>
                  <a:cubicBezTo>
                    <a:pt x="273" y="599"/>
                    <a:pt x="273" y="599"/>
                    <a:pt x="273" y="599"/>
                  </a:cubicBezTo>
                  <a:cubicBezTo>
                    <a:pt x="4" y="165"/>
                    <a:pt x="4" y="165"/>
                    <a:pt x="4" y="165"/>
                  </a:cubicBezTo>
                  <a:cubicBezTo>
                    <a:pt x="3" y="163"/>
                    <a:pt x="2" y="161"/>
                    <a:pt x="2" y="159"/>
                  </a:cubicBezTo>
                  <a:cubicBezTo>
                    <a:pt x="0" y="155"/>
                    <a:pt x="0" y="150"/>
                    <a:pt x="0" y="145"/>
                  </a:cubicBezTo>
                  <a:cubicBezTo>
                    <a:pt x="1" y="131"/>
                    <a:pt x="9" y="119"/>
                    <a:pt x="21" y="113"/>
                  </a:cubicBezTo>
                  <a:cubicBezTo>
                    <a:pt x="23" y="112"/>
                    <a:pt x="23" y="112"/>
                    <a:pt x="23" y="112"/>
                  </a:cubicBezTo>
                  <a:cubicBezTo>
                    <a:pt x="29" y="109"/>
                    <a:pt x="29" y="109"/>
                    <a:pt x="29" y="109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136" y="55"/>
                    <a:pt x="136" y="55"/>
                    <a:pt x="136" y="55"/>
                  </a:cubicBezTo>
                  <a:cubicBezTo>
                    <a:pt x="216" y="15"/>
                    <a:pt x="216" y="15"/>
                    <a:pt x="216" y="15"/>
                  </a:cubicBezTo>
                  <a:cubicBezTo>
                    <a:pt x="224" y="11"/>
                    <a:pt x="224" y="11"/>
                    <a:pt x="224" y="11"/>
                  </a:cubicBezTo>
                  <a:cubicBezTo>
                    <a:pt x="225" y="10"/>
                    <a:pt x="225" y="10"/>
                    <a:pt x="225" y="10"/>
                  </a:cubicBezTo>
                  <a:cubicBezTo>
                    <a:pt x="225" y="10"/>
                    <a:pt x="225" y="10"/>
                    <a:pt x="225" y="10"/>
                  </a:cubicBezTo>
                  <a:cubicBezTo>
                    <a:pt x="227" y="10"/>
                    <a:pt x="227" y="10"/>
                    <a:pt x="227" y="10"/>
                  </a:cubicBezTo>
                  <a:cubicBezTo>
                    <a:pt x="246" y="0"/>
                    <a:pt x="270" y="8"/>
                    <a:pt x="279" y="27"/>
                  </a:cubicBezTo>
                  <a:cubicBezTo>
                    <a:pt x="626" y="599"/>
                    <a:pt x="626" y="599"/>
                    <a:pt x="626" y="599"/>
                  </a:cubicBezTo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0" name="Freeform 98"/>
            <p:cNvSpPr>
              <a:spLocks/>
            </p:cNvSpPr>
            <p:nvPr/>
          </p:nvSpPr>
          <p:spPr bwMode="auto">
            <a:xfrm>
              <a:off x="5297488" y="3881438"/>
              <a:ext cx="430213" cy="631825"/>
            </a:xfrm>
            <a:custGeom>
              <a:avLst/>
              <a:gdLst>
                <a:gd name="T0" fmla="*/ 20 w 402"/>
                <a:gd name="T1" fmla="*/ 0 h 594"/>
                <a:gd name="T2" fmla="*/ 3 w 402"/>
                <a:gd name="T3" fmla="*/ 5 h 594"/>
                <a:gd name="T4" fmla="*/ 1 w 402"/>
                <a:gd name="T5" fmla="*/ 5 h 594"/>
                <a:gd name="T6" fmla="*/ 1 w 402"/>
                <a:gd name="T7" fmla="*/ 5 h 594"/>
                <a:gd name="T8" fmla="*/ 1 w 402"/>
                <a:gd name="T9" fmla="*/ 5 h 594"/>
                <a:gd name="T10" fmla="*/ 0 w 402"/>
                <a:gd name="T11" fmla="*/ 6 h 594"/>
                <a:gd name="T12" fmla="*/ 4 w 402"/>
                <a:gd name="T13" fmla="*/ 8 h 594"/>
                <a:gd name="T14" fmla="*/ 19 w 402"/>
                <a:gd name="T15" fmla="*/ 25 h 594"/>
                <a:gd name="T16" fmla="*/ 83 w 402"/>
                <a:gd name="T17" fmla="*/ 131 h 594"/>
                <a:gd name="T18" fmla="*/ 120 w 402"/>
                <a:gd name="T19" fmla="*/ 192 h 594"/>
                <a:gd name="T20" fmla="*/ 364 w 402"/>
                <a:gd name="T21" fmla="*/ 594 h 594"/>
                <a:gd name="T22" fmla="*/ 402 w 402"/>
                <a:gd name="T23" fmla="*/ 594 h 594"/>
                <a:gd name="T24" fmla="*/ 55 w 402"/>
                <a:gd name="T25" fmla="*/ 22 h 594"/>
                <a:gd name="T26" fmla="*/ 20 w 402"/>
                <a:gd name="T27" fmla="*/ 0 h 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2" h="594">
                  <a:moveTo>
                    <a:pt x="20" y="0"/>
                  </a:moveTo>
                  <a:cubicBezTo>
                    <a:pt x="15" y="0"/>
                    <a:pt x="9" y="2"/>
                    <a:pt x="3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6"/>
                    <a:pt x="3" y="7"/>
                    <a:pt x="4" y="8"/>
                  </a:cubicBezTo>
                  <a:cubicBezTo>
                    <a:pt x="10" y="12"/>
                    <a:pt x="15" y="18"/>
                    <a:pt x="19" y="25"/>
                  </a:cubicBezTo>
                  <a:cubicBezTo>
                    <a:pt x="83" y="131"/>
                    <a:pt x="83" y="131"/>
                    <a:pt x="83" y="131"/>
                  </a:cubicBezTo>
                  <a:cubicBezTo>
                    <a:pt x="120" y="192"/>
                    <a:pt x="120" y="192"/>
                    <a:pt x="120" y="192"/>
                  </a:cubicBezTo>
                  <a:cubicBezTo>
                    <a:pt x="364" y="594"/>
                    <a:pt x="364" y="594"/>
                    <a:pt x="364" y="594"/>
                  </a:cubicBezTo>
                  <a:cubicBezTo>
                    <a:pt x="402" y="594"/>
                    <a:pt x="402" y="594"/>
                    <a:pt x="402" y="594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49" y="8"/>
                    <a:pt x="35" y="0"/>
                    <a:pt x="20" y="0"/>
                  </a:cubicBezTo>
                </a:path>
              </a:pathLst>
            </a:custGeom>
            <a:solidFill>
              <a:srgbClr val="66D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1" name="Freeform 99"/>
            <p:cNvSpPr>
              <a:spLocks/>
            </p:cNvSpPr>
            <p:nvPr/>
          </p:nvSpPr>
          <p:spPr bwMode="auto">
            <a:xfrm>
              <a:off x="5081588" y="3981450"/>
              <a:ext cx="25400" cy="12700"/>
            </a:xfrm>
            <a:custGeom>
              <a:avLst/>
              <a:gdLst>
                <a:gd name="T0" fmla="*/ 16 w 16"/>
                <a:gd name="T1" fmla="*/ 0 h 8"/>
                <a:gd name="T2" fmla="*/ 4 w 16"/>
                <a:gd name="T3" fmla="*/ 6 h 8"/>
                <a:gd name="T4" fmla="*/ 4 w 16"/>
                <a:gd name="T5" fmla="*/ 6 h 8"/>
                <a:gd name="T6" fmla="*/ 0 w 16"/>
                <a:gd name="T7" fmla="*/ 8 h 8"/>
                <a:gd name="T8" fmla="*/ 0 w 16"/>
                <a:gd name="T9" fmla="*/ 8 h 8"/>
                <a:gd name="T10" fmla="*/ 0 w 16"/>
                <a:gd name="T11" fmla="*/ 8 h 8"/>
                <a:gd name="T12" fmla="*/ 0 w 16"/>
                <a:gd name="T13" fmla="*/ 8 h 8"/>
                <a:gd name="T14" fmla="*/ 4 w 16"/>
                <a:gd name="T15" fmla="*/ 6 h 8"/>
                <a:gd name="T16" fmla="*/ 16 w 16"/>
                <a:gd name="T17" fmla="*/ 0 h 8"/>
                <a:gd name="T18" fmla="*/ 16 w 16"/>
                <a:gd name="T1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8">
                  <a:moveTo>
                    <a:pt x="16" y="0"/>
                  </a:moveTo>
                  <a:lnTo>
                    <a:pt x="4" y="6"/>
                  </a:lnTo>
                  <a:lnTo>
                    <a:pt x="4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6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2" name="Freeform 100"/>
            <p:cNvSpPr>
              <a:spLocks/>
            </p:cNvSpPr>
            <p:nvPr/>
          </p:nvSpPr>
          <p:spPr bwMode="auto">
            <a:xfrm>
              <a:off x="5081588" y="3981450"/>
              <a:ext cx="25400" cy="12700"/>
            </a:xfrm>
            <a:custGeom>
              <a:avLst/>
              <a:gdLst>
                <a:gd name="T0" fmla="*/ 16 w 16"/>
                <a:gd name="T1" fmla="*/ 0 h 8"/>
                <a:gd name="T2" fmla="*/ 4 w 16"/>
                <a:gd name="T3" fmla="*/ 6 h 8"/>
                <a:gd name="T4" fmla="*/ 4 w 16"/>
                <a:gd name="T5" fmla="*/ 6 h 8"/>
                <a:gd name="T6" fmla="*/ 0 w 16"/>
                <a:gd name="T7" fmla="*/ 8 h 8"/>
                <a:gd name="T8" fmla="*/ 0 w 16"/>
                <a:gd name="T9" fmla="*/ 8 h 8"/>
                <a:gd name="T10" fmla="*/ 0 w 16"/>
                <a:gd name="T11" fmla="*/ 8 h 8"/>
                <a:gd name="T12" fmla="*/ 0 w 16"/>
                <a:gd name="T13" fmla="*/ 8 h 8"/>
                <a:gd name="T14" fmla="*/ 4 w 16"/>
                <a:gd name="T15" fmla="*/ 6 h 8"/>
                <a:gd name="T16" fmla="*/ 16 w 16"/>
                <a:gd name="T17" fmla="*/ 0 h 8"/>
                <a:gd name="T18" fmla="*/ 16 w 16"/>
                <a:gd name="T1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8">
                  <a:moveTo>
                    <a:pt x="16" y="0"/>
                  </a:moveTo>
                  <a:lnTo>
                    <a:pt x="4" y="6"/>
                  </a:lnTo>
                  <a:lnTo>
                    <a:pt x="4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6"/>
                  </a:lnTo>
                  <a:lnTo>
                    <a:pt x="16" y="0"/>
                  </a:lnTo>
                  <a:lnTo>
                    <a:pt x="1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3" name="Freeform 101"/>
            <p:cNvSpPr>
              <a:spLocks/>
            </p:cNvSpPr>
            <p:nvPr/>
          </p:nvSpPr>
          <p:spPr bwMode="auto">
            <a:xfrm>
              <a:off x="5057776" y="3981450"/>
              <a:ext cx="339725" cy="531813"/>
            </a:xfrm>
            <a:custGeom>
              <a:avLst/>
              <a:gdLst>
                <a:gd name="T0" fmla="*/ 46 w 317"/>
                <a:gd name="T1" fmla="*/ 0 h 499"/>
                <a:gd name="T2" fmla="*/ 29 w 317"/>
                <a:gd name="T3" fmla="*/ 9 h 499"/>
                <a:gd name="T4" fmla="*/ 23 w 317"/>
                <a:gd name="T5" fmla="*/ 12 h 499"/>
                <a:gd name="T6" fmla="*/ 23 w 317"/>
                <a:gd name="T7" fmla="*/ 12 h 499"/>
                <a:gd name="T8" fmla="*/ 21 w 317"/>
                <a:gd name="T9" fmla="*/ 13 h 499"/>
                <a:gd name="T10" fmla="*/ 0 w 317"/>
                <a:gd name="T11" fmla="*/ 45 h 499"/>
                <a:gd name="T12" fmla="*/ 0 w 317"/>
                <a:gd name="T13" fmla="*/ 48 h 499"/>
                <a:gd name="T14" fmla="*/ 2 w 317"/>
                <a:gd name="T15" fmla="*/ 59 h 499"/>
                <a:gd name="T16" fmla="*/ 4 w 317"/>
                <a:gd name="T17" fmla="*/ 65 h 499"/>
                <a:gd name="T18" fmla="*/ 273 w 317"/>
                <a:gd name="T19" fmla="*/ 499 h 499"/>
                <a:gd name="T20" fmla="*/ 317 w 317"/>
                <a:gd name="T21" fmla="*/ 499 h 499"/>
                <a:gd name="T22" fmla="*/ 45 w 317"/>
                <a:gd name="T23" fmla="*/ 59 h 499"/>
                <a:gd name="T24" fmla="*/ 38 w 317"/>
                <a:gd name="T25" fmla="*/ 49 h 499"/>
                <a:gd name="T26" fmla="*/ 36 w 317"/>
                <a:gd name="T27" fmla="*/ 45 h 499"/>
                <a:gd name="T28" fmla="*/ 35 w 317"/>
                <a:gd name="T29" fmla="*/ 21 h 499"/>
                <a:gd name="T30" fmla="*/ 35 w 317"/>
                <a:gd name="T31" fmla="*/ 19 h 499"/>
                <a:gd name="T32" fmla="*/ 46 w 317"/>
                <a:gd name="T33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7" h="499">
                  <a:moveTo>
                    <a:pt x="46" y="0"/>
                  </a:moveTo>
                  <a:cubicBezTo>
                    <a:pt x="29" y="9"/>
                    <a:pt x="29" y="9"/>
                    <a:pt x="29" y="9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9" y="19"/>
                    <a:pt x="1" y="31"/>
                    <a:pt x="0" y="45"/>
                  </a:cubicBezTo>
                  <a:cubicBezTo>
                    <a:pt x="0" y="46"/>
                    <a:pt x="0" y="47"/>
                    <a:pt x="0" y="48"/>
                  </a:cubicBezTo>
                  <a:cubicBezTo>
                    <a:pt x="0" y="52"/>
                    <a:pt x="0" y="55"/>
                    <a:pt x="2" y="59"/>
                  </a:cubicBezTo>
                  <a:cubicBezTo>
                    <a:pt x="2" y="61"/>
                    <a:pt x="3" y="63"/>
                    <a:pt x="4" y="65"/>
                  </a:cubicBezTo>
                  <a:cubicBezTo>
                    <a:pt x="273" y="499"/>
                    <a:pt x="273" y="499"/>
                    <a:pt x="273" y="499"/>
                  </a:cubicBezTo>
                  <a:cubicBezTo>
                    <a:pt x="317" y="499"/>
                    <a:pt x="317" y="499"/>
                    <a:pt x="317" y="499"/>
                  </a:cubicBezTo>
                  <a:cubicBezTo>
                    <a:pt x="45" y="59"/>
                    <a:pt x="45" y="59"/>
                    <a:pt x="45" y="5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8"/>
                    <a:pt x="37" y="46"/>
                    <a:pt x="36" y="45"/>
                  </a:cubicBezTo>
                  <a:cubicBezTo>
                    <a:pt x="34" y="37"/>
                    <a:pt x="33" y="29"/>
                    <a:pt x="35" y="21"/>
                  </a:cubicBezTo>
                  <a:cubicBezTo>
                    <a:pt x="35" y="20"/>
                    <a:pt x="35" y="19"/>
                    <a:pt x="35" y="19"/>
                  </a:cubicBezTo>
                  <a:cubicBezTo>
                    <a:pt x="37" y="12"/>
                    <a:pt x="41" y="6"/>
                    <a:pt x="46" y="0"/>
                  </a:cubicBezTo>
                </a:path>
              </a:pathLst>
            </a:custGeom>
            <a:solidFill>
              <a:srgbClr val="39B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4" name="Freeform 102"/>
            <p:cNvSpPr>
              <a:spLocks/>
            </p:cNvSpPr>
            <p:nvPr/>
          </p:nvSpPr>
          <p:spPr bwMode="auto">
            <a:xfrm>
              <a:off x="3175001" y="3875088"/>
              <a:ext cx="679450" cy="638175"/>
            </a:xfrm>
            <a:custGeom>
              <a:avLst/>
              <a:gdLst>
                <a:gd name="T0" fmla="*/ 632 w 634"/>
                <a:gd name="T1" fmla="*/ 159 h 599"/>
                <a:gd name="T2" fmla="*/ 629 w 634"/>
                <a:gd name="T3" fmla="*/ 165 h 599"/>
                <a:gd name="T4" fmla="*/ 355 w 634"/>
                <a:gd name="T5" fmla="*/ 599 h 599"/>
                <a:gd name="T6" fmla="*/ 0 w 634"/>
                <a:gd name="T7" fmla="*/ 599 h 599"/>
                <a:gd name="T8" fmla="*/ 354 w 634"/>
                <a:gd name="T9" fmla="*/ 27 h 599"/>
                <a:gd name="T10" fmla="*/ 406 w 634"/>
                <a:gd name="T11" fmla="*/ 10 h 599"/>
                <a:gd name="T12" fmla="*/ 408 w 634"/>
                <a:gd name="T13" fmla="*/ 10 h 599"/>
                <a:gd name="T14" fmla="*/ 408 w 634"/>
                <a:gd name="T15" fmla="*/ 10 h 599"/>
                <a:gd name="T16" fmla="*/ 409 w 634"/>
                <a:gd name="T17" fmla="*/ 11 h 599"/>
                <a:gd name="T18" fmla="*/ 417 w 634"/>
                <a:gd name="T19" fmla="*/ 15 h 599"/>
                <a:gd name="T20" fmla="*/ 496 w 634"/>
                <a:gd name="T21" fmla="*/ 54 h 599"/>
                <a:gd name="T22" fmla="*/ 587 w 634"/>
                <a:gd name="T23" fmla="*/ 100 h 599"/>
                <a:gd name="T24" fmla="*/ 587 w 634"/>
                <a:gd name="T25" fmla="*/ 100 h 599"/>
                <a:gd name="T26" fmla="*/ 604 w 634"/>
                <a:gd name="T27" fmla="*/ 109 h 599"/>
                <a:gd name="T28" fmla="*/ 610 w 634"/>
                <a:gd name="T29" fmla="*/ 112 h 599"/>
                <a:gd name="T30" fmla="*/ 612 w 634"/>
                <a:gd name="T31" fmla="*/ 113 h 599"/>
                <a:gd name="T32" fmla="*/ 633 w 634"/>
                <a:gd name="T33" fmla="*/ 145 h 599"/>
                <a:gd name="T34" fmla="*/ 632 w 634"/>
                <a:gd name="T35" fmla="*/ 159 h 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34" h="599">
                  <a:moveTo>
                    <a:pt x="632" y="159"/>
                  </a:moveTo>
                  <a:cubicBezTo>
                    <a:pt x="631" y="161"/>
                    <a:pt x="630" y="163"/>
                    <a:pt x="629" y="165"/>
                  </a:cubicBezTo>
                  <a:cubicBezTo>
                    <a:pt x="355" y="599"/>
                    <a:pt x="355" y="599"/>
                    <a:pt x="355" y="599"/>
                  </a:cubicBezTo>
                  <a:cubicBezTo>
                    <a:pt x="0" y="599"/>
                    <a:pt x="0" y="599"/>
                    <a:pt x="0" y="599"/>
                  </a:cubicBezTo>
                  <a:cubicBezTo>
                    <a:pt x="354" y="27"/>
                    <a:pt x="354" y="27"/>
                    <a:pt x="354" y="27"/>
                  </a:cubicBezTo>
                  <a:cubicBezTo>
                    <a:pt x="363" y="8"/>
                    <a:pt x="387" y="0"/>
                    <a:pt x="406" y="10"/>
                  </a:cubicBezTo>
                  <a:cubicBezTo>
                    <a:pt x="408" y="10"/>
                    <a:pt x="408" y="10"/>
                    <a:pt x="408" y="10"/>
                  </a:cubicBezTo>
                  <a:cubicBezTo>
                    <a:pt x="408" y="10"/>
                    <a:pt x="408" y="10"/>
                    <a:pt x="408" y="10"/>
                  </a:cubicBezTo>
                  <a:cubicBezTo>
                    <a:pt x="409" y="11"/>
                    <a:pt x="409" y="11"/>
                    <a:pt x="409" y="11"/>
                  </a:cubicBezTo>
                  <a:cubicBezTo>
                    <a:pt x="417" y="15"/>
                    <a:pt x="417" y="15"/>
                    <a:pt x="417" y="15"/>
                  </a:cubicBezTo>
                  <a:cubicBezTo>
                    <a:pt x="496" y="54"/>
                    <a:pt x="496" y="54"/>
                    <a:pt x="496" y="54"/>
                  </a:cubicBezTo>
                  <a:cubicBezTo>
                    <a:pt x="587" y="100"/>
                    <a:pt x="587" y="100"/>
                    <a:pt x="587" y="100"/>
                  </a:cubicBezTo>
                  <a:cubicBezTo>
                    <a:pt x="587" y="100"/>
                    <a:pt x="587" y="100"/>
                    <a:pt x="587" y="100"/>
                  </a:cubicBezTo>
                  <a:cubicBezTo>
                    <a:pt x="604" y="109"/>
                    <a:pt x="604" y="109"/>
                    <a:pt x="604" y="109"/>
                  </a:cubicBezTo>
                  <a:cubicBezTo>
                    <a:pt x="610" y="112"/>
                    <a:pt x="610" y="112"/>
                    <a:pt x="610" y="112"/>
                  </a:cubicBezTo>
                  <a:cubicBezTo>
                    <a:pt x="612" y="113"/>
                    <a:pt x="612" y="113"/>
                    <a:pt x="612" y="113"/>
                  </a:cubicBezTo>
                  <a:cubicBezTo>
                    <a:pt x="625" y="119"/>
                    <a:pt x="632" y="131"/>
                    <a:pt x="633" y="145"/>
                  </a:cubicBezTo>
                  <a:cubicBezTo>
                    <a:pt x="634" y="150"/>
                    <a:pt x="633" y="155"/>
                    <a:pt x="632" y="159"/>
                  </a:cubicBezTo>
                </a:path>
              </a:pathLst>
            </a:cu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5" name="Freeform 103"/>
            <p:cNvSpPr>
              <a:spLocks/>
            </p:cNvSpPr>
            <p:nvPr/>
          </p:nvSpPr>
          <p:spPr bwMode="auto">
            <a:xfrm>
              <a:off x="3175001" y="3881438"/>
              <a:ext cx="438150" cy="631825"/>
            </a:xfrm>
            <a:custGeom>
              <a:avLst/>
              <a:gdLst>
                <a:gd name="T0" fmla="*/ 389 w 409"/>
                <a:gd name="T1" fmla="*/ 0 h 594"/>
                <a:gd name="T2" fmla="*/ 354 w 409"/>
                <a:gd name="T3" fmla="*/ 22 h 594"/>
                <a:gd name="T4" fmla="*/ 0 w 409"/>
                <a:gd name="T5" fmla="*/ 594 h 594"/>
                <a:gd name="T6" fmla="*/ 40 w 409"/>
                <a:gd name="T7" fmla="*/ 594 h 594"/>
                <a:gd name="T8" fmla="*/ 287 w 409"/>
                <a:gd name="T9" fmla="*/ 192 h 594"/>
                <a:gd name="T10" fmla="*/ 320 w 409"/>
                <a:gd name="T11" fmla="*/ 138 h 594"/>
                <a:gd name="T12" fmla="*/ 391 w 409"/>
                <a:gd name="T13" fmla="*/ 25 h 594"/>
                <a:gd name="T14" fmla="*/ 405 w 409"/>
                <a:gd name="T15" fmla="*/ 8 h 594"/>
                <a:gd name="T16" fmla="*/ 409 w 409"/>
                <a:gd name="T17" fmla="*/ 6 h 594"/>
                <a:gd name="T18" fmla="*/ 408 w 409"/>
                <a:gd name="T19" fmla="*/ 5 h 594"/>
                <a:gd name="T20" fmla="*/ 408 w 409"/>
                <a:gd name="T21" fmla="*/ 5 h 594"/>
                <a:gd name="T22" fmla="*/ 408 w 409"/>
                <a:gd name="T23" fmla="*/ 5 h 594"/>
                <a:gd name="T24" fmla="*/ 406 w 409"/>
                <a:gd name="T25" fmla="*/ 5 h 594"/>
                <a:gd name="T26" fmla="*/ 389 w 409"/>
                <a:gd name="T27" fmla="*/ 0 h 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9" h="594">
                  <a:moveTo>
                    <a:pt x="389" y="0"/>
                  </a:moveTo>
                  <a:cubicBezTo>
                    <a:pt x="374" y="0"/>
                    <a:pt x="361" y="8"/>
                    <a:pt x="354" y="22"/>
                  </a:cubicBezTo>
                  <a:cubicBezTo>
                    <a:pt x="0" y="594"/>
                    <a:pt x="0" y="594"/>
                    <a:pt x="0" y="594"/>
                  </a:cubicBezTo>
                  <a:cubicBezTo>
                    <a:pt x="40" y="594"/>
                    <a:pt x="40" y="594"/>
                    <a:pt x="40" y="594"/>
                  </a:cubicBezTo>
                  <a:cubicBezTo>
                    <a:pt x="287" y="192"/>
                    <a:pt x="287" y="192"/>
                    <a:pt x="287" y="192"/>
                  </a:cubicBezTo>
                  <a:cubicBezTo>
                    <a:pt x="320" y="138"/>
                    <a:pt x="320" y="138"/>
                    <a:pt x="320" y="138"/>
                  </a:cubicBezTo>
                  <a:cubicBezTo>
                    <a:pt x="391" y="25"/>
                    <a:pt x="391" y="25"/>
                    <a:pt x="391" y="25"/>
                  </a:cubicBezTo>
                  <a:cubicBezTo>
                    <a:pt x="394" y="18"/>
                    <a:pt x="399" y="12"/>
                    <a:pt x="405" y="8"/>
                  </a:cubicBezTo>
                  <a:cubicBezTo>
                    <a:pt x="406" y="7"/>
                    <a:pt x="408" y="6"/>
                    <a:pt x="409" y="6"/>
                  </a:cubicBezTo>
                  <a:cubicBezTo>
                    <a:pt x="408" y="5"/>
                    <a:pt x="408" y="5"/>
                    <a:pt x="408" y="5"/>
                  </a:cubicBezTo>
                  <a:cubicBezTo>
                    <a:pt x="408" y="5"/>
                    <a:pt x="408" y="5"/>
                    <a:pt x="408" y="5"/>
                  </a:cubicBezTo>
                  <a:cubicBezTo>
                    <a:pt x="408" y="5"/>
                    <a:pt x="408" y="5"/>
                    <a:pt x="408" y="5"/>
                  </a:cubicBezTo>
                  <a:cubicBezTo>
                    <a:pt x="406" y="5"/>
                    <a:pt x="406" y="5"/>
                    <a:pt x="406" y="5"/>
                  </a:cubicBezTo>
                  <a:cubicBezTo>
                    <a:pt x="401" y="2"/>
                    <a:pt x="395" y="0"/>
                    <a:pt x="389" y="0"/>
                  </a:cubicBezTo>
                </a:path>
              </a:pathLst>
            </a:custGeom>
            <a:solidFill>
              <a:srgbClr val="66D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6" name="Freeform 104"/>
            <p:cNvSpPr>
              <a:spLocks/>
            </p:cNvSpPr>
            <p:nvPr/>
          </p:nvSpPr>
          <p:spPr bwMode="auto">
            <a:xfrm>
              <a:off x="3508376" y="3981450"/>
              <a:ext cx="346075" cy="531813"/>
            </a:xfrm>
            <a:custGeom>
              <a:avLst/>
              <a:gdLst>
                <a:gd name="T0" fmla="*/ 276 w 322"/>
                <a:gd name="T1" fmla="*/ 0 h 499"/>
                <a:gd name="T2" fmla="*/ 287 w 322"/>
                <a:gd name="T3" fmla="*/ 19 h 499"/>
                <a:gd name="T4" fmla="*/ 287 w 322"/>
                <a:gd name="T5" fmla="*/ 21 h 499"/>
                <a:gd name="T6" fmla="*/ 286 w 322"/>
                <a:gd name="T7" fmla="*/ 45 h 499"/>
                <a:gd name="T8" fmla="*/ 284 w 322"/>
                <a:gd name="T9" fmla="*/ 49 h 499"/>
                <a:gd name="T10" fmla="*/ 277 w 322"/>
                <a:gd name="T11" fmla="*/ 59 h 499"/>
                <a:gd name="T12" fmla="*/ 0 w 322"/>
                <a:gd name="T13" fmla="*/ 499 h 499"/>
                <a:gd name="T14" fmla="*/ 44 w 322"/>
                <a:gd name="T15" fmla="*/ 499 h 499"/>
                <a:gd name="T16" fmla="*/ 318 w 322"/>
                <a:gd name="T17" fmla="*/ 65 h 499"/>
                <a:gd name="T18" fmla="*/ 321 w 322"/>
                <a:gd name="T19" fmla="*/ 59 h 499"/>
                <a:gd name="T20" fmla="*/ 322 w 322"/>
                <a:gd name="T21" fmla="*/ 48 h 499"/>
                <a:gd name="T22" fmla="*/ 322 w 322"/>
                <a:gd name="T23" fmla="*/ 45 h 499"/>
                <a:gd name="T24" fmla="*/ 322 w 322"/>
                <a:gd name="T25" fmla="*/ 45 h 499"/>
                <a:gd name="T26" fmla="*/ 301 w 322"/>
                <a:gd name="T27" fmla="*/ 13 h 499"/>
                <a:gd name="T28" fmla="*/ 299 w 322"/>
                <a:gd name="T29" fmla="*/ 12 h 499"/>
                <a:gd name="T30" fmla="*/ 293 w 322"/>
                <a:gd name="T31" fmla="*/ 9 h 499"/>
                <a:gd name="T32" fmla="*/ 276 w 322"/>
                <a:gd name="T33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2" h="499">
                  <a:moveTo>
                    <a:pt x="276" y="0"/>
                  </a:moveTo>
                  <a:cubicBezTo>
                    <a:pt x="281" y="6"/>
                    <a:pt x="285" y="12"/>
                    <a:pt x="287" y="19"/>
                  </a:cubicBezTo>
                  <a:cubicBezTo>
                    <a:pt x="287" y="19"/>
                    <a:pt x="287" y="20"/>
                    <a:pt x="287" y="21"/>
                  </a:cubicBezTo>
                  <a:cubicBezTo>
                    <a:pt x="289" y="29"/>
                    <a:pt x="289" y="37"/>
                    <a:pt x="286" y="45"/>
                  </a:cubicBezTo>
                  <a:cubicBezTo>
                    <a:pt x="285" y="46"/>
                    <a:pt x="285" y="48"/>
                    <a:pt x="284" y="49"/>
                  </a:cubicBezTo>
                  <a:cubicBezTo>
                    <a:pt x="277" y="59"/>
                    <a:pt x="277" y="59"/>
                    <a:pt x="277" y="59"/>
                  </a:cubicBezTo>
                  <a:cubicBezTo>
                    <a:pt x="0" y="499"/>
                    <a:pt x="0" y="499"/>
                    <a:pt x="0" y="499"/>
                  </a:cubicBezTo>
                  <a:cubicBezTo>
                    <a:pt x="44" y="499"/>
                    <a:pt x="44" y="499"/>
                    <a:pt x="44" y="499"/>
                  </a:cubicBezTo>
                  <a:cubicBezTo>
                    <a:pt x="318" y="65"/>
                    <a:pt x="318" y="65"/>
                    <a:pt x="318" y="65"/>
                  </a:cubicBezTo>
                  <a:cubicBezTo>
                    <a:pt x="319" y="63"/>
                    <a:pt x="320" y="61"/>
                    <a:pt x="321" y="59"/>
                  </a:cubicBezTo>
                  <a:cubicBezTo>
                    <a:pt x="322" y="55"/>
                    <a:pt x="322" y="52"/>
                    <a:pt x="322" y="48"/>
                  </a:cubicBezTo>
                  <a:cubicBezTo>
                    <a:pt x="322" y="47"/>
                    <a:pt x="322" y="46"/>
                    <a:pt x="322" y="45"/>
                  </a:cubicBezTo>
                  <a:cubicBezTo>
                    <a:pt x="322" y="45"/>
                    <a:pt x="322" y="45"/>
                    <a:pt x="322" y="45"/>
                  </a:cubicBezTo>
                  <a:cubicBezTo>
                    <a:pt x="321" y="31"/>
                    <a:pt x="314" y="19"/>
                    <a:pt x="301" y="13"/>
                  </a:cubicBezTo>
                  <a:cubicBezTo>
                    <a:pt x="299" y="12"/>
                    <a:pt x="299" y="12"/>
                    <a:pt x="299" y="12"/>
                  </a:cubicBezTo>
                  <a:cubicBezTo>
                    <a:pt x="293" y="9"/>
                    <a:pt x="293" y="9"/>
                    <a:pt x="293" y="9"/>
                  </a:cubicBezTo>
                  <a:cubicBezTo>
                    <a:pt x="276" y="0"/>
                    <a:pt x="276" y="0"/>
                    <a:pt x="276" y="0"/>
                  </a:cubicBezTo>
                </a:path>
              </a:pathLst>
            </a:custGeom>
            <a:solidFill>
              <a:srgbClr val="39B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7" name="Freeform 105"/>
            <p:cNvSpPr>
              <a:spLocks noEditPoints="1"/>
            </p:cNvSpPr>
            <p:nvPr/>
          </p:nvSpPr>
          <p:spPr bwMode="auto">
            <a:xfrm>
              <a:off x="4000501" y="3656013"/>
              <a:ext cx="52388" cy="28575"/>
            </a:xfrm>
            <a:custGeom>
              <a:avLst/>
              <a:gdLst>
                <a:gd name="T0" fmla="*/ 0 w 48"/>
                <a:gd name="T1" fmla="*/ 26 h 27"/>
                <a:gd name="T2" fmla="*/ 0 w 48"/>
                <a:gd name="T3" fmla="*/ 27 h 27"/>
                <a:gd name="T4" fmla="*/ 0 w 48"/>
                <a:gd name="T5" fmla="*/ 27 h 27"/>
                <a:gd name="T6" fmla="*/ 0 w 48"/>
                <a:gd name="T7" fmla="*/ 26 h 27"/>
                <a:gd name="T8" fmla="*/ 48 w 48"/>
                <a:gd name="T9" fmla="*/ 0 h 27"/>
                <a:gd name="T10" fmla="*/ 48 w 48"/>
                <a:gd name="T11" fmla="*/ 0 h 27"/>
                <a:gd name="T12" fmla="*/ 48 w 48"/>
                <a:gd name="T13" fmla="*/ 0 h 27"/>
                <a:gd name="T14" fmla="*/ 48 w 48"/>
                <a:gd name="T15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27">
                  <a:moveTo>
                    <a:pt x="0" y="26"/>
                  </a:moveTo>
                  <a:cubicBezTo>
                    <a:pt x="0" y="26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6"/>
                  </a:cubicBezTo>
                  <a:moveTo>
                    <a:pt x="48" y="0"/>
                  </a:moveTo>
                  <a:cubicBezTo>
                    <a:pt x="48" y="0"/>
                    <a:pt x="48" y="0"/>
                    <a:pt x="48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0"/>
                    <a:pt x="48" y="0"/>
                    <a:pt x="48" y="0"/>
                  </a:cubicBezTo>
                </a:path>
              </a:pathLst>
            </a:custGeom>
            <a:solidFill>
              <a:srgbClr val="006C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8" name="Freeform 106"/>
            <p:cNvSpPr>
              <a:spLocks/>
            </p:cNvSpPr>
            <p:nvPr/>
          </p:nvSpPr>
          <p:spPr bwMode="auto">
            <a:xfrm>
              <a:off x="3948113" y="3625850"/>
              <a:ext cx="104775" cy="58738"/>
            </a:xfrm>
            <a:custGeom>
              <a:avLst/>
              <a:gdLst>
                <a:gd name="T0" fmla="*/ 0 w 97"/>
                <a:gd name="T1" fmla="*/ 0 h 55"/>
                <a:gd name="T2" fmla="*/ 49 w 97"/>
                <a:gd name="T3" fmla="*/ 55 h 55"/>
                <a:gd name="T4" fmla="*/ 49 w 97"/>
                <a:gd name="T5" fmla="*/ 54 h 55"/>
                <a:gd name="T6" fmla="*/ 97 w 97"/>
                <a:gd name="T7" fmla="*/ 28 h 55"/>
                <a:gd name="T8" fmla="*/ 97 w 97"/>
                <a:gd name="T9" fmla="*/ 28 h 55"/>
                <a:gd name="T10" fmla="*/ 0 w 97"/>
                <a:gd name="T11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7" h="55">
                  <a:moveTo>
                    <a:pt x="0" y="0"/>
                  </a:moveTo>
                  <a:cubicBezTo>
                    <a:pt x="0" y="0"/>
                    <a:pt x="17" y="38"/>
                    <a:pt x="49" y="55"/>
                  </a:cubicBezTo>
                  <a:cubicBezTo>
                    <a:pt x="49" y="55"/>
                    <a:pt x="49" y="54"/>
                    <a:pt x="49" y="54"/>
                  </a:cubicBezTo>
                  <a:cubicBezTo>
                    <a:pt x="50" y="53"/>
                    <a:pt x="65" y="30"/>
                    <a:pt x="97" y="28"/>
                  </a:cubicBezTo>
                  <a:cubicBezTo>
                    <a:pt x="97" y="28"/>
                    <a:pt x="97" y="28"/>
                    <a:pt x="97" y="28"/>
                  </a:cubicBezTo>
                  <a:cubicBezTo>
                    <a:pt x="49" y="23"/>
                    <a:pt x="21" y="19"/>
                    <a:pt x="0" y="0"/>
                  </a:cubicBezTo>
                </a:path>
              </a:pathLst>
            </a:custGeom>
            <a:solidFill>
              <a:srgbClr val="C29E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366" name="Picture 365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528171" y="2083623"/>
            <a:ext cx="682369" cy="357356"/>
          </a:xfrm>
          <a:prstGeom prst="rect">
            <a:avLst/>
          </a:prstGeom>
        </p:spPr>
      </p:pic>
      <p:pic>
        <p:nvPicPr>
          <p:cNvPr id="367" name="Picture 366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074152" y="2045541"/>
            <a:ext cx="126106" cy="241403"/>
          </a:xfrm>
          <a:prstGeom prst="rect">
            <a:avLst/>
          </a:prstGeom>
        </p:spPr>
      </p:pic>
      <p:sp>
        <p:nvSpPr>
          <p:cNvPr id="65" name="Rectangle 64"/>
          <p:cNvSpPr/>
          <p:nvPr/>
        </p:nvSpPr>
        <p:spPr bwMode="auto">
          <a:xfrm>
            <a:off x="8176574" y="4018524"/>
            <a:ext cx="988157" cy="54784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73152" rIns="0" bIns="73152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1A41"/>
                </a:solidFill>
                <a:effectLst/>
                <a:uLnTx/>
                <a:uFillTx/>
              </a:rPr>
              <a:t>Batch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1A41"/>
              </a:solidFill>
              <a:effectLst/>
              <a:uLnTx/>
              <a:uFillTx/>
            </a:endParaRPr>
          </a:p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1A41"/>
                </a:solidFill>
                <a:effectLst/>
                <a:uLnTx/>
                <a:uFillTx/>
              </a:rPr>
              <a:t>MapReduce</a:t>
            </a:r>
          </a:p>
        </p:txBody>
      </p:sp>
      <p:sp>
        <p:nvSpPr>
          <p:cNvPr id="66" name="Rectangle 65"/>
          <p:cNvSpPr/>
          <p:nvPr/>
        </p:nvSpPr>
        <p:spPr bwMode="auto">
          <a:xfrm>
            <a:off x="8176574" y="4947914"/>
            <a:ext cx="711495" cy="54784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73152" rIns="0" bIns="73152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1A41"/>
                </a:solidFill>
                <a:effectLst/>
                <a:uLnTx/>
                <a:uFillTx/>
              </a:rPr>
              <a:t>Script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1A41"/>
              </a:solidFill>
              <a:effectLst/>
              <a:uLnTx/>
              <a:uFillTx/>
            </a:endParaRPr>
          </a:p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1A41"/>
                </a:solidFill>
                <a:effectLst/>
                <a:uLnTx/>
                <a:uFillTx/>
              </a:rPr>
              <a:t>Pig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1A41"/>
              </a:solidFill>
              <a:effectLst/>
              <a:uLnTx/>
              <a:uFillTx/>
            </a:endParaRPr>
          </a:p>
        </p:txBody>
      </p:sp>
      <p:sp>
        <p:nvSpPr>
          <p:cNvPr id="67" name="Rectangle 66"/>
          <p:cNvSpPr/>
          <p:nvPr/>
        </p:nvSpPr>
        <p:spPr bwMode="auto">
          <a:xfrm>
            <a:off x="8176574" y="5843266"/>
            <a:ext cx="1097280" cy="54784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73152" rIns="0" bIns="73152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1A41"/>
                </a:solidFill>
                <a:effectLst/>
                <a:uLnTx/>
                <a:uFillTx/>
              </a:rPr>
              <a:t>SQL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1A41"/>
              </a:solidFill>
              <a:effectLst/>
              <a:uLnTx/>
              <a:uFillTx/>
            </a:endParaRPr>
          </a:p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1A41"/>
                </a:solidFill>
                <a:effectLst/>
                <a:uLnTx/>
                <a:uFillTx/>
              </a:rPr>
              <a:t>Hive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1A41"/>
              </a:solidFill>
              <a:effectLst/>
              <a:uLnTx/>
              <a:uFillTx/>
            </a:endParaRPr>
          </a:p>
        </p:txBody>
      </p:sp>
      <p:sp>
        <p:nvSpPr>
          <p:cNvPr id="69" name="Rectangle 68"/>
          <p:cNvSpPr/>
          <p:nvPr/>
        </p:nvSpPr>
        <p:spPr bwMode="auto">
          <a:xfrm>
            <a:off x="10049751" y="4018524"/>
            <a:ext cx="1097280" cy="54784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73152" rIns="0" bIns="73152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1A41"/>
                </a:solidFill>
                <a:effectLst/>
                <a:uLnTx/>
                <a:uFillTx/>
              </a:rPr>
              <a:t>NoSQL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1A41"/>
              </a:solidFill>
              <a:effectLst/>
              <a:uLnTx/>
              <a:uFillTx/>
            </a:endParaRPr>
          </a:p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1A41"/>
                </a:solidFill>
                <a:effectLst/>
                <a:uLnTx/>
                <a:uFillTx/>
              </a:rPr>
              <a:t>HBase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1A41"/>
              </a:solidFill>
              <a:effectLst/>
              <a:uLnTx/>
              <a:uFillTx/>
            </a:endParaRPr>
          </a:p>
        </p:txBody>
      </p:sp>
      <p:sp>
        <p:nvSpPr>
          <p:cNvPr id="80" name="Rectangle 79"/>
          <p:cNvSpPr/>
          <p:nvPr/>
        </p:nvSpPr>
        <p:spPr bwMode="auto">
          <a:xfrm>
            <a:off x="10049751" y="4947914"/>
            <a:ext cx="1097280" cy="54784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73152" rIns="0" bIns="73152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1A41"/>
                </a:solidFill>
                <a:effectLst/>
                <a:uLnTx/>
                <a:uFillTx/>
              </a:rPr>
              <a:t>In-Memory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1A41"/>
              </a:solidFill>
              <a:effectLst/>
              <a:uLnTx/>
              <a:uFillTx/>
            </a:endParaRPr>
          </a:p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1A41"/>
                </a:solidFill>
                <a:effectLst/>
                <a:uLnTx/>
                <a:uFillTx/>
              </a:rPr>
              <a:t>Spark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1A41"/>
              </a:solidFill>
              <a:effectLst/>
              <a:uLnTx/>
              <a:uFillTx/>
            </a:endParaRPr>
          </a:p>
        </p:txBody>
      </p:sp>
      <p:sp>
        <p:nvSpPr>
          <p:cNvPr id="81" name="Rectangle 80"/>
          <p:cNvSpPr/>
          <p:nvPr/>
        </p:nvSpPr>
        <p:spPr bwMode="auto">
          <a:xfrm>
            <a:off x="10049751" y="5843266"/>
            <a:ext cx="1097280" cy="54784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73152" rIns="0" bIns="73152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1A41"/>
                </a:solidFill>
                <a:effectLst/>
                <a:uLnTx/>
                <a:uFillTx/>
              </a:rPr>
              <a:t>Predictive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1A41"/>
              </a:solidFill>
              <a:effectLst/>
              <a:uLnTx/>
              <a:uFillTx/>
            </a:endParaRPr>
          </a:p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1A41"/>
                </a:solidFill>
                <a:effectLst/>
                <a:uLnTx/>
                <a:uFillTx/>
              </a:rPr>
              <a:t>R Server</a:t>
            </a:r>
          </a:p>
        </p:txBody>
      </p:sp>
      <p:sp>
        <p:nvSpPr>
          <p:cNvPr id="85" name="Rectangle 84"/>
          <p:cNvSpPr/>
          <p:nvPr/>
        </p:nvSpPr>
        <p:spPr bwMode="auto">
          <a:xfrm>
            <a:off x="9367776" y="2534206"/>
            <a:ext cx="662390" cy="41299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1A41"/>
                </a:solidFill>
                <a:effectLst/>
                <a:uLnTx/>
                <a:uFillTx/>
              </a:rPr>
              <a:t>Batch</a:t>
            </a:r>
          </a:p>
          <a:p>
            <a:pPr marL="0" marR="0" lvl="0" indent="0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1A41"/>
                </a:solidFill>
                <a:effectLst/>
                <a:uLnTx/>
                <a:uFillTx/>
              </a:rPr>
              <a:t>U-SQL</a:t>
            </a:r>
          </a:p>
        </p:txBody>
      </p:sp>
      <p:pic>
        <p:nvPicPr>
          <p:cNvPr id="371" name="Picture 370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2097" y="4932877"/>
            <a:ext cx="384314" cy="577916"/>
          </a:xfrm>
          <a:prstGeom prst="rect">
            <a:avLst/>
          </a:prstGeom>
        </p:spPr>
      </p:pic>
      <p:pic>
        <p:nvPicPr>
          <p:cNvPr id="10286" name="Picture 46" descr="http://ccs.miami.edu/wp-content/uploads/2016/05/Hadoop-Map-Reduce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4987" y="4171179"/>
            <a:ext cx="765578" cy="242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3" name="Freeform 5"/>
          <p:cNvSpPr>
            <a:spLocks noEditPoints="1"/>
          </p:cNvSpPr>
          <p:nvPr/>
        </p:nvSpPr>
        <p:spPr bwMode="auto">
          <a:xfrm>
            <a:off x="4359632" y="3194040"/>
            <a:ext cx="1787070" cy="1406414"/>
          </a:xfrm>
          <a:custGeom>
            <a:avLst/>
            <a:gdLst>
              <a:gd name="T0" fmla="*/ 3752 w 5983"/>
              <a:gd name="T1" fmla="*/ 2549 h 4697"/>
              <a:gd name="T2" fmla="*/ 2693 w 5983"/>
              <a:gd name="T3" fmla="*/ 4063 h 4697"/>
              <a:gd name="T4" fmla="*/ 2651 w 5983"/>
              <a:gd name="T5" fmla="*/ 4087 h 4697"/>
              <a:gd name="T6" fmla="*/ 2627 w 5983"/>
              <a:gd name="T7" fmla="*/ 4081 h 4697"/>
              <a:gd name="T8" fmla="*/ 2603 w 5983"/>
              <a:gd name="T9" fmla="*/ 4021 h 4697"/>
              <a:gd name="T10" fmla="*/ 2878 w 5983"/>
              <a:gd name="T11" fmla="*/ 3117 h 4697"/>
              <a:gd name="T12" fmla="*/ 2262 w 5983"/>
              <a:gd name="T13" fmla="*/ 3117 h 4697"/>
              <a:gd name="T14" fmla="*/ 2214 w 5983"/>
              <a:gd name="T15" fmla="*/ 3087 h 4697"/>
              <a:gd name="T16" fmla="*/ 2220 w 5983"/>
              <a:gd name="T17" fmla="*/ 3034 h 4697"/>
              <a:gd name="T18" fmla="*/ 3249 w 5983"/>
              <a:gd name="T19" fmla="*/ 1538 h 4697"/>
              <a:gd name="T20" fmla="*/ 3291 w 5983"/>
              <a:gd name="T21" fmla="*/ 1514 h 4697"/>
              <a:gd name="T22" fmla="*/ 3315 w 5983"/>
              <a:gd name="T23" fmla="*/ 1520 h 4697"/>
              <a:gd name="T24" fmla="*/ 3339 w 5983"/>
              <a:gd name="T25" fmla="*/ 1580 h 4697"/>
              <a:gd name="T26" fmla="*/ 3075 w 5983"/>
              <a:gd name="T27" fmla="*/ 2465 h 4697"/>
              <a:gd name="T28" fmla="*/ 3710 w 5983"/>
              <a:gd name="T29" fmla="*/ 2465 h 4697"/>
              <a:gd name="T30" fmla="*/ 3763 w 5983"/>
              <a:gd name="T31" fmla="*/ 2519 h 4697"/>
              <a:gd name="T32" fmla="*/ 3752 w 5983"/>
              <a:gd name="T33" fmla="*/ 2549 h 4697"/>
              <a:gd name="T34" fmla="*/ 5750 w 5983"/>
              <a:gd name="T35" fmla="*/ 754 h 4697"/>
              <a:gd name="T36" fmla="*/ 0 w 5983"/>
              <a:gd name="T37" fmla="*/ 754 h 4697"/>
              <a:gd name="T38" fmla="*/ 0 w 5983"/>
              <a:gd name="T39" fmla="*/ 4326 h 4697"/>
              <a:gd name="T40" fmla="*/ 371 w 5983"/>
              <a:gd name="T41" fmla="*/ 4697 h 4697"/>
              <a:gd name="T42" fmla="*/ 5612 w 5983"/>
              <a:gd name="T43" fmla="*/ 4697 h 4697"/>
              <a:gd name="T44" fmla="*/ 5983 w 5983"/>
              <a:gd name="T45" fmla="*/ 4326 h 4697"/>
              <a:gd name="T46" fmla="*/ 5983 w 5983"/>
              <a:gd name="T47" fmla="*/ 1095 h 4697"/>
              <a:gd name="T48" fmla="*/ 5750 w 5983"/>
              <a:gd name="T49" fmla="*/ 754 h 4697"/>
              <a:gd name="T50" fmla="*/ 3536 w 5983"/>
              <a:gd name="T51" fmla="*/ 485 h 4697"/>
              <a:gd name="T52" fmla="*/ 3363 w 5983"/>
              <a:gd name="T53" fmla="*/ 186 h 4697"/>
              <a:gd name="T54" fmla="*/ 3040 w 5983"/>
              <a:gd name="T55" fmla="*/ 0 h 4697"/>
              <a:gd name="T56" fmla="*/ 371 w 5983"/>
              <a:gd name="T57" fmla="*/ 0 h 4697"/>
              <a:gd name="T58" fmla="*/ 0 w 5983"/>
              <a:gd name="T59" fmla="*/ 371 h 4697"/>
              <a:gd name="T60" fmla="*/ 0 w 5983"/>
              <a:gd name="T61" fmla="*/ 563 h 4697"/>
              <a:gd name="T62" fmla="*/ 3602 w 5983"/>
              <a:gd name="T63" fmla="*/ 563 h 4697"/>
              <a:gd name="T64" fmla="*/ 3536 w 5983"/>
              <a:gd name="T65" fmla="*/ 485 h 46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3" h="4697">
                <a:moveTo>
                  <a:pt x="3752" y="2549"/>
                </a:moveTo>
                <a:lnTo>
                  <a:pt x="2693" y="4063"/>
                </a:lnTo>
                <a:cubicBezTo>
                  <a:pt x="2681" y="4075"/>
                  <a:pt x="2669" y="4087"/>
                  <a:pt x="2651" y="4087"/>
                </a:cubicBezTo>
                <a:cubicBezTo>
                  <a:pt x="2645" y="4087"/>
                  <a:pt x="2633" y="4087"/>
                  <a:pt x="2627" y="4081"/>
                </a:cubicBezTo>
                <a:cubicBezTo>
                  <a:pt x="2603" y="4069"/>
                  <a:pt x="2591" y="4045"/>
                  <a:pt x="2603" y="4021"/>
                </a:cubicBezTo>
                <a:lnTo>
                  <a:pt x="2878" y="3117"/>
                </a:lnTo>
                <a:lnTo>
                  <a:pt x="2262" y="3117"/>
                </a:lnTo>
                <a:cubicBezTo>
                  <a:pt x="2244" y="3117"/>
                  <a:pt x="2226" y="3105"/>
                  <a:pt x="2214" y="3087"/>
                </a:cubicBezTo>
                <a:cubicBezTo>
                  <a:pt x="2208" y="3070"/>
                  <a:pt x="2208" y="3052"/>
                  <a:pt x="2220" y="3034"/>
                </a:cubicBezTo>
                <a:lnTo>
                  <a:pt x="3249" y="1538"/>
                </a:lnTo>
                <a:cubicBezTo>
                  <a:pt x="3261" y="1526"/>
                  <a:pt x="3273" y="1514"/>
                  <a:pt x="3291" y="1514"/>
                </a:cubicBezTo>
                <a:cubicBezTo>
                  <a:pt x="3297" y="1514"/>
                  <a:pt x="3303" y="1514"/>
                  <a:pt x="3315" y="1520"/>
                </a:cubicBezTo>
                <a:cubicBezTo>
                  <a:pt x="3339" y="1532"/>
                  <a:pt x="3351" y="1556"/>
                  <a:pt x="3339" y="1580"/>
                </a:cubicBezTo>
                <a:lnTo>
                  <a:pt x="3075" y="2465"/>
                </a:lnTo>
                <a:lnTo>
                  <a:pt x="3710" y="2465"/>
                </a:lnTo>
                <a:cubicBezTo>
                  <a:pt x="3740" y="2465"/>
                  <a:pt x="3763" y="2489"/>
                  <a:pt x="3763" y="2519"/>
                </a:cubicBezTo>
                <a:cubicBezTo>
                  <a:pt x="3763" y="2531"/>
                  <a:pt x="3758" y="2537"/>
                  <a:pt x="3752" y="2549"/>
                </a:cubicBezTo>
                <a:close/>
                <a:moveTo>
                  <a:pt x="5750" y="754"/>
                </a:moveTo>
                <a:lnTo>
                  <a:pt x="0" y="754"/>
                </a:lnTo>
                <a:lnTo>
                  <a:pt x="0" y="4326"/>
                </a:lnTo>
                <a:cubicBezTo>
                  <a:pt x="0" y="4529"/>
                  <a:pt x="168" y="4697"/>
                  <a:pt x="371" y="4697"/>
                </a:cubicBezTo>
                <a:lnTo>
                  <a:pt x="5612" y="4697"/>
                </a:lnTo>
                <a:cubicBezTo>
                  <a:pt x="5816" y="4697"/>
                  <a:pt x="5983" y="4529"/>
                  <a:pt x="5983" y="4326"/>
                </a:cubicBezTo>
                <a:lnTo>
                  <a:pt x="5983" y="1095"/>
                </a:lnTo>
                <a:cubicBezTo>
                  <a:pt x="5983" y="946"/>
                  <a:pt x="5887" y="814"/>
                  <a:pt x="5750" y="754"/>
                </a:cubicBezTo>
                <a:close/>
                <a:moveTo>
                  <a:pt x="3536" y="485"/>
                </a:moveTo>
                <a:lnTo>
                  <a:pt x="3363" y="186"/>
                </a:lnTo>
                <a:cubicBezTo>
                  <a:pt x="3297" y="72"/>
                  <a:pt x="3171" y="0"/>
                  <a:pt x="3040" y="0"/>
                </a:cubicBezTo>
                <a:lnTo>
                  <a:pt x="371" y="0"/>
                </a:lnTo>
                <a:cubicBezTo>
                  <a:pt x="168" y="0"/>
                  <a:pt x="0" y="168"/>
                  <a:pt x="0" y="371"/>
                </a:cubicBezTo>
                <a:lnTo>
                  <a:pt x="0" y="563"/>
                </a:lnTo>
                <a:lnTo>
                  <a:pt x="3602" y="563"/>
                </a:lnTo>
                <a:cubicBezTo>
                  <a:pt x="3572" y="545"/>
                  <a:pt x="3554" y="515"/>
                  <a:pt x="3536" y="485"/>
                </a:cubicBezTo>
                <a:close/>
              </a:path>
            </a:pathLst>
          </a:custGeom>
          <a:solidFill>
            <a:schemeClr val="accent2"/>
          </a:solidFill>
          <a:ln w="0">
            <a:solidFill>
              <a:schemeClr val="tx2">
                <a:lumMod val="25000"/>
                <a:lumOff val="75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74702" tIns="37351" rIns="74702" bIns="37351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896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grpSp>
        <p:nvGrpSpPr>
          <p:cNvPr id="210" name="Group 209"/>
          <p:cNvGrpSpPr/>
          <p:nvPr/>
        </p:nvGrpSpPr>
        <p:grpSpPr>
          <a:xfrm flipH="1">
            <a:off x="6391106" y="2588079"/>
            <a:ext cx="1483004" cy="2937261"/>
            <a:chOff x="778955" y="2053801"/>
            <a:chExt cx="488076" cy="2937261"/>
          </a:xfrm>
        </p:grpSpPr>
        <p:cxnSp>
          <p:nvCxnSpPr>
            <p:cNvPr id="211" name="Straight Connector 210"/>
            <p:cNvCxnSpPr/>
            <p:nvPr/>
          </p:nvCxnSpPr>
          <p:spPr>
            <a:xfrm>
              <a:off x="891733" y="2053801"/>
              <a:ext cx="9541" cy="2937261"/>
            </a:xfrm>
            <a:prstGeom prst="line">
              <a:avLst/>
            </a:prstGeom>
            <a:ln w="38100" cap="sq">
              <a:solidFill>
                <a:schemeClr val="accent3">
                  <a:lumMod val="60000"/>
                  <a:lumOff val="40000"/>
                </a:schemeClr>
              </a:solidFill>
              <a:prstDash val="sysDash"/>
              <a:miter lim="800000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/>
            <p:cNvCxnSpPr/>
            <p:nvPr/>
          </p:nvCxnSpPr>
          <p:spPr>
            <a:xfrm>
              <a:off x="785855" y="2053801"/>
              <a:ext cx="99580" cy="0"/>
            </a:xfrm>
            <a:prstGeom prst="line">
              <a:avLst/>
            </a:prstGeom>
            <a:ln w="38100" cap="sq">
              <a:solidFill>
                <a:schemeClr val="accent3">
                  <a:lumMod val="60000"/>
                  <a:lumOff val="40000"/>
                </a:schemeClr>
              </a:solidFill>
              <a:prstDash val="sysDash"/>
              <a:miter lim="800000"/>
              <a:headEnd type="triangl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/>
            <p:cNvCxnSpPr/>
            <p:nvPr/>
          </p:nvCxnSpPr>
          <p:spPr>
            <a:xfrm flipH="1">
              <a:off x="902617" y="3744981"/>
              <a:ext cx="364414" cy="0"/>
            </a:xfrm>
            <a:prstGeom prst="line">
              <a:avLst/>
            </a:prstGeom>
            <a:ln w="38100" cap="sq">
              <a:solidFill>
                <a:schemeClr val="accent3">
                  <a:lumMod val="60000"/>
                  <a:lumOff val="40000"/>
                </a:schemeClr>
              </a:solidFill>
              <a:prstDash val="sysDash"/>
              <a:miter lim="800000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/>
            <p:cNvCxnSpPr/>
            <p:nvPr/>
          </p:nvCxnSpPr>
          <p:spPr>
            <a:xfrm>
              <a:off x="778955" y="4991062"/>
              <a:ext cx="120487" cy="0"/>
            </a:xfrm>
            <a:prstGeom prst="line">
              <a:avLst/>
            </a:prstGeom>
            <a:ln w="38100" cap="sq">
              <a:solidFill>
                <a:schemeClr val="accent3">
                  <a:lumMod val="60000"/>
                  <a:lumOff val="40000"/>
                </a:schemeClr>
              </a:solidFill>
              <a:prstDash val="sysDash"/>
              <a:miter lim="800000"/>
              <a:headEnd type="triangl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63" name="Straight Arrow Connector 362"/>
          <p:cNvCxnSpPr/>
          <p:nvPr/>
        </p:nvCxnSpPr>
        <p:spPr>
          <a:xfrm>
            <a:off x="2865074" y="4263066"/>
            <a:ext cx="1293346" cy="0"/>
          </a:xfrm>
          <a:prstGeom prst="straightConnector1">
            <a:avLst/>
          </a:prstGeom>
          <a:ln w="38100">
            <a:solidFill>
              <a:schemeClr val="accent3">
                <a:lumMod val="60000"/>
                <a:lumOff val="40000"/>
              </a:schemeClr>
            </a:solidFill>
            <a:prstDash val="sysDash"/>
            <a:headEnd type="none" w="lg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/>
          <p:cNvGrpSpPr/>
          <p:nvPr/>
        </p:nvGrpSpPr>
        <p:grpSpPr>
          <a:xfrm>
            <a:off x="2593730" y="1964052"/>
            <a:ext cx="271724" cy="4592592"/>
            <a:chOff x="2516027" y="1964052"/>
            <a:chExt cx="271724" cy="4592592"/>
          </a:xfrm>
        </p:grpSpPr>
        <p:cxnSp>
          <p:nvCxnSpPr>
            <p:cNvPr id="217" name="Straight Connector 216"/>
            <p:cNvCxnSpPr/>
            <p:nvPr/>
          </p:nvCxnSpPr>
          <p:spPr>
            <a:xfrm>
              <a:off x="2787751" y="1971989"/>
              <a:ext cx="0" cy="4584655"/>
            </a:xfrm>
            <a:prstGeom prst="line">
              <a:avLst/>
            </a:prstGeom>
            <a:ln w="38100" cap="sq">
              <a:solidFill>
                <a:schemeClr val="accent3">
                  <a:lumMod val="60000"/>
                  <a:lumOff val="40000"/>
                </a:schemeClr>
              </a:solidFill>
              <a:prstDash val="sysDash"/>
              <a:miter lim="800000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15" name="Group 214"/>
            <p:cNvGrpSpPr/>
            <p:nvPr/>
          </p:nvGrpSpPr>
          <p:grpSpPr>
            <a:xfrm flipH="1">
              <a:off x="2516027" y="1964052"/>
              <a:ext cx="271344" cy="4592591"/>
              <a:chOff x="778955" y="2315543"/>
              <a:chExt cx="120487" cy="2675519"/>
            </a:xfrm>
          </p:grpSpPr>
          <p:cxnSp>
            <p:nvCxnSpPr>
              <p:cNvPr id="218" name="Straight Connector 217"/>
              <p:cNvCxnSpPr/>
              <p:nvPr/>
            </p:nvCxnSpPr>
            <p:spPr>
              <a:xfrm>
                <a:off x="785855" y="2315543"/>
                <a:ext cx="99580" cy="0"/>
              </a:xfrm>
              <a:prstGeom prst="line">
                <a:avLst/>
              </a:prstGeom>
              <a:ln w="38100" cap="sq">
                <a:solidFill>
                  <a:schemeClr val="accent3">
                    <a:lumMod val="60000"/>
                    <a:lumOff val="40000"/>
                  </a:schemeClr>
                </a:solidFill>
                <a:prstDash val="sysDash"/>
                <a:miter lim="800000"/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0" name="Straight Connector 219"/>
              <p:cNvCxnSpPr/>
              <p:nvPr/>
            </p:nvCxnSpPr>
            <p:spPr>
              <a:xfrm>
                <a:off x="778955" y="4991062"/>
                <a:ext cx="120487" cy="0"/>
              </a:xfrm>
              <a:prstGeom prst="line">
                <a:avLst/>
              </a:prstGeom>
              <a:ln w="38100" cap="sq">
                <a:solidFill>
                  <a:schemeClr val="accent3">
                    <a:lumMod val="60000"/>
                    <a:lumOff val="40000"/>
                  </a:schemeClr>
                </a:solidFill>
                <a:prstDash val="sysDash"/>
                <a:miter lim="800000"/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19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GB" dirty="0">
                <a:solidFill>
                  <a:srgbClr val="00B0F0"/>
                </a:solidFill>
              </a:rPr>
              <a:t>Data Lake Store</a:t>
            </a:r>
          </a:p>
        </p:txBody>
      </p:sp>
    </p:spTree>
    <p:extLst>
      <p:ext uri="{BB962C8B-B14F-4D97-AF65-F5344CB8AC3E}">
        <p14:creationId xmlns:p14="http://schemas.microsoft.com/office/powerpoint/2010/main" val="369226831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L Store: Ingress</a:t>
            </a:r>
          </a:p>
        </p:txBody>
      </p:sp>
      <p:sp>
        <p:nvSpPr>
          <p:cNvPr id="54" name="Rectangle 53"/>
          <p:cNvSpPr/>
          <p:nvPr/>
        </p:nvSpPr>
        <p:spPr>
          <a:xfrm>
            <a:off x="434975" y="1483823"/>
            <a:ext cx="11322050" cy="488126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34975" y="1123536"/>
            <a:ext cx="11322050" cy="369332"/>
          </a:xfrm>
          <a:prstGeom prst="rect">
            <a:avLst/>
          </a:prstGeom>
          <a:solidFill>
            <a:schemeClr val="accent1"/>
          </a:solidFill>
        </p:spPr>
        <p:txBody>
          <a:bodyPr wrap="square" lIns="91440" tIns="45720" rIns="91440" bIns="4572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Data can be ingested into Azure Data Lake Store from a variety of sources</a:t>
            </a:r>
            <a:r>
              <a:rPr kumimoji="0" lang="en-US" sz="1800" b="0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/>
                </a:solidFill>
                <a:effectLst/>
                <a:uLnTx/>
                <a:uFillTx/>
                <a:ea typeface="Segoe UI" pitchFamily="34" charset="0"/>
                <a:cs typeface="Segoe UI" pitchFamily="34" charset="0"/>
              </a:rPr>
              <a:t> </a:t>
            </a:r>
          </a:p>
        </p:txBody>
      </p:sp>
      <p:cxnSp>
        <p:nvCxnSpPr>
          <p:cNvPr id="32" name="Straight Connector 31"/>
          <p:cNvCxnSpPr/>
          <p:nvPr/>
        </p:nvCxnSpPr>
        <p:spPr>
          <a:xfrm>
            <a:off x="2737856" y="-13815"/>
            <a:ext cx="640080" cy="0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1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FAD755-3BD0-2447-A9DF-109DAABEFD99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cxnSp>
        <p:nvCxnSpPr>
          <p:cNvPr id="95" name="Straight Connector 94"/>
          <p:cNvCxnSpPr/>
          <p:nvPr/>
        </p:nvCxnSpPr>
        <p:spPr>
          <a:xfrm flipV="1">
            <a:off x="6004091" y="4373458"/>
            <a:ext cx="0" cy="1255214"/>
          </a:xfrm>
          <a:prstGeom prst="line">
            <a:avLst/>
          </a:prstGeom>
          <a:ln w="38100" cap="rnd">
            <a:solidFill>
              <a:srgbClr val="00BCF2"/>
            </a:solidFill>
            <a:headEnd type="none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tangle 95"/>
          <p:cNvSpPr/>
          <p:nvPr/>
        </p:nvSpPr>
        <p:spPr bwMode="auto">
          <a:xfrm>
            <a:off x="5437869" y="4735644"/>
            <a:ext cx="1211495" cy="7069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38" tIns="149230" rIns="186538" bIns="14923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51083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10312870" y="3710973"/>
            <a:ext cx="1628672" cy="2197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323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ea typeface="Segoe UI" pitchFamily="34" charset="0"/>
                <a:cs typeface="Segoe UI" pitchFamily="34" charset="0"/>
              </a:rPr>
              <a:t>Azure Storage Blobs</a:t>
            </a:r>
          </a:p>
        </p:txBody>
      </p:sp>
      <p:grpSp>
        <p:nvGrpSpPr>
          <p:cNvPr id="117" name="Group 116"/>
          <p:cNvGrpSpPr/>
          <p:nvPr/>
        </p:nvGrpSpPr>
        <p:grpSpPr>
          <a:xfrm>
            <a:off x="10261632" y="5306438"/>
            <a:ext cx="1587197" cy="1127866"/>
            <a:chOff x="10059909" y="5202860"/>
            <a:chExt cx="1555996" cy="1105851"/>
          </a:xfrm>
        </p:grpSpPr>
        <p:sp>
          <p:nvSpPr>
            <p:cNvPr id="118" name="Rectangle 117"/>
            <p:cNvSpPr/>
            <p:nvPr/>
          </p:nvSpPr>
          <p:spPr>
            <a:xfrm>
              <a:off x="10201030" y="6093267"/>
              <a:ext cx="1414875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323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Custom programs</a:t>
              </a:r>
            </a:p>
          </p:txBody>
        </p:sp>
        <p:grpSp>
          <p:nvGrpSpPr>
            <p:cNvPr id="119" name="Group 118"/>
            <p:cNvGrpSpPr/>
            <p:nvPr/>
          </p:nvGrpSpPr>
          <p:grpSpPr>
            <a:xfrm>
              <a:off x="10059909" y="5202860"/>
              <a:ext cx="1284366" cy="704227"/>
              <a:chOff x="9421813" y="4852988"/>
              <a:chExt cx="1922462" cy="1054100"/>
            </a:xfrm>
          </p:grpSpPr>
          <p:sp>
            <p:nvSpPr>
              <p:cNvPr id="120" name="Freeform 53"/>
              <p:cNvSpPr>
                <a:spLocks/>
              </p:cNvSpPr>
              <p:nvPr/>
            </p:nvSpPr>
            <p:spPr bwMode="auto">
              <a:xfrm>
                <a:off x="11122025" y="5799138"/>
                <a:ext cx="222250" cy="107950"/>
              </a:xfrm>
              <a:custGeom>
                <a:avLst/>
                <a:gdLst>
                  <a:gd name="T0" fmla="*/ 51 w 100"/>
                  <a:gd name="T1" fmla="*/ 1 h 49"/>
                  <a:gd name="T2" fmla="*/ 0 w 100"/>
                  <a:gd name="T3" fmla="*/ 49 h 49"/>
                  <a:gd name="T4" fmla="*/ 99 w 100"/>
                  <a:gd name="T5" fmla="*/ 49 h 49"/>
                  <a:gd name="T6" fmla="*/ 51 w 100"/>
                  <a:gd name="T7" fmla="*/ 1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0" h="49">
                    <a:moveTo>
                      <a:pt x="51" y="1"/>
                    </a:moveTo>
                    <a:cubicBezTo>
                      <a:pt x="24" y="0"/>
                      <a:pt x="1" y="21"/>
                      <a:pt x="0" y="49"/>
                    </a:cubicBezTo>
                    <a:cubicBezTo>
                      <a:pt x="99" y="49"/>
                      <a:pt x="99" y="49"/>
                      <a:pt x="99" y="49"/>
                    </a:cubicBezTo>
                    <a:cubicBezTo>
                      <a:pt x="100" y="21"/>
                      <a:pt x="79" y="2"/>
                      <a:pt x="51" y="1"/>
                    </a:cubicBezTo>
                    <a:close/>
                  </a:path>
                </a:pathLst>
              </a:cu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268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 54"/>
              <p:cNvSpPr>
                <a:spLocks/>
              </p:cNvSpPr>
              <p:nvPr/>
            </p:nvSpPr>
            <p:spPr bwMode="auto">
              <a:xfrm>
                <a:off x="10712450" y="5800725"/>
                <a:ext cx="473075" cy="60325"/>
              </a:xfrm>
              <a:custGeom>
                <a:avLst/>
                <a:gdLst>
                  <a:gd name="T0" fmla="*/ 210 w 213"/>
                  <a:gd name="T1" fmla="*/ 27 h 27"/>
                  <a:gd name="T2" fmla="*/ 188 w 213"/>
                  <a:gd name="T3" fmla="*/ 17 h 27"/>
                  <a:gd name="T4" fmla="*/ 142 w 213"/>
                  <a:gd name="T5" fmla="*/ 8 h 27"/>
                  <a:gd name="T6" fmla="*/ 0 w 213"/>
                  <a:gd name="T7" fmla="*/ 8 h 27"/>
                  <a:gd name="T8" fmla="*/ 0 w 213"/>
                  <a:gd name="T9" fmla="*/ 0 h 27"/>
                  <a:gd name="T10" fmla="*/ 142 w 213"/>
                  <a:gd name="T11" fmla="*/ 0 h 27"/>
                  <a:gd name="T12" fmla="*/ 191 w 213"/>
                  <a:gd name="T13" fmla="*/ 10 h 27"/>
                  <a:gd name="T14" fmla="*/ 213 w 213"/>
                  <a:gd name="T15" fmla="*/ 20 h 27"/>
                  <a:gd name="T16" fmla="*/ 210 w 213"/>
                  <a:gd name="T17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3" h="27">
                    <a:moveTo>
                      <a:pt x="210" y="27"/>
                    </a:moveTo>
                    <a:cubicBezTo>
                      <a:pt x="188" y="17"/>
                      <a:pt x="188" y="17"/>
                      <a:pt x="188" y="17"/>
                    </a:cubicBezTo>
                    <a:cubicBezTo>
                      <a:pt x="177" y="12"/>
                      <a:pt x="155" y="8"/>
                      <a:pt x="14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42" y="0"/>
                      <a:pt x="142" y="0"/>
                      <a:pt x="142" y="0"/>
                    </a:cubicBezTo>
                    <a:cubicBezTo>
                      <a:pt x="157" y="0"/>
                      <a:pt x="179" y="5"/>
                      <a:pt x="191" y="10"/>
                    </a:cubicBezTo>
                    <a:cubicBezTo>
                      <a:pt x="213" y="20"/>
                      <a:pt x="213" y="20"/>
                      <a:pt x="213" y="20"/>
                    </a:cubicBezTo>
                    <a:lnTo>
                      <a:pt x="210" y="27"/>
                    </a:lnTo>
                    <a:close/>
                  </a:path>
                </a:pathLst>
              </a:cu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268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Oval 55"/>
              <p:cNvSpPr>
                <a:spLocks noChangeArrowheads="1"/>
              </p:cNvSpPr>
              <p:nvPr/>
            </p:nvSpPr>
            <p:spPr bwMode="auto">
              <a:xfrm>
                <a:off x="9915525" y="5627688"/>
                <a:ext cx="493713" cy="104775"/>
              </a:xfrm>
              <a:prstGeom prst="ellipse">
                <a:avLst/>
              </a:prstGeom>
              <a:solidFill>
                <a:srgbClr val="4423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268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 56"/>
              <p:cNvSpPr>
                <a:spLocks/>
              </p:cNvSpPr>
              <p:nvPr/>
            </p:nvSpPr>
            <p:spPr bwMode="auto">
              <a:xfrm>
                <a:off x="9555163" y="4852988"/>
                <a:ext cx="1193800" cy="828675"/>
              </a:xfrm>
              <a:custGeom>
                <a:avLst/>
                <a:gdLst>
                  <a:gd name="T0" fmla="*/ 527 w 537"/>
                  <a:gd name="T1" fmla="*/ 373 h 373"/>
                  <a:gd name="T2" fmla="*/ 537 w 537"/>
                  <a:gd name="T3" fmla="*/ 362 h 373"/>
                  <a:gd name="T4" fmla="*/ 537 w 537"/>
                  <a:gd name="T5" fmla="*/ 11 h 373"/>
                  <a:gd name="T6" fmla="*/ 527 w 537"/>
                  <a:gd name="T7" fmla="*/ 0 h 373"/>
                  <a:gd name="T8" fmla="*/ 11 w 537"/>
                  <a:gd name="T9" fmla="*/ 0 h 373"/>
                  <a:gd name="T10" fmla="*/ 0 w 537"/>
                  <a:gd name="T11" fmla="*/ 11 h 373"/>
                  <a:gd name="T12" fmla="*/ 0 w 537"/>
                  <a:gd name="T13" fmla="*/ 362 h 373"/>
                  <a:gd name="T14" fmla="*/ 11 w 537"/>
                  <a:gd name="T15" fmla="*/ 373 h 373"/>
                  <a:gd name="T16" fmla="*/ 527 w 537"/>
                  <a:gd name="T17" fmla="*/ 373 h 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7" h="373">
                    <a:moveTo>
                      <a:pt x="527" y="373"/>
                    </a:moveTo>
                    <a:cubicBezTo>
                      <a:pt x="532" y="373"/>
                      <a:pt x="537" y="368"/>
                      <a:pt x="537" y="362"/>
                    </a:cubicBezTo>
                    <a:cubicBezTo>
                      <a:pt x="537" y="11"/>
                      <a:pt x="537" y="11"/>
                      <a:pt x="537" y="11"/>
                    </a:cubicBezTo>
                    <a:cubicBezTo>
                      <a:pt x="537" y="5"/>
                      <a:pt x="532" y="0"/>
                      <a:pt x="527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362"/>
                      <a:pt x="0" y="362"/>
                      <a:pt x="0" y="362"/>
                    </a:cubicBezTo>
                    <a:cubicBezTo>
                      <a:pt x="0" y="368"/>
                      <a:pt x="5" y="373"/>
                      <a:pt x="11" y="373"/>
                    </a:cubicBezTo>
                    <a:lnTo>
                      <a:pt x="527" y="373"/>
                    </a:lnTo>
                    <a:close/>
                  </a:path>
                </a:pathLst>
              </a:custGeom>
              <a:solidFill>
                <a:srgbClr val="4423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268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Rectangle 57"/>
              <p:cNvSpPr>
                <a:spLocks noChangeArrowheads="1"/>
              </p:cNvSpPr>
              <p:nvPr/>
            </p:nvSpPr>
            <p:spPr bwMode="auto">
              <a:xfrm>
                <a:off x="9593263" y="4889500"/>
                <a:ext cx="1117600" cy="633413"/>
              </a:xfrm>
              <a:prstGeom prst="rect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268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Rectangle 58"/>
              <p:cNvSpPr>
                <a:spLocks noChangeArrowheads="1"/>
              </p:cNvSpPr>
              <p:nvPr/>
            </p:nvSpPr>
            <p:spPr bwMode="auto">
              <a:xfrm>
                <a:off x="9421813" y="5849938"/>
                <a:ext cx="1477963" cy="55563"/>
              </a:xfrm>
              <a:prstGeom prst="rect">
                <a:avLst/>
              </a:prstGeom>
              <a:solidFill>
                <a:srgbClr val="4423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268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 59"/>
              <p:cNvSpPr>
                <a:spLocks/>
              </p:cNvSpPr>
              <p:nvPr/>
            </p:nvSpPr>
            <p:spPr bwMode="auto">
              <a:xfrm>
                <a:off x="9421813" y="5783263"/>
                <a:ext cx="1477963" cy="66675"/>
              </a:xfrm>
              <a:custGeom>
                <a:avLst/>
                <a:gdLst>
                  <a:gd name="T0" fmla="*/ 931 w 931"/>
                  <a:gd name="T1" fmla="*/ 42 h 42"/>
                  <a:gd name="T2" fmla="*/ 0 w 931"/>
                  <a:gd name="T3" fmla="*/ 42 h 42"/>
                  <a:gd name="T4" fmla="*/ 59 w 931"/>
                  <a:gd name="T5" fmla="*/ 0 h 42"/>
                  <a:gd name="T6" fmla="*/ 873 w 931"/>
                  <a:gd name="T7" fmla="*/ 0 h 42"/>
                  <a:gd name="T8" fmla="*/ 931 w 931"/>
                  <a:gd name="T9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1" h="42">
                    <a:moveTo>
                      <a:pt x="931" y="42"/>
                    </a:moveTo>
                    <a:lnTo>
                      <a:pt x="0" y="42"/>
                    </a:lnTo>
                    <a:lnTo>
                      <a:pt x="59" y="0"/>
                    </a:lnTo>
                    <a:lnTo>
                      <a:pt x="873" y="0"/>
                    </a:lnTo>
                    <a:lnTo>
                      <a:pt x="931" y="42"/>
                    </a:lnTo>
                    <a:close/>
                  </a:path>
                </a:pathLst>
              </a:cu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268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127" name="Group 126"/>
              <p:cNvGrpSpPr/>
              <p:nvPr/>
            </p:nvGrpSpPr>
            <p:grpSpPr>
              <a:xfrm>
                <a:off x="10923587" y="4883150"/>
                <a:ext cx="420688" cy="798513"/>
                <a:chOff x="11093450" y="4883150"/>
                <a:chExt cx="420688" cy="798513"/>
              </a:xfrm>
            </p:grpSpPr>
            <p:sp>
              <p:nvSpPr>
                <p:cNvPr id="128" name="AutoShape 63"/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11093450" y="4886325"/>
                  <a:ext cx="420688" cy="79216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3268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9" name="Freeform 65"/>
                <p:cNvSpPr>
                  <a:spLocks/>
                </p:cNvSpPr>
                <p:nvPr/>
              </p:nvSpPr>
              <p:spPr bwMode="auto">
                <a:xfrm>
                  <a:off x="11095038" y="4883150"/>
                  <a:ext cx="417513" cy="798513"/>
                </a:xfrm>
                <a:custGeom>
                  <a:avLst/>
                  <a:gdLst>
                    <a:gd name="T0" fmla="*/ 149 w 149"/>
                    <a:gd name="T1" fmla="*/ 280 h 287"/>
                    <a:gd name="T2" fmla="*/ 143 w 149"/>
                    <a:gd name="T3" fmla="*/ 287 h 287"/>
                    <a:gd name="T4" fmla="*/ 6 w 149"/>
                    <a:gd name="T5" fmla="*/ 287 h 287"/>
                    <a:gd name="T6" fmla="*/ 0 w 149"/>
                    <a:gd name="T7" fmla="*/ 280 h 287"/>
                    <a:gd name="T8" fmla="*/ 0 w 149"/>
                    <a:gd name="T9" fmla="*/ 7 h 287"/>
                    <a:gd name="T10" fmla="*/ 6 w 149"/>
                    <a:gd name="T11" fmla="*/ 0 h 287"/>
                    <a:gd name="T12" fmla="*/ 143 w 149"/>
                    <a:gd name="T13" fmla="*/ 0 h 287"/>
                    <a:gd name="T14" fmla="*/ 149 w 149"/>
                    <a:gd name="T15" fmla="*/ 7 h 287"/>
                    <a:gd name="T16" fmla="*/ 149 w 149"/>
                    <a:gd name="T17" fmla="*/ 280 h 2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49" h="287">
                      <a:moveTo>
                        <a:pt x="149" y="280"/>
                      </a:moveTo>
                      <a:cubicBezTo>
                        <a:pt x="149" y="284"/>
                        <a:pt x="146" y="287"/>
                        <a:pt x="143" y="287"/>
                      </a:cubicBezTo>
                      <a:cubicBezTo>
                        <a:pt x="6" y="287"/>
                        <a:pt x="6" y="287"/>
                        <a:pt x="6" y="287"/>
                      </a:cubicBezTo>
                      <a:cubicBezTo>
                        <a:pt x="3" y="287"/>
                        <a:pt x="0" y="284"/>
                        <a:pt x="0" y="280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143" y="0"/>
                        <a:pt x="143" y="0"/>
                        <a:pt x="143" y="0"/>
                      </a:cubicBezTo>
                      <a:cubicBezTo>
                        <a:pt x="146" y="0"/>
                        <a:pt x="149" y="3"/>
                        <a:pt x="149" y="7"/>
                      </a:cubicBezTo>
                      <a:lnTo>
                        <a:pt x="149" y="280"/>
                      </a:lnTo>
                      <a:close/>
                    </a:path>
                  </a:pathLst>
                </a:custGeom>
                <a:solidFill>
                  <a:srgbClr val="442359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3268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0" name="Rectangle 66"/>
                <p:cNvSpPr>
                  <a:spLocks noChangeArrowheads="1"/>
                </p:cNvSpPr>
                <p:nvPr/>
              </p:nvSpPr>
              <p:spPr bwMode="auto">
                <a:xfrm>
                  <a:off x="11114088" y="4967288"/>
                  <a:ext cx="379413" cy="7938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3268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1" name="Rectangle 68"/>
                <p:cNvSpPr>
                  <a:spLocks noChangeArrowheads="1"/>
                </p:cNvSpPr>
                <p:nvPr/>
              </p:nvSpPr>
              <p:spPr bwMode="auto">
                <a:xfrm>
                  <a:off x="11114088" y="5060950"/>
                  <a:ext cx="379413" cy="635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3268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2" name="Rectangle 70"/>
                <p:cNvSpPr>
                  <a:spLocks noChangeArrowheads="1"/>
                </p:cNvSpPr>
                <p:nvPr/>
              </p:nvSpPr>
              <p:spPr bwMode="auto">
                <a:xfrm>
                  <a:off x="11114088" y="5153025"/>
                  <a:ext cx="379413" cy="635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3268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3" name="Rectangle 72"/>
                <p:cNvSpPr>
                  <a:spLocks noChangeArrowheads="1"/>
                </p:cNvSpPr>
                <p:nvPr/>
              </p:nvSpPr>
              <p:spPr bwMode="auto">
                <a:xfrm>
                  <a:off x="11114088" y="5245100"/>
                  <a:ext cx="379413" cy="7938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3268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4" name="Oval 74"/>
                <p:cNvSpPr>
                  <a:spLocks noChangeArrowheads="1"/>
                </p:cNvSpPr>
                <p:nvPr/>
              </p:nvSpPr>
              <p:spPr bwMode="auto">
                <a:xfrm>
                  <a:off x="11280775" y="5503863"/>
                  <a:ext cx="47625" cy="46038"/>
                </a:xfrm>
                <a:prstGeom prst="ellipse">
                  <a:avLst/>
                </a:prstGeom>
                <a:solidFill>
                  <a:srgbClr val="DFDFD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3268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5" name="Freeform 75"/>
                <p:cNvSpPr>
                  <a:spLocks/>
                </p:cNvSpPr>
                <p:nvPr/>
              </p:nvSpPr>
              <p:spPr bwMode="auto">
                <a:xfrm>
                  <a:off x="11096625" y="5649913"/>
                  <a:ext cx="417513" cy="31750"/>
                </a:xfrm>
                <a:custGeom>
                  <a:avLst/>
                  <a:gdLst>
                    <a:gd name="T0" fmla="*/ 0 w 149"/>
                    <a:gd name="T1" fmla="*/ 0 h 11"/>
                    <a:gd name="T2" fmla="*/ 0 w 149"/>
                    <a:gd name="T3" fmla="*/ 4 h 11"/>
                    <a:gd name="T4" fmla="*/ 6 w 149"/>
                    <a:gd name="T5" fmla="*/ 11 h 11"/>
                    <a:gd name="T6" fmla="*/ 143 w 149"/>
                    <a:gd name="T7" fmla="*/ 11 h 11"/>
                    <a:gd name="T8" fmla="*/ 149 w 149"/>
                    <a:gd name="T9" fmla="*/ 4 h 11"/>
                    <a:gd name="T10" fmla="*/ 149 w 149"/>
                    <a:gd name="T11" fmla="*/ 0 h 11"/>
                    <a:gd name="T12" fmla="*/ 0 w 149"/>
                    <a:gd name="T13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49" h="11">
                      <a:moveTo>
                        <a:pt x="0" y="0"/>
                      </a:move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8"/>
                        <a:pt x="3" y="11"/>
                        <a:pt x="6" y="11"/>
                      </a:cubicBezTo>
                      <a:cubicBezTo>
                        <a:pt x="143" y="11"/>
                        <a:pt x="143" y="11"/>
                        <a:pt x="143" y="11"/>
                      </a:cubicBezTo>
                      <a:cubicBezTo>
                        <a:pt x="146" y="11"/>
                        <a:pt x="149" y="8"/>
                        <a:pt x="149" y="4"/>
                      </a:cubicBezTo>
                      <a:cubicBezTo>
                        <a:pt x="149" y="0"/>
                        <a:pt x="149" y="0"/>
                        <a:pt x="149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3268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6" name="Rectangle 76"/>
                <p:cNvSpPr>
                  <a:spLocks noChangeArrowheads="1"/>
                </p:cNvSpPr>
                <p:nvPr/>
              </p:nvSpPr>
              <p:spPr bwMode="auto">
                <a:xfrm>
                  <a:off x="11096625" y="5600700"/>
                  <a:ext cx="417513" cy="49213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3268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</p:grpSp>
      <p:sp>
        <p:nvSpPr>
          <p:cNvPr id="138" name="TextBox 137"/>
          <p:cNvSpPr txBox="1"/>
          <p:nvPr/>
        </p:nvSpPr>
        <p:spPr>
          <a:xfrm>
            <a:off x="9315952" y="4082898"/>
            <a:ext cx="1404591" cy="91816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defTabSz="932617" eaLnBrk="1" fontAlgn="auto" latinLnBrk="0" hangingPunct="1">
              <a:lnSpc>
                <a:spcPct val="100000"/>
              </a:lnSpc>
              <a:spcBef>
                <a:spcPts val="10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rPr>
              <a:t>.NET SDK </a:t>
            </a:r>
          </a:p>
          <a:p>
            <a:pPr marL="0" marR="0" lvl="0" indent="0" defTabSz="932617" eaLnBrk="1" fontAlgn="auto" latinLnBrk="0" hangingPunct="1">
              <a:lnSpc>
                <a:spcPct val="100000"/>
              </a:lnSpc>
              <a:spcBef>
                <a:spcPts val="10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rPr>
              <a:t>CLI</a:t>
            </a:r>
          </a:p>
          <a:p>
            <a:pPr marL="0" marR="0" lvl="0" indent="0" defTabSz="932617" eaLnBrk="1" fontAlgn="auto" latinLnBrk="0" hangingPunct="1">
              <a:lnSpc>
                <a:spcPct val="100000"/>
              </a:lnSpc>
              <a:spcBef>
                <a:spcPts val="10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rPr>
              <a:t>Azure Portal</a:t>
            </a:r>
          </a:p>
          <a:p>
            <a:pPr marL="0" marR="0" lvl="0" indent="0" defTabSz="932617" eaLnBrk="1" fontAlgn="auto" latinLnBrk="0" hangingPunct="1">
              <a:lnSpc>
                <a:spcPct val="100000"/>
              </a:lnSpc>
              <a:spcBef>
                <a:spcPts val="10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rPr>
              <a:t>Azure PowerShell</a:t>
            </a:r>
          </a:p>
        </p:txBody>
      </p:sp>
      <p:cxnSp>
        <p:nvCxnSpPr>
          <p:cNvPr id="139" name="Straight Connector 14"/>
          <p:cNvCxnSpPr/>
          <p:nvPr/>
        </p:nvCxnSpPr>
        <p:spPr>
          <a:xfrm rot="16200000" flipV="1">
            <a:off x="8353872" y="2643736"/>
            <a:ext cx="1114012" cy="3812446"/>
          </a:xfrm>
          <a:prstGeom prst="bentConnector2">
            <a:avLst/>
          </a:prstGeom>
          <a:ln w="38100" cap="rnd">
            <a:solidFill>
              <a:srgbClr val="00BCF2"/>
            </a:solidFill>
            <a:headEnd type="none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/>
          <p:cNvCxnSpPr/>
          <p:nvPr/>
        </p:nvCxnSpPr>
        <p:spPr>
          <a:xfrm>
            <a:off x="2987336" y="4043262"/>
            <a:ext cx="1881783" cy="0"/>
          </a:xfrm>
          <a:prstGeom prst="line">
            <a:avLst/>
          </a:prstGeom>
          <a:ln w="38100" cap="rnd">
            <a:solidFill>
              <a:srgbClr val="00BCF2"/>
            </a:solidFill>
            <a:headEnd type="none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TextBox 140"/>
          <p:cNvSpPr txBox="1"/>
          <p:nvPr/>
        </p:nvSpPr>
        <p:spPr>
          <a:xfrm>
            <a:off x="3074903" y="3711476"/>
            <a:ext cx="1533768" cy="2197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3261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rPr>
              <a:t>Azure Data Factory</a:t>
            </a:r>
          </a:p>
        </p:txBody>
      </p:sp>
      <p:cxnSp>
        <p:nvCxnSpPr>
          <p:cNvPr id="142" name="Straight Connector 141"/>
          <p:cNvCxnSpPr/>
          <p:nvPr/>
        </p:nvCxnSpPr>
        <p:spPr>
          <a:xfrm>
            <a:off x="2596412" y="3488250"/>
            <a:ext cx="364810" cy="0"/>
          </a:xfrm>
          <a:prstGeom prst="line">
            <a:avLst/>
          </a:prstGeom>
          <a:ln w="38100" cap="rnd">
            <a:solidFill>
              <a:srgbClr val="00BCF2"/>
            </a:solidFill>
            <a:headEnd type="none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Connector 142"/>
          <p:cNvCxnSpPr/>
          <p:nvPr/>
        </p:nvCxnSpPr>
        <p:spPr>
          <a:xfrm>
            <a:off x="2596412" y="4639317"/>
            <a:ext cx="364810" cy="0"/>
          </a:xfrm>
          <a:prstGeom prst="line">
            <a:avLst/>
          </a:prstGeom>
          <a:ln w="38100" cap="rnd">
            <a:solidFill>
              <a:srgbClr val="00BCF2"/>
            </a:solidFill>
            <a:headEnd type="none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"/>
          <p:cNvCxnSpPr/>
          <p:nvPr/>
        </p:nvCxnSpPr>
        <p:spPr>
          <a:xfrm flipV="1">
            <a:off x="2596410" y="2347066"/>
            <a:ext cx="12955" cy="3392392"/>
          </a:xfrm>
          <a:prstGeom prst="bentConnector3">
            <a:avLst>
              <a:gd name="adj1" fmla="val 2957142"/>
            </a:avLst>
          </a:prstGeom>
          <a:ln w="38100" cap="rnd">
            <a:solidFill>
              <a:srgbClr val="00BCF2"/>
            </a:solidFill>
            <a:headEnd type="none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7" name="Group 166"/>
          <p:cNvGrpSpPr/>
          <p:nvPr/>
        </p:nvGrpSpPr>
        <p:grpSpPr>
          <a:xfrm>
            <a:off x="5519231" y="3109482"/>
            <a:ext cx="1027461" cy="1085530"/>
            <a:chOff x="5410733" y="3048788"/>
            <a:chExt cx="1007263" cy="1064342"/>
          </a:xfrm>
        </p:grpSpPr>
        <p:sp>
          <p:nvSpPr>
            <p:cNvPr id="168" name="TextBox 167"/>
            <p:cNvSpPr txBox="1"/>
            <p:nvPr/>
          </p:nvSpPr>
          <p:spPr>
            <a:xfrm>
              <a:off x="5410733" y="3882298"/>
              <a:ext cx="1007263" cy="2308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3268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12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rPr>
                <a:t>ADL Store</a:t>
              </a:r>
            </a:p>
          </p:txBody>
        </p:sp>
        <p:pic>
          <p:nvPicPr>
            <p:cNvPr id="169" name="Picture 16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61897" y="3048788"/>
              <a:ext cx="904934" cy="904934"/>
            </a:xfrm>
            <a:prstGeom prst="rect">
              <a:avLst/>
            </a:prstGeom>
          </p:spPr>
        </p:pic>
      </p:grpSp>
      <p:sp>
        <p:nvSpPr>
          <p:cNvPr id="170" name="TextBox 169"/>
          <p:cNvSpPr txBox="1"/>
          <p:nvPr/>
        </p:nvSpPr>
        <p:spPr>
          <a:xfrm>
            <a:off x="7189837" y="3047253"/>
            <a:ext cx="2352266" cy="2197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3261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rPr>
              <a:t>ADL built-in copy service</a:t>
            </a:r>
          </a:p>
        </p:txBody>
      </p:sp>
      <p:cxnSp>
        <p:nvCxnSpPr>
          <p:cNvPr id="171" name="Straight Connector 170"/>
          <p:cNvCxnSpPr/>
          <p:nvPr/>
        </p:nvCxnSpPr>
        <p:spPr>
          <a:xfrm flipH="1">
            <a:off x="7004654" y="3295513"/>
            <a:ext cx="3250377" cy="0"/>
          </a:xfrm>
          <a:prstGeom prst="line">
            <a:avLst/>
          </a:prstGeom>
          <a:ln w="38100" cap="rnd">
            <a:solidFill>
              <a:srgbClr val="00BCF2"/>
            </a:solidFill>
            <a:headEnd type="none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TextBox 171"/>
          <p:cNvSpPr txBox="1"/>
          <p:nvPr/>
        </p:nvSpPr>
        <p:spPr>
          <a:xfrm>
            <a:off x="4970921" y="5139600"/>
            <a:ext cx="206634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3261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rPr>
              <a:t>Azure Stream Analytics</a:t>
            </a:r>
          </a:p>
        </p:txBody>
      </p:sp>
      <p:sp>
        <p:nvSpPr>
          <p:cNvPr id="173" name="TextBox 172"/>
          <p:cNvSpPr txBox="1"/>
          <p:nvPr/>
        </p:nvSpPr>
        <p:spPr>
          <a:xfrm>
            <a:off x="7189837" y="3302970"/>
            <a:ext cx="1533768" cy="2197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3261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rPr>
              <a:t>Azure Data Factory</a:t>
            </a:r>
          </a:p>
        </p:txBody>
      </p:sp>
      <p:sp>
        <p:nvSpPr>
          <p:cNvPr id="174" name="TextBox 173"/>
          <p:cNvSpPr txBox="1"/>
          <p:nvPr/>
        </p:nvSpPr>
        <p:spPr>
          <a:xfrm>
            <a:off x="7199340" y="3546030"/>
            <a:ext cx="1533768" cy="2197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3261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rPr>
              <a:t>Hadoop DistCp</a:t>
            </a:r>
          </a:p>
        </p:txBody>
      </p:sp>
      <p:pic>
        <p:nvPicPr>
          <p:cNvPr id="175" name="Graphic 4"/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80545" y="4659761"/>
            <a:ext cx="530933" cy="53093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9316" y="5783015"/>
            <a:ext cx="400497" cy="400497"/>
          </a:xfrm>
          <a:prstGeom prst="rect">
            <a:avLst/>
          </a:prstGeom>
        </p:spPr>
      </p:pic>
      <p:grpSp>
        <p:nvGrpSpPr>
          <p:cNvPr id="179" name="Group 178"/>
          <p:cNvGrpSpPr/>
          <p:nvPr/>
        </p:nvGrpSpPr>
        <p:grpSpPr>
          <a:xfrm>
            <a:off x="663440" y="1734245"/>
            <a:ext cx="1932970" cy="4700058"/>
            <a:chOff x="663440" y="1734245"/>
            <a:chExt cx="1932970" cy="4700058"/>
          </a:xfrm>
        </p:grpSpPr>
        <p:grpSp>
          <p:nvGrpSpPr>
            <p:cNvPr id="180" name="Group 179"/>
            <p:cNvGrpSpPr/>
            <p:nvPr/>
          </p:nvGrpSpPr>
          <p:grpSpPr>
            <a:xfrm>
              <a:off x="663440" y="1734245"/>
              <a:ext cx="1932970" cy="4700058"/>
              <a:chOff x="663440" y="1734245"/>
              <a:chExt cx="1932970" cy="4700058"/>
            </a:xfrm>
          </p:grpSpPr>
          <p:sp>
            <p:nvSpPr>
              <p:cNvPr id="183" name="Rectangle 182"/>
              <p:cNvSpPr/>
              <p:nvPr/>
            </p:nvSpPr>
            <p:spPr>
              <a:xfrm>
                <a:off x="1012936" y="2592662"/>
                <a:ext cx="1119290" cy="219733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ctr" defTabSz="93234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ea typeface="Segoe UI" pitchFamily="34" charset="0"/>
                    <a:cs typeface="Segoe UI" pitchFamily="34" charset="0"/>
                  </a:rPr>
                  <a:t>Azure SQL DB</a:t>
                </a:r>
              </a:p>
            </p:txBody>
          </p:sp>
          <p:grpSp>
            <p:nvGrpSpPr>
              <p:cNvPr id="184" name="Group 183"/>
              <p:cNvGrpSpPr/>
              <p:nvPr/>
            </p:nvGrpSpPr>
            <p:grpSpPr>
              <a:xfrm>
                <a:off x="1244746" y="1734245"/>
                <a:ext cx="1060678" cy="774914"/>
                <a:chOff x="1171818" y="1700394"/>
                <a:chExt cx="1039827" cy="759788"/>
              </a:xfrm>
              <a:solidFill>
                <a:srgbClr val="0070C0"/>
              </a:solidFill>
            </p:grpSpPr>
            <p:sp>
              <p:nvSpPr>
                <p:cNvPr id="190" name="Freeform 106"/>
                <p:cNvSpPr>
                  <a:spLocks noEditPoints="1"/>
                </p:cNvSpPr>
                <p:nvPr/>
              </p:nvSpPr>
              <p:spPr bwMode="auto">
                <a:xfrm>
                  <a:off x="1171818" y="1700394"/>
                  <a:ext cx="642781" cy="751095"/>
                </a:xfrm>
                <a:custGeom>
                  <a:avLst/>
                  <a:gdLst>
                    <a:gd name="T0" fmla="*/ 35 w 70"/>
                    <a:gd name="T1" fmla="*/ 4 h 82"/>
                    <a:gd name="T2" fmla="*/ 64 w 70"/>
                    <a:gd name="T3" fmla="*/ 12 h 82"/>
                    <a:gd name="T4" fmla="*/ 35 w 70"/>
                    <a:gd name="T5" fmla="*/ 20 h 82"/>
                    <a:gd name="T6" fmla="*/ 6 w 70"/>
                    <a:gd name="T7" fmla="*/ 12 h 82"/>
                    <a:gd name="T8" fmla="*/ 35 w 70"/>
                    <a:gd name="T9" fmla="*/ 4 h 82"/>
                    <a:gd name="T10" fmla="*/ 35 w 70"/>
                    <a:gd name="T11" fmla="*/ 0 h 82"/>
                    <a:gd name="T12" fmla="*/ 21 w 70"/>
                    <a:gd name="T13" fmla="*/ 1 h 82"/>
                    <a:gd name="T14" fmla="*/ 10 w 70"/>
                    <a:gd name="T15" fmla="*/ 4 h 82"/>
                    <a:gd name="T16" fmla="*/ 3 w 70"/>
                    <a:gd name="T17" fmla="*/ 8 h 82"/>
                    <a:gd name="T18" fmla="*/ 1 w 70"/>
                    <a:gd name="T19" fmla="*/ 11 h 82"/>
                    <a:gd name="T20" fmla="*/ 0 w 70"/>
                    <a:gd name="T21" fmla="*/ 14 h 82"/>
                    <a:gd name="T22" fmla="*/ 0 w 70"/>
                    <a:gd name="T23" fmla="*/ 69 h 82"/>
                    <a:gd name="T24" fmla="*/ 1 w 70"/>
                    <a:gd name="T25" fmla="*/ 71 h 82"/>
                    <a:gd name="T26" fmla="*/ 3 w 70"/>
                    <a:gd name="T27" fmla="*/ 74 h 82"/>
                    <a:gd name="T28" fmla="*/ 10 w 70"/>
                    <a:gd name="T29" fmla="*/ 78 h 82"/>
                    <a:gd name="T30" fmla="*/ 21 w 70"/>
                    <a:gd name="T31" fmla="*/ 81 h 82"/>
                    <a:gd name="T32" fmla="*/ 35 w 70"/>
                    <a:gd name="T33" fmla="*/ 82 h 82"/>
                    <a:gd name="T34" fmla="*/ 60 w 70"/>
                    <a:gd name="T35" fmla="*/ 78 h 82"/>
                    <a:gd name="T36" fmla="*/ 67 w 70"/>
                    <a:gd name="T37" fmla="*/ 74 h 82"/>
                    <a:gd name="T38" fmla="*/ 69 w 70"/>
                    <a:gd name="T39" fmla="*/ 71 h 82"/>
                    <a:gd name="T40" fmla="*/ 70 w 70"/>
                    <a:gd name="T41" fmla="*/ 69 h 82"/>
                    <a:gd name="T42" fmla="*/ 70 w 70"/>
                    <a:gd name="T43" fmla="*/ 14 h 82"/>
                    <a:gd name="T44" fmla="*/ 67 w 70"/>
                    <a:gd name="T45" fmla="*/ 8 h 82"/>
                    <a:gd name="T46" fmla="*/ 60 w 70"/>
                    <a:gd name="T47" fmla="*/ 4 h 82"/>
                    <a:gd name="T48" fmla="*/ 49 w 70"/>
                    <a:gd name="T49" fmla="*/ 1 h 82"/>
                    <a:gd name="T50" fmla="*/ 35 w 70"/>
                    <a:gd name="T51" fmla="*/ 0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70" h="82">
                      <a:moveTo>
                        <a:pt x="35" y="4"/>
                      </a:moveTo>
                      <a:cubicBezTo>
                        <a:pt x="51" y="4"/>
                        <a:pt x="64" y="8"/>
                        <a:pt x="64" y="12"/>
                      </a:cubicBezTo>
                      <a:cubicBezTo>
                        <a:pt x="64" y="17"/>
                        <a:pt x="51" y="20"/>
                        <a:pt x="35" y="20"/>
                      </a:cubicBezTo>
                      <a:cubicBezTo>
                        <a:pt x="19" y="20"/>
                        <a:pt x="6" y="17"/>
                        <a:pt x="6" y="12"/>
                      </a:cubicBezTo>
                      <a:cubicBezTo>
                        <a:pt x="6" y="8"/>
                        <a:pt x="19" y="4"/>
                        <a:pt x="35" y="4"/>
                      </a:cubicBezTo>
                      <a:close/>
                      <a:moveTo>
                        <a:pt x="35" y="0"/>
                      </a:moveTo>
                      <a:cubicBezTo>
                        <a:pt x="21" y="1"/>
                        <a:pt x="21" y="1"/>
                        <a:pt x="21" y="1"/>
                      </a:cubicBezTo>
                      <a:cubicBezTo>
                        <a:pt x="10" y="4"/>
                        <a:pt x="10" y="4"/>
                        <a:pt x="10" y="4"/>
                      </a:cubicBezTo>
                      <a:cubicBezTo>
                        <a:pt x="3" y="8"/>
                        <a:pt x="3" y="8"/>
                        <a:pt x="3" y="8"/>
                      </a:cubicBezTo>
                      <a:cubicBezTo>
                        <a:pt x="1" y="11"/>
                        <a:pt x="1" y="11"/>
                        <a:pt x="1" y="11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0" y="69"/>
                        <a:pt x="0" y="69"/>
                        <a:pt x="0" y="69"/>
                      </a:cubicBezTo>
                      <a:cubicBezTo>
                        <a:pt x="1" y="71"/>
                        <a:pt x="1" y="71"/>
                        <a:pt x="1" y="71"/>
                      </a:cubicBezTo>
                      <a:cubicBezTo>
                        <a:pt x="3" y="74"/>
                        <a:pt x="3" y="74"/>
                        <a:pt x="3" y="74"/>
                      </a:cubicBezTo>
                      <a:cubicBezTo>
                        <a:pt x="10" y="78"/>
                        <a:pt x="10" y="78"/>
                        <a:pt x="10" y="78"/>
                      </a:cubicBezTo>
                      <a:cubicBezTo>
                        <a:pt x="21" y="81"/>
                        <a:pt x="21" y="81"/>
                        <a:pt x="21" y="81"/>
                      </a:cubicBezTo>
                      <a:cubicBezTo>
                        <a:pt x="26" y="82"/>
                        <a:pt x="30" y="82"/>
                        <a:pt x="35" y="82"/>
                      </a:cubicBezTo>
                      <a:cubicBezTo>
                        <a:pt x="45" y="82"/>
                        <a:pt x="53" y="81"/>
                        <a:pt x="60" y="78"/>
                      </a:cubicBezTo>
                      <a:cubicBezTo>
                        <a:pt x="63" y="77"/>
                        <a:pt x="66" y="76"/>
                        <a:pt x="67" y="74"/>
                      </a:cubicBezTo>
                      <a:cubicBezTo>
                        <a:pt x="68" y="73"/>
                        <a:pt x="69" y="72"/>
                        <a:pt x="69" y="71"/>
                      </a:cubicBezTo>
                      <a:cubicBezTo>
                        <a:pt x="70" y="71"/>
                        <a:pt x="70" y="70"/>
                        <a:pt x="70" y="69"/>
                      </a:cubicBezTo>
                      <a:cubicBezTo>
                        <a:pt x="70" y="14"/>
                        <a:pt x="70" y="14"/>
                        <a:pt x="70" y="14"/>
                      </a:cubicBezTo>
                      <a:cubicBezTo>
                        <a:pt x="70" y="12"/>
                        <a:pt x="69" y="10"/>
                        <a:pt x="67" y="8"/>
                      </a:cubicBezTo>
                      <a:cubicBezTo>
                        <a:pt x="66" y="7"/>
                        <a:pt x="63" y="5"/>
                        <a:pt x="60" y="4"/>
                      </a:cubicBezTo>
                      <a:cubicBezTo>
                        <a:pt x="57" y="3"/>
                        <a:pt x="53" y="2"/>
                        <a:pt x="49" y="1"/>
                      </a:cubicBezTo>
                      <a:cubicBezTo>
                        <a:pt x="45" y="0"/>
                        <a:pt x="40" y="0"/>
                        <a:pt x="35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0" tIns="182880" rIns="0" bIns="0" numCol="1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3268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5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</a:rPr>
                    <a:t>SQL</a:t>
                  </a:r>
                </a:p>
              </p:txBody>
            </p:sp>
            <p:sp>
              <p:nvSpPr>
                <p:cNvPr id="191" name="Freeform 46"/>
                <p:cNvSpPr>
                  <a:spLocks/>
                </p:cNvSpPr>
                <p:nvPr/>
              </p:nvSpPr>
              <p:spPr bwMode="auto">
                <a:xfrm>
                  <a:off x="1673482" y="2104582"/>
                  <a:ext cx="538163" cy="355600"/>
                </a:xfrm>
                <a:custGeom>
                  <a:avLst/>
                  <a:gdLst>
                    <a:gd name="T0" fmla="*/ 203 w 242"/>
                    <a:gd name="T1" fmla="*/ 70 h 160"/>
                    <a:gd name="T2" fmla="*/ 203 w 242"/>
                    <a:gd name="T3" fmla="*/ 67 h 160"/>
                    <a:gd name="T4" fmla="*/ 136 w 242"/>
                    <a:gd name="T5" fmla="*/ 0 h 160"/>
                    <a:gd name="T6" fmla="*/ 81 w 242"/>
                    <a:gd name="T7" fmla="*/ 30 h 160"/>
                    <a:gd name="T8" fmla="*/ 62 w 242"/>
                    <a:gd name="T9" fmla="*/ 25 h 160"/>
                    <a:gd name="T10" fmla="*/ 24 w 242"/>
                    <a:gd name="T11" fmla="*/ 63 h 160"/>
                    <a:gd name="T12" fmla="*/ 0 w 242"/>
                    <a:gd name="T13" fmla="*/ 107 h 160"/>
                    <a:gd name="T14" fmla="*/ 46 w 242"/>
                    <a:gd name="T15" fmla="*/ 160 h 160"/>
                    <a:gd name="T16" fmla="*/ 52 w 242"/>
                    <a:gd name="T17" fmla="*/ 160 h 160"/>
                    <a:gd name="T18" fmla="*/ 57 w 242"/>
                    <a:gd name="T19" fmla="*/ 160 h 160"/>
                    <a:gd name="T20" fmla="*/ 166 w 242"/>
                    <a:gd name="T21" fmla="*/ 160 h 160"/>
                    <a:gd name="T22" fmla="*/ 171 w 242"/>
                    <a:gd name="T23" fmla="*/ 160 h 160"/>
                    <a:gd name="T24" fmla="*/ 179 w 242"/>
                    <a:gd name="T25" fmla="*/ 160 h 160"/>
                    <a:gd name="T26" fmla="*/ 197 w 242"/>
                    <a:gd name="T27" fmla="*/ 160 h 160"/>
                    <a:gd name="T28" fmla="*/ 242 w 242"/>
                    <a:gd name="T29" fmla="*/ 115 h 160"/>
                    <a:gd name="T30" fmla="*/ 203 w 242"/>
                    <a:gd name="T31" fmla="*/ 70 h 1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42" h="160">
                      <a:moveTo>
                        <a:pt x="203" y="70"/>
                      </a:moveTo>
                      <a:cubicBezTo>
                        <a:pt x="203" y="69"/>
                        <a:pt x="203" y="68"/>
                        <a:pt x="203" y="67"/>
                      </a:cubicBezTo>
                      <a:cubicBezTo>
                        <a:pt x="203" y="30"/>
                        <a:pt x="173" y="0"/>
                        <a:pt x="136" y="0"/>
                      </a:cubicBezTo>
                      <a:cubicBezTo>
                        <a:pt x="113" y="0"/>
                        <a:pt x="93" y="12"/>
                        <a:pt x="81" y="30"/>
                      </a:cubicBezTo>
                      <a:cubicBezTo>
                        <a:pt x="75" y="27"/>
                        <a:pt x="69" y="25"/>
                        <a:pt x="62" y="25"/>
                      </a:cubicBezTo>
                      <a:cubicBezTo>
                        <a:pt x="41" y="25"/>
                        <a:pt x="24" y="42"/>
                        <a:pt x="24" y="63"/>
                      </a:cubicBezTo>
                      <a:cubicBezTo>
                        <a:pt x="9" y="73"/>
                        <a:pt x="0" y="89"/>
                        <a:pt x="0" y="107"/>
                      </a:cubicBezTo>
                      <a:cubicBezTo>
                        <a:pt x="0" y="135"/>
                        <a:pt x="20" y="157"/>
                        <a:pt x="46" y="160"/>
                      </a:cubicBezTo>
                      <a:cubicBezTo>
                        <a:pt x="48" y="160"/>
                        <a:pt x="50" y="160"/>
                        <a:pt x="52" y="160"/>
                      </a:cubicBezTo>
                      <a:cubicBezTo>
                        <a:pt x="54" y="160"/>
                        <a:pt x="56" y="160"/>
                        <a:pt x="57" y="160"/>
                      </a:cubicBezTo>
                      <a:cubicBezTo>
                        <a:pt x="82" y="160"/>
                        <a:pt x="139" y="160"/>
                        <a:pt x="166" y="160"/>
                      </a:cubicBezTo>
                      <a:cubicBezTo>
                        <a:pt x="171" y="160"/>
                        <a:pt x="171" y="160"/>
                        <a:pt x="171" y="160"/>
                      </a:cubicBezTo>
                      <a:cubicBezTo>
                        <a:pt x="173" y="160"/>
                        <a:pt x="177" y="160"/>
                        <a:pt x="179" y="160"/>
                      </a:cubicBezTo>
                      <a:cubicBezTo>
                        <a:pt x="197" y="160"/>
                        <a:pt x="197" y="160"/>
                        <a:pt x="197" y="160"/>
                      </a:cubicBezTo>
                      <a:cubicBezTo>
                        <a:pt x="222" y="160"/>
                        <a:pt x="242" y="139"/>
                        <a:pt x="242" y="115"/>
                      </a:cubicBezTo>
                      <a:cubicBezTo>
                        <a:pt x="242" y="92"/>
                        <a:pt x="225" y="73"/>
                        <a:pt x="203" y="70"/>
                      </a:cubicBezTo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3268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85" name="Rectangle 184"/>
              <p:cNvSpPr/>
              <p:nvPr/>
            </p:nvSpPr>
            <p:spPr>
              <a:xfrm>
                <a:off x="979415" y="3869614"/>
                <a:ext cx="1186332" cy="219733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ctr" defTabSz="93234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ea typeface="Segoe UI" pitchFamily="34" charset="0"/>
                    <a:cs typeface="Segoe UI" pitchFamily="34" charset="0"/>
                  </a:rPr>
                  <a:t>Azure SQL DW</a:t>
                </a:r>
              </a:p>
            </p:txBody>
          </p:sp>
          <p:sp>
            <p:nvSpPr>
              <p:cNvPr id="186" name="Freeform 106"/>
              <p:cNvSpPr>
                <a:spLocks noEditPoints="1"/>
              </p:cNvSpPr>
              <p:nvPr/>
            </p:nvSpPr>
            <p:spPr bwMode="auto">
              <a:xfrm>
                <a:off x="1244746" y="3077346"/>
                <a:ext cx="655670" cy="766048"/>
              </a:xfrm>
              <a:custGeom>
                <a:avLst/>
                <a:gdLst>
                  <a:gd name="T0" fmla="*/ 35 w 70"/>
                  <a:gd name="T1" fmla="*/ 4 h 82"/>
                  <a:gd name="T2" fmla="*/ 64 w 70"/>
                  <a:gd name="T3" fmla="*/ 12 h 82"/>
                  <a:gd name="T4" fmla="*/ 35 w 70"/>
                  <a:gd name="T5" fmla="*/ 20 h 82"/>
                  <a:gd name="T6" fmla="*/ 6 w 70"/>
                  <a:gd name="T7" fmla="*/ 12 h 82"/>
                  <a:gd name="T8" fmla="*/ 35 w 70"/>
                  <a:gd name="T9" fmla="*/ 4 h 82"/>
                  <a:gd name="T10" fmla="*/ 35 w 70"/>
                  <a:gd name="T11" fmla="*/ 0 h 82"/>
                  <a:gd name="T12" fmla="*/ 21 w 70"/>
                  <a:gd name="T13" fmla="*/ 1 h 82"/>
                  <a:gd name="T14" fmla="*/ 10 w 70"/>
                  <a:gd name="T15" fmla="*/ 4 h 82"/>
                  <a:gd name="T16" fmla="*/ 3 w 70"/>
                  <a:gd name="T17" fmla="*/ 8 h 82"/>
                  <a:gd name="T18" fmla="*/ 1 w 70"/>
                  <a:gd name="T19" fmla="*/ 11 h 82"/>
                  <a:gd name="T20" fmla="*/ 0 w 70"/>
                  <a:gd name="T21" fmla="*/ 14 h 82"/>
                  <a:gd name="T22" fmla="*/ 0 w 70"/>
                  <a:gd name="T23" fmla="*/ 69 h 82"/>
                  <a:gd name="T24" fmla="*/ 1 w 70"/>
                  <a:gd name="T25" fmla="*/ 71 h 82"/>
                  <a:gd name="T26" fmla="*/ 3 w 70"/>
                  <a:gd name="T27" fmla="*/ 74 h 82"/>
                  <a:gd name="T28" fmla="*/ 10 w 70"/>
                  <a:gd name="T29" fmla="*/ 78 h 82"/>
                  <a:gd name="T30" fmla="*/ 21 w 70"/>
                  <a:gd name="T31" fmla="*/ 81 h 82"/>
                  <a:gd name="T32" fmla="*/ 35 w 70"/>
                  <a:gd name="T33" fmla="*/ 82 h 82"/>
                  <a:gd name="T34" fmla="*/ 60 w 70"/>
                  <a:gd name="T35" fmla="*/ 78 h 82"/>
                  <a:gd name="T36" fmla="*/ 67 w 70"/>
                  <a:gd name="T37" fmla="*/ 74 h 82"/>
                  <a:gd name="T38" fmla="*/ 69 w 70"/>
                  <a:gd name="T39" fmla="*/ 71 h 82"/>
                  <a:gd name="T40" fmla="*/ 70 w 70"/>
                  <a:gd name="T41" fmla="*/ 69 h 82"/>
                  <a:gd name="T42" fmla="*/ 70 w 70"/>
                  <a:gd name="T43" fmla="*/ 14 h 82"/>
                  <a:gd name="T44" fmla="*/ 67 w 70"/>
                  <a:gd name="T45" fmla="*/ 8 h 82"/>
                  <a:gd name="T46" fmla="*/ 60 w 70"/>
                  <a:gd name="T47" fmla="*/ 4 h 82"/>
                  <a:gd name="T48" fmla="*/ 49 w 70"/>
                  <a:gd name="T49" fmla="*/ 1 h 82"/>
                  <a:gd name="T50" fmla="*/ 35 w 70"/>
                  <a:gd name="T51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0" h="82">
                    <a:moveTo>
                      <a:pt x="35" y="4"/>
                    </a:moveTo>
                    <a:cubicBezTo>
                      <a:pt x="51" y="4"/>
                      <a:pt x="64" y="8"/>
                      <a:pt x="64" y="12"/>
                    </a:cubicBezTo>
                    <a:cubicBezTo>
                      <a:pt x="64" y="17"/>
                      <a:pt x="51" y="20"/>
                      <a:pt x="35" y="20"/>
                    </a:cubicBezTo>
                    <a:cubicBezTo>
                      <a:pt x="19" y="20"/>
                      <a:pt x="6" y="17"/>
                      <a:pt x="6" y="12"/>
                    </a:cubicBezTo>
                    <a:cubicBezTo>
                      <a:pt x="6" y="8"/>
                      <a:pt x="19" y="4"/>
                      <a:pt x="35" y="4"/>
                    </a:cubicBezTo>
                    <a:close/>
                    <a:moveTo>
                      <a:pt x="35" y="0"/>
                    </a:moveTo>
                    <a:cubicBezTo>
                      <a:pt x="21" y="1"/>
                      <a:pt x="21" y="1"/>
                      <a:pt x="21" y="1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69"/>
                      <a:pt x="0" y="69"/>
                      <a:pt x="0" y="69"/>
                    </a:cubicBezTo>
                    <a:cubicBezTo>
                      <a:pt x="1" y="71"/>
                      <a:pt x="1" y="71"/>
                      <a:pt x="1" y="71"/>
                    </a:cubicBezTo>
                    <a:cubicBezTo>
                      <a:pt x="3" y="74"/>
                      <a:pt x="3" y="74"/>
                      <a:pt x="3" y="74"/>
                    </a:cubicBezTo>
                    <a:cubicBezTo>
                      <a:pt x="10" y="78"/>
                      <a:pt x="10" y="78"/>
                      <a:pt x="10" y="78"/>
                    </a:cubicBezTo>
                    <a:cubicBezTo>
                      <a:pt x="21" y="81"/>
                      <a:pt x="21" y="81"/>
                      <a:pt x="21" y="81"/>
                    </a:cubicBezTo>
                    <a:cubicBezTo>
                      <a:pt x="26" y="82"/>
                      <a:pt x="30" y="82"/>
                      <a:pt x="35" y="82"/>
                    </a:cubicBezTo>
                    <a:cubicBezTo>
                      <a:pt x="45" y="82"/>
                      <a:pt x="53" y="81"/>
                      <a:pt x="60" y="78"/>
                    </a:cubicBezTo>
                    <a:cubicBezTo>
                      <a:pt x="63" y="77"/>
                      <a:pt x="66" y="76"/>
                      <a:pt x="67" y="74"/>
                    </a:cubicBezTo>
                    <a:cubicBezTo>
                      <a:pt x="68" y="73"/>
                      <a:pt x="69" y="72"/>
                      <a:pt x="69" y="71"/>
                    </a:cubicBezTo>
                    <a:cubicBezTo>
                      <a:pt x="70" y="71"/>
                      <a:pt x="70" y="70"/>
                      <a:pt x="70" y="69"/>
                    </a:cubicBezTo>
                    <a:cubicBezTo>
                      <a:pt x="70" y="14"/>
                      <a:pt x="70" y="14"/>
                      <a:pt x="70" y="14"/>
                    </a:cubicBezTo>
                    <a:cubicBezTo>
                      <a:pt x="70" y="12"/>
                      <a:pt x="69" y="10"/>
                      <a:pt x="67" y="8"/>
                    </a:cubicBezTo>
                    <a:cubicBezTo>
                      <a:pt x="66" y="7"/>
                      <a:pt x="63" y="5"/>
                      <a:pt x="60" y="4"/>
                    </a:cubicBezTo>
                    <a:cubicBezTo>
                      <a:pt x="57" y="3"/>
                      <a:pt x="53" y="2"/>
                      <a:pt x="49" y="1"/>
                    </a:cubicBezTo>
                    <a:cubicBezTo>
                      <a:pt x="45" y="0"/>
                      <a:pt x="40" y="0"/>
                      <a:pt x="35" y="0"/>
                    </a:cubicBezTo>
                    <a:close/>
                  </a:path>
                </a:pathLst>
              </a:custGeom>
              <a:solidFill>
                <a:srgbClr val="0070C0"/>
              </a:solidFill>
              <a:ln>
                <a:noFill/>
              </a:ln>
              <a:extLst/>
            </p:spPr>
            <p:txBody>
              <a:bodyPr vert="horz" wrap="square" lIns="0" tIns="18288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3268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7" name="Rectangle 186"/>
              <p:cNvSpPr/>
              <p:nvPr/>
            </p:nvSpPr>
            <p:spPr>
              <a:xfrm>
                <a:off x="1067615" y="4970961"/>
                <a:ext cx="1009931" cy="219733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ctr" defTabSz="93234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ea typeface="Segoe UI" pitchFamily="34" charset="0"/>
                    <a:cs typeface="Segoe UI" pitchFamily="34" charset="0"/>
                  </a:rPr>
                  <a:t>Azure Tables</a:t>
                </a:r>
              </a:p>
            </p:txBody>
          </p:sp>
          <p:sp>
            <p:nvSpPr>
              <p:cNvPr id="188" name="Rectangle 187"/>
              <p:cNvSpPr/>
              <p:nvPr/>
            </p:nvSpPr>
            <p:spPr>
              <a:xfrm>
                <a:off x="663440" y="6214570"/>
                <a:ext cx="1932970" cy="219733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ctr" defTabSz="93234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ea typeface="Segoe UI" pitchFamily="34" charset="0"/>
                    <a:cs typeface="Segoe UI" pitchFamily="34" charset="0"/>
                  </a:rPr>
                  <a:t>On-premises databases</a:t>
                </a:r>
              </a:p>
            </p:txBody>
          </p:sp>
          <p:pic>
            <p:nvPicPr>
              <p:cNvPr id="189" name="Picture 188"/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193883" y="4155886"/>
                <a:ext cx="780290" cy="780290"/>
              </a:xfrm>
              <a:prstGeom prst="rect">
                <a:avLst/>
              </a:prstGeom>
            </p:spPr>
          </p:pic>
        </p:grpSp>
        <p:pic>
          <p:nvPicPr>
            <p:cNvPr id="181" name="Picture 180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4601" y="5347400"/>
              <a:ext cx="780290" cy="780290"/>
            </a:xfrm>
            <a:prstGeom prst="rect">
              <a:avLst/>
            </a:prstGeom>
          </p:spPr>
        </p:pic>
        <p:pic>
          <p:nvPicPr>
            <p:cNvPr id="182" name="Picture 181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72580" y="5347400"/>
              <a:ext cx="780290" cy="780290"/>
            </a:xfrm>
            <a:prstGeom prst="rect">
              <a:avLst/>
            </a:prstGeom>
          </p:spPr>
        </p:pic>
      </p:grpSp>
      <p:sp>
        <p:nvSpPr>
          <p:cNvPr id="218" name="TextBox 217"/>
          <p:cNvSpPr txBox="1"/>
          <p:nvPr/>
        </p:nvSpPr>
        <p:spPr>
          <a:xfrm>
            <a:off x="4938314" y="6153372"/>
            <a:ext cx="206634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3261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rPr>
              <a:t>Azure Event Hub</a:t>
            </a:r>
          </a:p>
        </p:txBody>
      </p:sp>
      <p:pic>
        <p:nvPicPr>
          <p:cNvPr id="219" name="Picture 218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8849" y="2832194"/>
            <a:ext cx="780290" cy="780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5416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fade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L Store: Egress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434975" y="1123536"/>
            <a:ext cx="11322050" cy="5241552"/>
            <a:chOff x="434975" y="1123536"/>
            <a:chExt cx="11322050" cy="5241552"/>
          </a:xfrm>
        </p:grpSpPr>
        <p:sp>
          <p:nvSpPr>
            <p:cNvPr id="54" name="Rectangle 53"/>
            <p:cNvSpPr/>
            <p:nvPr/>
          </p:nvSpPr>
          <p:spPr>
            <a:xfrm>
              <a:off x="434975" y="1483823"/>
              <a:ext cx="11322050" cy="488126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" name="Rectangle 2"/>
            <p:cNvSpPr/>
            <p:nvPr/>
          </p:nvSpPr>
          <p:spPr>
            <a:xfrm>
              <a:off x="434975" y="1123536"/>
              <a:ext cx="11322050" cy="369332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91440" tIns="45720" rIns="91440" bIns="4572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Data can be exported from Azure Data Lake Store into numerous targets/sinks </a:t>
              </a:r>
            </a:p>
          </p:txBody>
        </p:sp>
      </p:grpSp>
      <p:cxnSp>
        <p:nvCxnSpPr>
          <p:cNvPr id="32" name="Straight Connector 31"/>
          <p:cNvCxnSpPr/>
          <p:nvPr/>
        </p:nvCxnSpPr>
        <p:spPr>
          <a:xfrm>
            <a:off x="2737856" y="-13815"/>
            <a:ext cx="640080" cy="0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FAD755-3BD0-2447-A9DF-109DAABEFD99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102" name="Group 101"/>
          <p:cNvGrpSpPr/>
          <p:nvPr/>
        </p:nvGrpSpPr>
        <p:grpSpPr>
          <a:xfrm>
            <a:off x="2596410" y="2347066"/>
            <a:ext cx="2623154" cy="3392392"/>
            <a:chOff x="2545370" y="2301253"/>
            <a:chExt cx="2571588" cy="3326176"/>
          </a:xfrm>
        </p:grpSpPr>
        <p:cxnSp>
          <p:nvCxnSpPr>
            <p:cNvPr id="103" name="Straight Connector 102"/>
            <p:cNvCxnSpPr/>
            <p:nvPr/>
          </p:nvCxnSpPr>
          <p:spPr>
            <a:xfrm flipH="1">
              <a:off x="3272167" y="3598713"/>
              <a:ext cx="1844791" cy="0"/>
            </a:xfrm>
            <a:prstGeom prst="line">
              <a:avLst/>
            </a:prstGeom>
            <a:ln w="38100" cap="rnd">
              <a:solidFill>
                <a:srgbClr val="00BCF2"/>
              </a:solidFill>
              <a:headEnd type="none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5" name="TextBox 104"/>
            <p:cNvSpPr txBox="1"/>
            <p:nvPr/>
          </p:nvSpPr>
          <p:spPr>
            <a:xfrm>
              <a:off x="3527423" y="3305448"/>
              <a:ext cx="1503617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326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rPr>
                <a:t>Azure Data Factory</a:t>
              </a:r>
            </a:p>
          </p:txBody>
        </p:sp>
        <p:sp>
          <p:nvSpPr>
            <p:cNvPr id="106" name="TextBox 105"/>
            <p:cNvSpPr txBox="1"/>
            <p:nvPr/>
          </p:nvSpPr>
          <p:spPr>
            <a:xfrm>
              <a:off x="3527423" y="3676534"/>
              <a:ext cx="1160574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326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rPr>
                <a:t>Apache Sqoop</a:t>
              </a:r>
            </a:p>
          </p:txBody>
        </p:sp>
        <p:cxnSp>
          <p:nvCxnSpPr>
            <p:cNvPr id="107" name="Straight Connector 106"/>
            <p:cNvCxnSpPr/>
            <p:nvPr/>
          </p:nvCxnSpPr>
          <p:spPr>
            <a:xfrm>
              <a:off x="2545370" y="3420162"/>
              <a:ext cx="357639" cy="0"/>
            </a:xfrm>
            <a:prstGeom prst="line">
              <a:avLst/>
            </a:prstGeom>
            <a:ln w="38100" cap="rnd">
              <a:solidFill>
                <a:srgbClr val="00BCF2"/>
              </a:solidFill>
              <a:headEnd type="none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/>
            <p:cNvCxnSpPr/>
            <p:nvPr/>
          </p:nvCxnSpPr>
          <p:spPr>
            <a:xfrm>
              <a:off x="2545370" y="4548762"/>
              <a:ext cx="357639" cy="0"/>
            </a:xfrm>
            <a:prstGeom prst="line">
              <a:avLst/>
            </a:prstGeom>
            <a:ln w="38100" cap="rnd">
              <a:solidFill>
                <a:srgbClr val="00BCF2"/>
              </a:solidFill>
              <a:headEnd type="none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4"/>
            <p:cNvCxnSpPr/>
            <p:nvPr/>
          </p:nvCxnSpPr>
          <p:spPr>
            <a:xfrm flipV="1">
              <a:off x="2545370" y="2301253"/>
              <a:ext cx="12700" cy="3326176"/>
            </a:xfrm>
            <a:prstGeom prst="bentConnector3">
              <a:avLst>
                <a:gd name="adj1" fmla="val 2957142"/>
              </a:avLst>
            </a:prstGeom>
            <a:ln w="38100" cap="rnd">
              <a:solidFill>
                <a:srgbClr val="00BCF2"/>
              </a:solidFill>
              <a:headEnd type="none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1" name="Rectangle 110"/>
          <p:cNvSpPr/>
          <p:nvPr/>
        </p:nvSpPr>
        <p:spPr>
          <a:xfrm>
            <a:off x="10312870" y="2530424"/>
            <a:ext cx="1628672" cy="2197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323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ea typeface="Segoe UI" pitchFamily="34" charset="0"/>
                <a:cs typeface="Segoe UI" pitchFamily="34" charset="0"/>
              </a:rPr>
              <a:t>Azure Storage Blobs</a:t>
            </a:r>
          </a:p>
        </p:txBody>
      </p:sp>
      <p:grpSp>
        <p:nvGrpSpPr>
          <p:cNvPr id="121" name="Group 120"/>
          <p:cNvGrpSpPr/>
          <p:nvPr/>
        </p:nvGrpSpPr>
        <p:grpSpPr>
          <a:xfrm>
            <a:off x="10333609" y="5306438"/>
            <a:ext cx="1443246" cy="1127866"/>
            <a:chOff x="10130470" y="5202860"/>
            <a:chExt cx="1414875" cy="1105851"/>
          </a:xfrm>
        </p:grpSpPr>
        <p:sp>
          <p:nvSpPr>
            <p:cNvPr id="122" name="Rectangle 121"/>
            <p:cNvSpPr/>
            <p:nvPr/>
          </p:nvSpPr>
          <p:spPr>
            <a:xfrm>
              <a:off x="10130470" y="6093267"/>
              <a:ext cx="1414875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323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ea typeface="Segoe UI" pitchFamily="34" charset="0"/>
                  <a:cs typeface="Segoe UI" pitchFamily="34" charset="0"/>
                </a:rPr>
                <a:t>Custom programs</a:t>
              </a:r>
            </a:p>
          </p:txBody>
        </p:sp>
        <p:grpSp>
          <p:nvGrpSpPr>
            <p:cNvPr id="123" name="Group 122"/>
            <p:cNvGrpSpPr/>
            <p:nvPr/>
          </p:nvGrpSpPr>
          <p:grpSpPr>
            <a:xfrm>
              <a:off x="10195724" y="5202860"/>
              <a:ext cx="1284366" cy="704227"/>
              <a:chOff x="9421813" y="4852988"/>
              <a:chExt cx="1922462" cy="1054100"/>
            </a:xfrm>
          </p:grpSpPr>
          <p:sp>
            <p:nvSpPr>
              <p:cNvPr id="124" name="Freeform 53"/>
              <p:cNvSpPr>
                <a:spLocks/>
              </p:cNvSpPr>
              <p:nvPr/>
            </p:nvSpPr>
            <p:spPr bwMode="auto">
              <a:xfrm>
                <a:off x="11122025" y="5799138"/>
                <a:ext cx="222250" cy="107950"/>
              </a:xfrm>
              <a:custGeom>
                <a:avLst/>
                <a:gdLst>
                  <a:gd name="T0" fmla="*/ 51 w 100"/>
                  <a:gd name="T1" fmla="*/ 1 h 49"/>
                  <a:gd name="T2" fmla="*/ 0 w 100"/>
                  <a:gd name="T3" fmla="*/ 49 h 49"/>
                  <a:gd name="T4" fmla="*/ 99 w 100"/>
                  <a:gd name="T5" fmla="*/ 49 h 49"/>
                  <a:gd name="T6" fmla="*/ 51 w 100"/>
                  <a:gd name="T7" fmla="*/ 1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0" h="49">
                    <a:moveTo>
                      <a:pt x="51" y="1"/>
                    </a:moveTo>
                    <a:cubicBezTo>
                      <a:pt x="24" y="0"/>
                      <a:pt x="1" y="21"/>
                      <a:pt x="0" y="49"/>
                    </a:cubicBezTo>
                    <a:cubicBezTo>
                      <a:pt x="99" y="49"/>
                      <a:pt x="99" y="49"/>
                      <a:pt x="99" y="49"/>
                    </a:cubicBezTo>
                    <a:cubicBezTo>
                      <a:pt x="100" y="21"/>
                      <a:pt x="79" y="2"/>
                      <a:pt x="51" y="1"/>
                    </a:cubicBezTo>
                    <a:close/>
                  </a:path>
                </a:pathLst>
              </a:cu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268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 54"/>
              <p:cNvSpPr>
                <a:spLocks/>
              </p:cNvSpPr>
              <p:nvPr/>
            </p:nvSpPr>
            <p:spPr bwMode="auto">
              <a:xfrm>
                <a:off x="10712450" y="5800725"/>
                <a:ext cx="473075" cy="60325"/>
              </a:xfrm>
              <a:custGeom>
                <a:avLst/>
                <a:gdLst>
                  <a:gd name="T0" fmla="*/ 210 w 213"/>
                  <a:gd name="T1" fmla="*/ 27 h 27"/>
                  <a:gd name="T2" fmla="*/ 188 w 213"/>
                  <a:gd name="T3" fmla="*/ 17 h 27"/>
                  <a:gd name="T4" fmla="*/ 142 w 213"/>
                  <a:gd name="T5" fmla="*/ 8 h 27"/>
                  <a:gd name="T6" fmla="*/ 0 w 213"/>
                  <a:gd name="T7" fmla="*/ 8 h 27"/>
                  <a:gd name="T8" fmla="*/ 0 w 213"/>
                  <a:gd name="T9" fmla="*/ 0 h 27"/>
                  <a:gd name="T10" fmla="*/ 142 w 213"/>
                  <a:gd name="T11" fmla="*/ 0 h 27"/>
                  <a:gd name="T12" fmla="*/ 191 w 213"/>
                  <a:gd name="T13" fmla="*/ 10 h 27"/>
                  <a:gd name="T14" fmla="*/ 213 w 213"/>
                  <a:gd name="T15" fmla="*/ 20 h 27"/>
                  <a:gd name="T16" fmla="*/ 210 w 213"/>
                  <a:gd name="T17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3" h="27">
                    <a:moveTo>
                      <a:pt x="210" y="27"/>
                    </a:moveTo>
                    <a:cubicBezTo>
                      <a:pt x="188" y="17"/>
                      <a:pt x="188" y="17"/>
                      <a:pt x="188" y="17"/>
                    </a:cubicBezTo>
                    <a:cubicBezTo>
                      <a:pt x="177" y="12"/>
                      <a:pt x="155" y="8"/>
                      <a:pt x="14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42" y="0"/>
                      <a:pt x="142" y="0"/>
                      <a:pt x="142" y="0"/>
                    </a:cubicBezTo>
                    <a:cubicBezTo>
                      <a:pt x="157" y="0"/>
                      <a:pt x="179" y="5"/>
                      <a:pt x="191" y="10"/>
                    </a:cubicBezTo>
                    <a:cubicBezTo>
                      <a:pt x="213" y="20"/>
                      <a:pt x="213" y="20"/>
                      <a:pt x="213" y="20"/>
                    </a:cubicBezTo>
                    <a:lnTo>
                      <a:pt x="210" y="27"/>
                    </a:lnTo>
                    <a:close/>
                  </a:path>
                </a:pathLst>
              </a:cu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268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Oval 55"/>
              <p:cNvSpPr>
                <a:spLocks noChangeArrowheads="1"/>
              </p:cNvSpPr>
              <p:nvPr/>
            </p:nvSpPr>
            <p:spPr bwMode="auto">
              <a:xfrm>
                <a:off x="9915525" y="5627688"/>
                <a:ext cx="493713" cy="104775"/>
              </a:xfrm>
              <a:prstGeom prst="ellipse">
                <a:avLst/>
              </a:prstGeom>
              <a:solidFill>
                <a:srgbClr val="4423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268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 56"/>
              <p:cNvSpPr>
                <a:spLocks/>
              </p:cNvSpPr>
              <p:nvPr/>
            </p:nvSpPr>
            <p:spPr bwMode="auto">
              <a:xfrm>
                <a:off x="9555163" y="4852988"/>
                <a:ext cx="1193800" cy="828675"/>
              </a:xfrm>
              <a:custGeom>
                <a:avLst/>
                <a:gdLst>
                  <a:gd name="T0" fmla="*/ 527 w 537"/>
                  <a:gd name="T1" fmla="*/ 373 h 373"/>
                  <a:gd name="T2" fmla="*/ 537 w 537"/>
                  <a:gd name="T3" fmla="*/ 362 h 373"/>
                  <a:gd name="T4" fmla="*/ 537 w 537"/>
                  <a:gd name="T5" fmla="*/ 11 h 373"/>
                  <a:gd name="T6" fmla="*/ 527 w 537"/>
                  <a:gd name="T7" fmla="*/ 0 h 373"/>
                  <a:gd name="T8" fmla="*/ 11 w 537"/>
                  <a:gd name="T9" fmla="*/ 0 h 373"/>
                  <a:gd name="T10" fmla="*/ 0 w 537"/>
                  <a:gd name="T11" fmla="*/ 11 h 373"/>
                  <a:gd name="T12" fmla="*/ 0 w 537"/>
                  <a:gd name="T13" fmla="*/ 362 h 373"/>
                  <a:gd name="T14" fmla="*/ 11 w 537"/>
                  <a:gd name="T15" fmla="*/ 373 h 373"/>
                  <a:gd name="T16" fmla="*/ 527 w 537"/>
                  <a:gd name="T17" fmla="*/ 373 h 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7" h="373">
                    <a:moveTo>
                      <a:pt x="527" y="373"/>
                    </a:moveTo>
                    <a:cubicBezTo>
                      <a:pt x="532" y="373"/>
                      <a:pt x="537" y="368"/>
                      <a:pt x="537" y="362"/>
                    </a:cubicBezTo>
                    <a:cubicBezTo>
                      <a:pt x="537" y="11"/>
                      <a:pt x="537" y="11"/>
                      <a:pt x="537" y="11"/>
                    </a:cubicBezTo>
                    <a:cubicBezTo>
                      <a:pt x="537" y="5"/>
                      <a:pt x="532" y="0"/>
                      <a:pt x="527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362"/>
                      <a:pt x="0" y="362"/>
                      <a:pt x="0" y="362"/>
                    </a:cubicBezTo>
                    <a:cubicBezTo>
                      <a:pt x="0" y="368"/>
                      <a:pt x="5" y="373"/>
                      <a:pt x="11" y="373"/>
                    </a:cubicBezTo>
                    <a:lnTo>
                      <a:pt x="527" y="373"/>
                    </a:lnTo>
                    <a:close/>
                  </a:path>
                </a:pathLst>
              </a:custGeom>
              <a:solidFill>
                <a:srgbClr val="4423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268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Rectangle 57"/>
              <p:cNvSpPr>
                <a:spLocks noChangeArrowheads="1"/>
              </p:cNvSpPr>
              <p:nvPr/>
            </p:nvSpPr>
            <p:spPr bwMode="auto">
              <a:xfrm>
                <a:off x="9593263" y="4889500"/>
                <a:ext cx="1117600" cy="633413"/>
              </a:xfrm>
              <a:prstGeom prst="rect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268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Rectangle 58"/>
              <p:cNvSpPr>
                <a:spLocks noChangeArrowheads="1"/>
              </p:cNvSpPr>
              <p:nvPr/>
            </p:nvSpPr>
            <p:spPr bwMode="auto">
              <a:xfrm>
                <a:off x="9421813" y="5849938"/>
                <a:ext cx="1477963" cy="55563"/>
              </a:xfrm>
              <a:prstGeom prst="rect">
                <a:avLst/>
              </a:prstGeom>
              <a:solidFill>
                <a:srgbClr val="4423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268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 59"/>
              <p:cNvSpPr>
                <a:spLocks/>
              </p:cNvSpPr>
              <p:nvPr/>
            </p:nvSpPr>
            <p:spPr bwMode="auto">
              <a:xfrm>
                <a:off x="9421813" y="5783263"/>
                <a:ext cx="1477963" cy="66675"/>
              </a:xfrm>
              <a:custGeom>
                <a:avLst/>
                <a:gdLst>
                  <a:gd name="T0" fmla="*/ 931 w 931"/>
                  <a:gd name="T1" fmla="*/ 42 h 42"/>
                  <a:gd name="T2" fmla="*/ 0 w 931"/>
                  <a:gd name="T3" fmla="*/ 42 h 42"/>
                  <a:gd name="T4" fmla="*/ 59 w 931"/>
                  <a:gd name="T5" fmla="*/ 0 h 42"/>
                  <a:gd name="T6" fmla="*/ 873 w 931"/>
                  <a:gd name="T7" fmla="*/ 0 h 42"/>
                  <a:gd name="T8" fmla="*/ 931 w 931"/>
                  <a:gd name="T9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1" h="42">
                    <a:moveTo>
                      <a:pt x="931" y="42"/>
                    </a:moveTo>
                    <a:lnTo>
                      <a:pt x="0" y="42"/>
                    </a:lnTo>
                    <a:lnTo>
                      <a:pt x="59" y="0"/>
                    </a:lnTo>
                    <a:lnTo>
                      <a:pt x="873" y="0"/>
                    </a:lnTo>
                    <a:lnTo>
                      <a:pt x="931" y="42"/>
                    </a:lnTo>
                    <a:close/>
                  </a:path>
                </a:pathLst>
              </a:cu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268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131" name="Group 130"/>
              <p:cNvGrpSpPr/>
              <p:nvPr/>
            </p:nvGrpSpPr>
            <p:grpSpPr>
              <a:xfrm>
                <a:off x="10923587" y="4883150"/>
                <a:ext cx="420688" cy="798513"/>
                <a:chOff x="11093450" y="4883150"/>
                <a:chExt cx="420688" cy="798513"/>
              </a:xfrm>
            </p:grpSpPr>
            <p:sp>
              <p:nvSpPr>
                <p:cNvPr id="132" name="AutoShape 63"/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11093450" y="4886325"/>
                  <a:ext cx="420688" cy="79216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3268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3" name="Freeform 65"/>
                <p:cNvSpPr>
                  <a:spLocks/>
                </p:cNvSpPr>
                <p:nvPr/>
              </p:nvSpPr>
              <p:spPr bwMode="auto">
                <a:xfrm>
                  <a:off x="11095038" y="4883150"/>
                  <a:ext cx="417513" cy="798513"/>
                </a:xfrm>
                <a:custGeom>
                  <a:avLst/>
                  <a:gdLst>
                    <a:gd name="T0" fmla="*/ 149 w 149"/>
                    <a:gd name="T1" fmla="*/ 280 h 287"/>
                    <a:gd name="T2" fmla="*/ 143 w 149"/>
                    <a:gd name="T3" fmla="*/ 287 h 287"/>
                    <a:gd name="T4" fmla="*/ 6 w 149"/>
                    <a:gd name="T5" fmla="*/ 287 h 287"/>
                    <a:gd name="T6" fmla="*/ 0 w 149"/>
                    <a:gd name="T7" fmla="*/ 280 h 287"/>
                    <a:gd name="T8" fmla="*/ 0 w 149"/>
                    <a:gd name="T9" fmla="*/ 7 h 287"/>
                    <a:gd name="T10" fmla="*/ 6 w 149"/>
                    <a:gd name="T11" fmla="*/ 0 h 287"/>
                    <a:gd name="T12" fmla="*/ 143 w 149"/>
                    <a:gd name="T13" fmla="*/ 0 h 287"/>
                    <a:gd name="T14" fmla="*/ 149 w 149"/>
                    <a:gd name="T15" fmla="*/ 7 h 287"/>
                    <a:gd name="T16" fmla="*/ 149 w 149"/>
                    <a:gd name="T17" fmla="*/ 280 h 2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49" h="287">
                      <a:moveTo>
                        <a:pt x="149" y="280"/>
                      </a:moveTo>
                      <a:cubicBezTo>
                        <a:pt x="149" y="284"/>
                        <a:pt x="146" y="287"/>
                        <a:pt x="143" y="287"/>
                      </a:cubicBezTo>
                      <a:cubicBezTo>
                        <a:pt x="6" y="287"/>
                        <a:pt x="6" y="287"/>
                        <a:pt x="6" y="287"/>
                      </a:cubicBezTo>
                      <a:cubicBezTo>
                        <a:pt x="3" y="287"/>
                        <a:pt x="0" y="284"/>
                        <a:pt x="0" y="280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143" y="0"/>
                        <a:pt x="143" y="0"/>
                        <a:pt x="143" y="0"/>
                      </a:cubicBezTo>
                      <a:cubicBezTo>
                        <a:pt x="146" y="0"/>
                        <a:pt x="149" y="3"/>
                        <a:pt x="149" y="7"/>
                      </a:cubicBezTo>
                      <a:lnTo>
                        <a:pt x="149" y="280"/>
                      </a:lnTo>
                      <a:close/>
                    </a:path>
                  </a:pathLst>
                </a:custGeom>
                <a:solidFill>
                  <a:srgbClr val="442359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3268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4" name="Rectangle 66"/>
                <p:cNvSpPr>
                  <a:spLocks noChangeArrowheads="1"/>
                </p:cNvSpPr>
                <p:nvPr/>
              </p:nvSpPr>
              <p:spPr bwMode="auto">
                <a:xfrm>
                  <a:off x="11114088" y="4967288"/>
                  <a:ext cx="379413" cy="7938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3268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5" name="Rectangle 68"/>
                <p:cNvSpPr>
                  <a:spLocks noChangeArrowheads="1"/>
                </p:cNvSpPr>
                <p:nvPr/>
              </p:nvSpPr>
              <p:spPr bwMode="auto">
                <a:xfrm>
                  <a:off x="11114088" y="5060950"/>
                  <a:ext cx="379413" cy="635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3268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6" name="Rectangle 70"/>
                <p:cNvSpPr>
                  <a:spLocks noChangeArrowheads="1"/>
                </p:cNvSpPr>
                <p:nvPr/>
              </p:nvSpPr>
              <p:spPr bwMode="auto">
                <a:xfrm>
                  <a:off x="11114088" y="5153025"/>
                  <a:ext cx="379413" cy="635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3268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7" name="Rectangle 72"/>
                <p:cNvSpPr>
                  <a:spLocks noChangeArrowheads="1"/>
                </p:cNvSpPr>
                <p:nvPr/>
              </p:nvSpPr>
              <p:spPr bwMode="auto">
                <a:xfrm>
                  <a:off x="11114088" y="5245100"/>
                  <a:ext cx="379413" cy="7938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3268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8" name="Oval 74"/>
                <p:cNvSpPr>
                  <a:spLocks noChangeArrowheads="1"/>
                </p:cNvSpPr>
                <p:nvPr/>
              </p:nvSpPr>
              <p:spPr bwMode="auto">
                <a:xfrm>
                  <a:off x="11280775" y="5503863"/>
                  <a:ext cx="47625" cy="46038"/>
                </a:xfrm>
                <a:prstGeom prst="ellipse">
                  <a:avLst/>
                </a:prstGeom>
                <a:solidFill>
                  <a:srgbClr val="DFDFD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3268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9" name="Freeform 75"/>
                <p:cNvSpPr>
                  <a:spLocks/>
                </p:cNvSpPr>
                <p:nvPr/>
              </p:nvSpPr>
              <p:spPr bwMode="auto">
                <a:xfrm>
                  <a:off x="11096625" y="5649913"/>
                  <a:ext cx="417513" cy="31750"/>
                </a:xfrm>
                <a:custGeom>
                  <a:avLst/>
                  <a:gdLst>
                    <a:gd name="T0" fmla="*/ 0 w 149"/>
                    <a:gd name="T1" fmla="*/ 0 h 11"/>
                    <a:gd name="T2" fmla="*/ 0 w 149"/>
                    <a:gd name="T3" fmla="*/ 4 h 11"/>
                    <a:gd name="T4" fmla="*/ 6 w 149"/>
                    <a:gd name="T5" fmla="*/ 11 h 11"/>
                    <a:gd name="T6" fmla="*/ 143 w 149"/>
                    <a:gd name="T7" fmla="*/ 11 h 11"/>
                    <a:gd name="T8" fmla="*/ 149 w 149"/>
                    <a:gd name="T9" fmla="*/ 4 h 11"/>
                    <a:gd name="T10" fmla="*/ 149 w 149"/>
                    <a:gd name="T11" fmla="*/ 0 h 11"/>
                    <a:gd name="T12" fmla="*/ 0 w 149"/>
                    <a:gd name="T13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49" h="11">
                      <a:moveTo>
                        <a:pt x="0" y="0"/>
                      </a:move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8"/>
                        <a:pt x="3" y="11"/>
                        <a:pt x="6" y="11"/>
                      </a:cubicBezTo>
                      <a:cubicBezTo>
                        <a:pt x="143" y="11"/>
                        <a:pt x="143" y="11"/>
                        <a:pt x="143" y="11"/>
                      </a:cubicBezTo>
                      <a:cubicBezTo>
                        <a:pt x="146" y="11"/>
                        <a:pt x="149" y="8"/>
                        <a:pt x="149" y="4"/>
                      </a:cubicBezTo>
                      <a:cubicBezTo>
                        <a:pt x="149" y="0"/>
                        <a:pt x="149" y="0"/>
                        <a:pt x="149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3268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40" name="Rectangle 76"/>
                <p:cNvSpPr>
                  <a:spLocks noChangeArrowheads="1"/>
                </p:cNvSpPr>
                <p:nvPr/>
              </p:nvSpPr>
              <p:spPr bwMode="auto">
                <a:xfrm>
                  <a:off x="11096625" y="5600700"/>
                  <a:ext cx="417513" cy="49213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3268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</p:grpSp>
      <p:sp>
        <p:nvSpPr>
          <p:cNvPr id="142" name="TextBox 141"/>
          <p:cNvSpPr txBox="1"/>
          <p:nvPr/>
        </p:nvSpPr>
        <p:spPr>
          <a:xfrm>
            <a:off x="6110676" y="4573242"/>
            <a:ext cx="1404591" cy="91816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defTabSz="932617" eaLnBrk="1" fontAlgn="auto" latinLnBrk="0" hangingPunct="1">
              <a:lnSpc>
                <a:spcPct val="100000"/>
              </a:lnSpc>
              <a:spcBef>
                <a:spcPts val="10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rPr>
              <a:t>.NET SDK </a:t>
            </a:r>
          </a:p>
          <a:p>
            <a:pPr marL="0" marR="0" lvl="0" indent="0" defTabSz="932617" eaLnBrk="1" fontAlgn="auto" latinLnBrk="0" hangingPunct="1">
              <a:lnSpc>
                <a:spcPct val="100000"/>
              </a:lnSpc>
              <a:spcBef>
                <a:spcPts val="10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rPr>
              <a:t>CLI</a:t>
            </a:r>
          </a:p>
          <a:p>
            <a:pPr marL="0" marR="0" lvl="0" indent="0" defTabSz="932617" eaLnBrk="1" fontAlgn="auto" latinLnBrk="0" hangingPunct="1">
              <a:lnSpc>
                <a:spcPct val="100000"/>
              </a:lnSpc>
              <a:spcBef>
                <a:spcPts val="10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rPr>
              <a:t>Azure Portal</a:t>
            </a:r>
          </a:p>
          <a:p>
            <a:pPr marL="0" marR="0" lvl="0" indent="0" defTabSz="932617" eaLnBrk="1" fontAlgn="auto" latinLnBrk="0" hangingPunct="1">
              <a:lnSpc>
                <a:spcPct val="100000"/>
              </a:lnSpc>
              <a:spcBef>
                <a:spcPts val="10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rPr>
              <a:t>Azure PowerShell</a:t>
            </a:r>
          </a:p>
        </p:txBody>
      </p:sp>
      <p:cxnSp>
        <p:nvCxnSpPr>
          <p:cNvPr id="143" name="Straight Connector 14"/>
          <p:cNvCxnSpPr/>
          <p:nvPr/>
        </p:nvCxnSpPr>
        <p:spPr>
          <a:xfrm rot="10800000">
            <a:off x="5954713" y="4371748"/>
            <a:ext cx="4274033" cy="1265879"/>
          </a:xfrm>
          <a:prstGeom prst="bentConnector2">
            <a:avLst/>
          </a:prstGeom>
          <a:ln w="38100" cap="rnd">
            <a:solidFill>
              <a:srgbClr val="00BCF2"/>
            </a:solidFill>
            <a:headEnd type="triangl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4" name="Group 143"/>
          <p:cNvGrpSpPr/>
          <p:nvPr/>
        </p:nvGrpSpPr>
        <p:grpSpPr>
          <a:xfrm>
            <a:off x="5993343" y="1928343"/>
            <a:ext cx="4261686" cy="1002016"/>
            <a:chOff x="5875527" y="1890703"/>
            <a:chExt cx="4177910" cy="982458"/>
          </a:xfrm>
        </p:grpSpPr>
        <p:cxnSp>
          <p:nvCxnSpPr>
            <p:cNvPr id="145" name="Straight Connector 14"/>
            <p:cNvCxnSpPr/>
            <p:nvPr/>
          </p:nvCxnSpPr>
          <p:spPr>
            <a:xfrm rot="10800000" flipV="1">
              <a:off x="5875527" y="2140880"/>
              <a:ext cx="4177910" cy="732281"/>
            </a:xfrm>
            <a:prstGeom prst="bentConnector2">
              <a:avLst/>
            </a:prstGeom>
            <a:ln w="38100" cap="rnd">
              <a:solidFill>
                <a:srgbClr val="00BCF2"/>
              </a:solidFill>
              <a:headEnd type="triangl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6" name="TextBox 145"/>
            <p:cNvSpPr txBox="1"/>
            <p:nvPr/>
          </p:nvSpPr>
          <p:spPr>
            <a:xfrm>
              <a:off x="6504876" y="1890703"/>
              <a:ext cx="2205696" cy="21123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326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rPr>
                <a:t>Azure Data Factory</a:t>
              </a:r>
            </a:p>
          </p:txBody>
        </p:sp>
      </p:grpSp>
      <p:grpSp>
        <p:nvGrpSpPr>
          <p:cNvPr id="147" name="Group 146"/>
          <p:cNvGrpSpPr/>
          <p:nvPr/>
        </p:nvGrpSpPr>
        <p:grpSpPr>
          <a:xfrm>
            <a:off x="5519231" y="3109482"/>
            <a:ext cx="1027461" cy="1085530"/>
            <a:chOff x="5410733" y="3048788"/>
            <a:chExt cx="1007263" cy="1064342"/>
          </a:xfrm>
        </p:grpSpPr>
        <p:sp>
          <p:nvSpPr>
            <p:cNvPr id="148" name="TextBox 147"/>
            <p:cNvSpPr txBox="1"/>
            <p:nvPr/>
          </p:nvSpPr>
          <p:spPr>
            <a:xfrm>
              <a:off x="5410733" y="3882298"/>
              <a:ext cx="1007263" cy="2308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3268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12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rPr>
                <a:t>ADL Store</a:t>
              </a:r>
            </a:p>
          </p:txBody>
        </p:sp>
        <p:pic>
          <p:nvPicPr>
            <p:cNvPr id="149" name="Picture 14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61897" y="3048788"/>
              <a:ext cx="904934" cy="904934"/>
            </a:xfrm>
            <a:prstGeom prst="rect">
              <a:avLst/>
            </a:prstGeom>
          </p:spPr>
        </p:pic>
      </p:grpSp>
      <p:sp>
        <p:nvSpPr>
          <p:cNvPr id="150" name="TextBox 149"/>
          <p:cNvSpPr txBox="1"/>
          <p:nvPr/>
        </p:nvSpPr>
        <p:spPr>
          <a:xfrm>
            <a:off x="6635311" y="2252525"/>
            <a:ext cx="224992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3261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rPr>
              <a:t>Hadoop DistCp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7002" y="1708489"/>
            <a:ext cx="780290" cy="780290"/>
          </a:xfrm>
          <a:prstGeom prst="rect">
            <a:avLst/>
          </a:prstGeom>
        </p:spPr>
      </p:pic>
      <p:grpSp>
        <p:nvGrpSpPr>
          <p:cNvPr id="10" name="Group 9"/>
          <p:cNvGrpSpPr/>
          <p:nvPr/>
        </p:nvGrpSpPr>
        <p:grpSpPr>
          <a:xfrm>
            <a:off x="663440" y="1734245"/>
            <a:ext cx="1932970" cy="4700058"/>
            <a:chOff x="663440" y="1734245"/>
            <a:chExt cx="1932970" cy="4700058"/>
          </a:xfrm>
        </p:grpSpPr>
        <p:grpSp>
          <p:nvGrpSpPr>
            <p:cNvPr id="7" name="Group 6"/>
            <p:cNvGrpSpPr/>
            <p:nvPr/>
          </p:nvGrpSpPr>
          <p:grpSpPr>
            <a:xfrm>
              <a:off x="663440" y="1734245"/>
              <a:ext cx="1932970" cy="4700058"/>
              <a:chOff x="663440" y="1734245"/>
              <a:chExt cx="1932970" cy="4700058"/>
            </a:xfrm>
          </p:grpSpPr>
          <p:sp>
            <p:nvSpPr>
              <p:cNvPr id="78" name="Rectangle 77"/>
              <p:cNvSpPr/>
              <p:nvPr/>
            </p:nvSpPr>
            <p:spPr>
              <a:xfrm>
                <a:off x="1012936" y="2592662"/>
                <a:ext cx="1119290" cy="219733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ctr" defTabSz="93234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ea typeface="Segoe UI" pitchFamily="34" charset="0"/>
                    <a:cs typeface="Segoe UI" pitchFamily="34" charset="0"/>
                  </a:rPr>
                  <a:t>Azure SQL DB</a:t>
                </a:r>
              </a:p>
            </p:txBody>
          </p:sp>
          <p:grpSp>
            <p:nvGrpSpPr>
              <p:cNvPr id="82" name="Group 81"/>
              <p:cNvGrpSpPr/>
              <p:nvPr/>
            </p:nvGrpSpPr>
            <p:grpSpPr>
              <a:xfrm>
                <a:off x="1244746" y="1734245"/>
                <a:ext cx="1060678" cy="774914"/>
                <a:chOff x="1171818" y="1700394"/>
                <a:chExt cx="1039827" cy="759788"/>
              </a:xfrm>
              <a:solidFill>
                <a:srgbClr val="0070C0"/>
              </a:solidFill>
            </p:grpSpPr>
            <p:sp>
              <p:nvSpPr>
                <p:cNvPr id="100" name="Freeform 106"/>
                <p:cNvSpPr>
                  <a:spLocks noEditPoints="1"/>
                </p:cNvSpPr>
                <p:nvPr/>
              </p:nvSpPr>
              <p:spPr bwMode="auto">
                <a:xfrm>
                  <a:off x="1171818" y="1700394"/>
                  <a:ext cx="642781" cy="751095"/>
                </a:xfrm>
                <a:custGeom>
                  <a:avLst/>
                  <a:gdLst>
                    <a:gd name="T0" fmla="*/ 35 w 70"/>
                    <a:gd name="T1" fmla="*/ 4 h 82"/>
                    <a:gd name="T2" fmla="*/ 64 w 70"/>
                    <a:gd name="T3" fmla="*/ 12 h 82"/>
                    <a:gd name="T4" fmla="*/ 35 w 70"/>
                    <a:gd name="T5" fmla="*/ 20 h 82"/>
                    <a:gd name="T6" fmla="*/ 6 w 70"/>
                    <a:gd name="T7" fmla="*/ 12 h 82"/>
                    <a:gd name="T8" fmla="*/ 35 w 70"/>
                    <a:gd name="T9" fmla="*/ 4 h 82"/>
                    <a:gd name="T10" fmla="*/ 35 w 70"/>
                    <a:gd name="T11" fmla="*/ 0 h 82"/>
                    <a:gd name="T12" fmla="*/ 21 w 70"/>
                    <a:gd name="T13" fmla="*/ 1 h 82"/>
                    <a:gd name="T14" fmla="*/ 10 w 70"/>
                    <a:gd name="T15" fmla="*/ 4 h 82"/>
                    <a:gd name="T16" fmla="*/ 3 w 70"/>
                    <a:gd name="T17" fmla="*/ 8 h 82"/>
                    <a:gd name="T18" fmla="*/ 1 w 70"/>
                    <a:gd name="T19" fmla="*/ 11 h 82"/>
                    <a:gd name="T20" fmla="*/ 0 w 70"/>
                    <a:gd name="T21" fmla="*/ 14 h 82"/>
                    <a:gd name="T22" fmla="*/ 0 w 70"/>
                    <a:gd name="T23" fmla="*/ 69 h 82"/>
                    <a:gd name="T24" fmla="*/ 1 w 70"/>
                    <a:gd name="T25" fmla="*/ 71 h 82"/>
                    <a:gd name="T26" fmla="*/ 3 w 70"/>
                    <a:gd name="T27" fmla="*/ 74 h 82"/>
                    <a:gd name="T28" fmla="*/ 10 w 70"/>
                    <a:gd name="T29" fmla="*/ 78 h 82"/>
                    <a:gd name="T30" fmla="*/ 21 w 70"/>
                    <a:gd name="T31" fmla="*/ 81 h 82"/>
                    <a:gd name="T32" fmla="*/ 35 w 70"/>
                    <a:gd name="T33" fmla="*/ 82 h 82"/>
                    <a:gd name="T34" fmla="*/ 60 w 70"/>
                    <a:gd name="T35" fmla="*/ 78 h 82"/>
                    <a:gd name="T36" fmla="*/ 67 w 70"/>
                    <a:gd name="T37" fmla="*/ 74 h 82"/>
                    <a:gd name="T38" fmla="*/ 69 w 70"/>
                    <a:gd name="T39" fmla="*/ 71 h 82"/>
                    <a:gd name="T40" fmla="*/ 70 w 70"/>
                    <a:gd name="T41" fmla="*/ 69 h 82"/>
                    <a:gd name="T42" fmla="*/ 70 w 70"/>
                    <a:gd name="T43" fmla="*/ 14 h 82"/>
                    <a:gd name="T44" fmla="*/ 67 w 70"/>
                    <a:gd name="T45" fmla="*/ 8 h 82"/>
                    <a:gd name="T46" fmla="*/ 60 w 70"/>
                    <a:gd name="T47" fmla="*/ 4 h 82"/>
                    <a:gd name="T48" fmla="*/ 49 w 70"/>
                    <a:gd name="T49" fmla="*/ 1 h 82"/>
                    <a:gd name="T50" fmla="*/ 35 w 70"/>
                    <a:gd name="T51" fmla="*/ 0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70" h="82">
                      <a:moveTo>
                        <a:pt x="35" y="4"/>
                      </a:moveTo>
                      <a:cubicBezTo>
                        <a:pt x="51" y="4"/>
                        <a:pt x="64" y="8"/>
                        <a:pt x="64" y="12"/>
                      </a:cubicBezTo>
                      <a:cubicBezTo>
                        <a:pt x="64" y="17"/>
                        <a:pt x="51" y="20"/>
                        <a:pt x="35" y="20"/>
                      </a:cubicBezTo>
                      <a:cubicBezTo>
                        <a:pt x="19" y="20"/>
                        <a:pt x="6" y="17"/>
                        <a:pt x="6" y="12"/>
                      </a:cubicBezTo>
                      <a:cubicBezTo>
                        <a:pt x="6" y="8"/>
                        <a:pt x="19" y="4"/>
                        <a:pt x="35" y="4"/>
                      </a:cubicBezTo>
                      <a:close/>
                      <a:moveTo>
                        <a:pt x="35" y="0"/>
                      </a:moveTo>
                      <a:cubicBezTo>
                        <a:pt x="21" y="1"/>
                        <a:pt x="21" y="1"/>
                        <a:pt x="21" y="1"/>
                      </a:cubicBezTo>
                      <a:cubicBezTo>
                        <a:pt x="10" y="4"/>
                        <a:pt x="10" y="4"/>
                        <a:pt x="10" y="4"/>
                      </a:cubicBezTo>
                      <a:cubicBezTo>
                        <a:pt x="3" y="8"/>
                        <a:pt x="3" y="8"/>
                        <a:pt x="3" y="8"/>
                      </a:cubicBezTo>
                      <a:cubicBezTo>
                        <a:pt x="1" y="11"/>
                        <a:pt x="1" y="11"/>
                        <a:pt x="1" y="11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0" y="69"/>
                        <a:pt x="0" y="69"/>
                        <a:pt x="0" y="69"/>
                      </a:cubicBezTo>
                      <a:cubicBezTo>
                        <a:pt x="1" y="71"/>
                        <a:pt x="1" y="71"/>
                        <a:pt x="1" y="71"/>
                      </a:cubicBezTo>
                      <a:cubicBezTo>
                        <a:pt x="3" y="74"/>
                        <a:pt x="3" y="74"/>
                        <a:pt x="3" y="74"/>
                      </a:cubicBezTo>
                      <a:cubicBezTo>
                        <a:pt x="10" y="78"/>
                        <a:pt x="10" y="78"/>
                        <a:pt x="10" y="78"/>
                      </a:cubicBezTo>
                      <a:cubicBezTo>
                        <a:pt x="21" y="81"/>
                        <a:pt x="21" y="81"/>
                        <a:pt x="21" y="81"/>
                      </a:cubicBezTo>
                      <a:cubicBezTo>
                        <a:pt x="26" y="82"/>
                        <a:pt x="30" y="82"/>
                        <a:pt x="35" y="82"/>
                      </a:cubicBezTo>
                      <a:cubicBezTo>
                        <a:pt x="45" y="82"/>
                        <a:pt x="53" y="81"/>
                        <a:pt x="60" y="78"/>
                      </a:cubicBezTo>
                      <a:cubicBezTo>
                        <a:pt x="63" y="77"/>
                        <a:pt x="66" y="76"/>
                        <a:pt x="67" y="74"/>
                      </a:cubicBezTo>
                      <a:cubicBezTo>
                        <a:pt x="68" y="73"/>
                        <a:pt x="69" y="72"/>
                        <a:pt x="69" y="71"/>
                      </a:cubicBezTo>
                      <a:cubicBezTo>
                        <a:pt x="70" y="71"/>
                        <a:pt x="70" y="70"/>
                        <a:pt x="70" y="69"/>
                      </a:cubicBezTo>
                      <a:cubicBezTo>
                        <a:pt x="70" y="14"/>
                        <a:pt x="70" y="14"/>
                        <a:pt x="70" y="14"/>
                      </a:cubicBezTo>
                      <a:cubicBezTo>
                        <a:pt x="70" y="12"/>
                        <a:pt x="69" y="10"/>
                        <a:pt x="67" y="8"/>
                      </a:cubicBezTo>
                      <a:cubicBezTo>
                        <a:pt x="66" y="7"/>
                        <a:pt x="63" y="5"/>
                        <a:pt x="60" y="4"/>
                      </a:cubicBezTo>
                      <a:cubicBezTo>
                        <a:pt x="57" y="3"/>
                        <a:pt x="53" y="2"/>
                        <a:pt x="49" y="1"/>
                      </a:cubicBezTo>
                      <a:cubicBezTo>
                        <a:pt x="45" y="0"/>
                        <a:pt x="40" y="0"/>
                        <a:pt x="35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0" tIns="182880" rIns="0" bIns="0" numCol="1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3268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5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</a:rPr>
                    <a:t>SQL</a:t>
                  </a:r>
                </a:p>
              </p:txBody>
            </p:sp>
            <p:sp>
              <p:nvSpPr>
                <p:cNvPr id="101" name="Freeform 46"/>
                <p:cNvSpPr>
                  <a:spLocks/>
                </p:cNvSpPr>
                <p:nvPr/>
              </p:nvSpPr>
              <p:spPr bwMode="auto">
                <a:xfrm>
                  <a:off x="1673482" y="2104582"/>
                  <a:ext cx="538163" cy="355600"/>
                </a:xfrm>
                <a:custGeom>
                  <a:avLst/>
                  <a:gdLst>
                    <a:gd name="T0" fmla="*/ 203 w 242"/>
                    <a:gd name="T1" fmla="*/ 70 h 160"/>
                    <a:gd name="T2" fmla="*/ 203 w 242"/>
                    <a:gd name="T3" fmla="*/ 67 h 160"/>
                    <a:gd name="T4" fmla="*/ 136 w 242"/>
                    <a:gd name="T5" fmla="*/ 0 h 160"/>
                    <a:gd name="T6" fmla="*/ 81 w 242"/>
                    <a:gd name="T7" fmla="*/ 30 h 160"/>
                    <a:gd name="T8" fmla="*/ 62 w 242"/>
                    <a:gd name="T9" fmla="*/ 25 h 160"/>
                    <a:gd name="T10" fmla="*/ 24 w 242"/>
                    <a:gd name="T11" fmla="*/ 63 h 160"/>
                    <a:gd name="T12" fmla="*/ 0 w 242"/>
                    <a:gd name="T13" fmla="*/ 107 h 160"/>
                    <a:gd name="T14" fmla="*/ 46 w 242"/>
                    <a:gd name="T15" fmla="*/ 160 h 160"/>
                    <a:gd name="T16" fmla="*/ 52 w 242"/>
                    <a:gd name="T17" fmla="*/ 160 h 160"/>
                    <a:gd name="T18" fmla="*/ 57 w 242"/>
                    <a:gd name="T19" fmla="*/ 160 h 160"/>
                    <a:gd name="T20" fmla="*/ 166 w 242"/>
                    <a:gd name="T21" fmla="*/ 160 h 160"/>
                    <a:gd name="T22" fmla="*/ 171 w 242"/>
                    <a:gd name="T23" fmla="*/ 160 h 160"/>
                    <a:gd name="T24" fmla="*/ 179 w 242"/>
                    <a:gd name="T25" fmla="*/ 160 h 160"/>
                    <a:gd name="T26" fmla="*/ 197 w 242"/>
                    <a:gd name="T27" fmla="*/ 160 h 160"/>
                    <a:gd name="T28" fmla="*/ 242 w 242"/>
                    <a:gd name="T29" fmla="*/ 115 h 160"/>
                    <a:gd name="T30" fmla="*/ 203 w 242"/>
                    <a:gd name="T31" fmla="*/ 70 h 1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42" h="160">
                      <a:moveTo>
                        <a:pt x="203" y="70"/>
                      </a:moveTo>
                      <a:cubicBezTo>
                        <a:pt x="203" y="69"/>
                        <a:pt x="203" y="68"/>
                        <a:pt x="203" y="67"/>
                      </a:cubicBezTo>
                      <a:cubicBezTo>
                        <a:pt x="203" y="30"/>
                        <a:pt x="173" y="0"/>
                        <a:pt x="136" y="0"/>
                      </a:cubicBezTo>
                      <a:cubicBezTo>
                        <a:pt x="113" y="0"/>
                        <a:pt x="93" y="12"/>
                        <a:pt x="81" y="30"/>
                      </a:cubicBezTo>
                      <a:cubicBezTo>
                        <a:pt x="75" y="27"/>
                        <a:pt x="69" y="25"/>
                        <a:pt x="62" y="25"/>
                      </a:cubicBezTo>
                      <a:cubicBezTo>
                        <a:pt x="41" y="25"/>
                        <a:pt x="24" y="42"/>
                        <a:pt x="24" y="63"/>
                      </a:cubicBezTo>
                      <a:cubicBezTo>
                        <a:pt x="9" y="73"/>
                        <a:pt x="0" y="89"/>
                        <a:pt x="0" y="107"/>
                      </a:cubicBezTo>
                      <a:cubicBezTo>
                        <a:pt x="0" y="135"/>
                        <a:pt x="20" y="157"/>
                        <a:pt x="46" y="160"/>
                      </a:cubicBezTo>
                      <a:cubicBezTo>
                        <a:pt x="48" y="160"/>
                        <a:pt x="50" y="160"/>
                        <a:pt x="52" y="160"/>
                      </a:cubicBezTo>
                      <a:cubicBezTo>
                        <a:pt x="54" y="160"/>
                        <a:pt x="56" y="160"/>
                        <a:pt x="57" y="160"/>
                      </a:cubicBezTo>
                      <a:cubicBezTo>
                        <a:pt x="82" y="160"/>
                        <a:pt x="139" y="160"/>
                        <a:pt x="166" y="160"/>
                      </a:cubicBezTo>
                      <a:cubicBezTo>
                        <a:pt x="171" y="160"/>
                        <a:pt x="171" y="160"/>
                        <a:pt x="171" y="160"/>
                      </a:cubicBezTo>
                      <a:cubicBezTo>
                        <a:pt x="173" y="160"/>
                        <a:pt x="177" y="160"/>
                        <a:pt x="179" y="160"/>
                      </a:cubicBezTo>
                      <a:cubicBezTo>
                        <a:pt x="197" y="160"/>
                        <a:pt x="197" y="160"/>
                        <a:pt x="197" y="160"/>
                      </a:cubicBezTo>
                      <a:cubicBezTo>
                        <a:pt x="222" y="160"/>
                        <a:pt x="242" y="139"/>
                        <a:pt x="242" y="115"/>
                      </a:cubicBezTo>
                      <a:cubicBezTo>
                        <a:pt x="242" y="92"/>
                        <a:pt x="225" y="73"/>
                        <a:pt x="203" y="70"/>
                      </a:cubicBezTo>
                    </a:path>
                  </a:pathLst>
                </a:custGeom>
                <a:grpFill/>
                <a:ln w="12700">
                  <a:solidFill>
                    <a:schemeClr val="bg1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3268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83" name="Rectangle 82"/>
              <p:cNvSpPr/>
              <p:nvPr/>
            </p:nvSpPr>
            <p:spPr>
              <a:xfrm>
                <a:off x="979415" y="3869614"/>
                <a:ext cx="1186332" cy="219733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ctr" defTabSz="93234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ea typeface="Segoe UI" pitchFamily="34" charset="0"/>
                    <a:cs typeface="Segoe UI" pitchFamily="34" charset="0"/>
                  </a:rPr>
                  <a:t>Azure SQL DW</a:t>
                </a:r>
              </a:p>
            </p:txBody>
          </p:sp>
          <p:sp>
            <p:nvSpPr>
              <p:cNvPr id="84" name="Freeform 106"/>
              <p:cNvSpPr>
                <a:spLocks noEditPoints="1"/>
              </p:cNvSpPr>
              <p:nvPr/>
            </p:nvSpPr>
            <p:spPr bwMode="auto">
              <a:xfrm>
                <a:off x="1244746" y="3077346"/>
                <a:ext cx="655670" cy="766048"/>
              </a:xfrm>
              <a:custGeom>
                <a:avLst/>
                <a:gdLst>
                  <a:gd name="T0" fmla="*/ 35 w 70"/>
                  <a:gd name="T1" fmla="*/ 4 h 82"/>
                  <a:gd name="T2" fmla="*/ 64 w 70"/>
                  <a:gd name="T3" fmla="*/ 12 h 82"/>
                  <a:gd name="T4" fmla="*/ 35 w 70"/>
                  <a:gd name="T5" fmla="*/ 20 h 82"/>
                  <a:gd name="T6" fmla="*/ 6 w 70"/>
                  <a:gd name="T7" fmla="*/ 12 h 82"/>
                  <a:gd name="T8" fmla="*/ 35 w 70"/>
                  <a:gd name="T9" fmla="*/ 4 h 82"/>
                  <a:gd name="T10" fmla="*/ 35 w 70"/>
                  <a:gd name="T11" fmla="*/ 0 h 82"/>
                  <a:gd name="T12" fmla="*/ 21 w 70"/>
                  <a:gd name="T13" fmla="*/ 1 h 82"/>
                  <a:gd name="T14" fmla="*/ 10 w 70"/>
                  <a:gd name="T15" fmla="*/ 4 h 82"/>
                  <a:gd name="T16" fmla="*/ 3 w 70"/>
                  <a:gd name="T17" fmla="*/ 8 h 82"/>
                  <a:gd name="T18" fmla="*/ 1 w 70"/>
                  <a:gd name="T19" fmla="*/ 11 h 82"/>
                  <a:gd name="T20" fmla="*/ 0 w 70"/>
                  <a:gd name="T21" fmla="*/ 14 h 82"/>
                  <a:gd name="T22" fmla="*/ 0 w 70"/>
                  <a:gd name="T23" fmla="*/ 69 h 82"/>
                  <a:gd name="T24" fmla="*/ 1 w 70"/>
                  <a:gd name="T25" fmla="*/ 71 h 82"/>
                  <a:gd name="T26" fmla="*/ 3 w 70"/>
                  <a:gd name="T27" fmla="*/ 74 h 82"/>
                  <a:gd name="T28" fmla="*/ 10 w 70"/>
                  <a:gd name="T29" fmla="*/ 78 h 82"/>
                  <a:gd name="T30" fmla="*/ 21 w 70"/>
                  <a:gd name="T31" fmla="*/ 81 h 82"/>
                  <a:gd name="T32" fmla="*/ 35 w 70"/>
                  <a:gd name="T33" fmla="*/ 82 h 82"/>
                  <a:gd name="T34" fmla="*/ 60 w 70"/>
                  <a:gd name="T35" fmla="*/ 78 h 82"/>
                  <a:gd name="T36" fmla="*/ 67 w 70"/>
                  <a:gd name="T37" fmla="*/ 74 h 82"/>
                  <a:gd name="T38" fmla="*/ 69 w 70"/>
                  <a:gd name="T39" fmla="*/ 71 h 82"/>
                  <a:gd name="T40" fmla="*/ 70 w 70"/>
                  <a:gd name="T41" fmla="*/ 69 h 82"/>
                  <a:gd name="T42" fmla="*/ 70 w 70"/>
                  <a:gd name="T43" fmla="*/ 14 h 82"/>
                  <a:gd name="T44" fmla="*/ 67 w 70"/>
                  <a:gd name="T45" fmla="*/ 8 h 82"/>
                  <a:gd name="T46" fmla="*/ 60 w 70"/>
                  <a:gd name="T47" fmla="*/ 4 h 82"/>
                  <a:gd name="T48" fmla="*/ 49 w 70"/>
                  <a:gd name="T49" fmla="*/ 1 h 82"/>
                  <a:gd name="T50" fmla="*/ 35 w 70"/>
                  <a:gd name="T51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0" h="82">
                    <a:moveTo>
                      <a:pt x="35" y="4"/>
                    </a:moveTo>
                    <a:cubicBezTo>
                      <a:pt x="51" y="4"/>
                      <a:pt x="64" y="8"/>
                      <a:pt x="64" y="12"/>
                    </a:cubicBezTo>
                    <a:cubicBezTo>
                      <a:pt x="64" y="17"/>
                      <a:pt x="51" y="20"/>
                      <a:pt x="35" y="20"/>
                    </a:cubicBezTo>
                    <a:cubicBezTo>
                      <a:pt x="19" y="20"/>
                      <a:pt x="6" y="17"/>
                      <a:pt x="6" y="12"/>
                    </a:cubicBezTo>
                    <a:cubicBezTo>
                      <a:pt x="6" y="8"/>
                      <a:pt x="19" y="4"/>
                      <a:pt x="35" y="4"/>
                    </a:cubicBezTo>
                    <a:close/>
                    <a:moveTo>
                      <a:pt x="35" y="0"/>
                    </a:moveTo>
                    <a:cubicBezTo>
                      <a:pt x="21" y="1"/>
                      <a:pt x="21" y="1"/>
                      <a:pt x="21" y="1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69"/>
                      <a:pt x="0" y="69"/>
                      <a:pt x="0" y="69"/>
                    </a:cubicBezTo>
                    <a:cubicBezTo>
                      <a:pt x="1" y="71"/>
                      <a:pt x="1" y="71"/>
                      <a:pt x="1" y="71"/>
                    </a:cubicBezTo>
                    <a:cubicBezTo>
                      <a:pt x="3" y="74"/>
                      <a:pt x="3" y="74"/>
                      <a:pt x="3" y="74"/>
                    </a:cubicBezTo>
                    <a:cubicBezTo>
                      <a:pt x="10" y="78"/>
                      <a:pt x="10" y="78"/>
                      <a:pt x="10" y="78"/>
                    </a:cubicBezTo>
                    <a:cubicBezTo>
                      <a:pt x="21" y="81"/>
                      <a:pt x="21" y="81"/>
                      <a:pt x="21" y="81"/>
                    </a:cubicBezTo>
                    <a:cubicBezTo>
                      <a:pt x="26" y="82"/>
                      <a:pt x="30" y="82"/>
                      <a:pt x="35" y="82"/>
                    </a:cubicBezTo>
                    <a:cubicBezTo>
                      <a:pt x="45" y="82"/>
                      <a:pt x="53" y="81"/>
                      <a:pt x="60" y="78"/>
                    </a:cubicBezTo>
                    <a:cubicBezTo>
                      <a:pt x="63" y="77"/>
                      <a:pt x="66" y="76"/>
                      <a:pt x="67" y="74"/>
                    </a:cubicBezTo>
                    <a:cubicBezTo>
                      <a:pt x="68" y="73"/>
                      <a:pt x="69" y="72"/>
                      <a:pt x="69" y="71"/>
                    </a:cubicBezTo>
                    <a:cubicBezTo>
                      <a:pt x="70" y="71"/>
                      <a:pt x="70" y="70"/>
                      <a:pt x="70" y="69"/>
                    </a:cubicBezTo>
                    <a:cubicBezTo>
                      <a:pt x="70" y="14"/>
                      <a:pt x="70" y="14"/>
                      <a:pt x="70" y="14"/>
                    </a:cubicBezTo>
                    <a:cubicBezTo>
                      <a:pt x="70" y="12"/>
                      <a:pt x="69" y="10"/>
                      <a:pt x="67" y="8"/>
                    </a:cubicBezTo>
                    <a:cubicBezTo>
                      <a:pt x="66" y="7"/>
                      <a:pt x="63" y="5"/>
                      <a:pt x="60" y="4"/>
                    </a:cubicBezTo>
                    <a:cubicBezTo>
                      <a:pt x="57" y="3"/>
                      <a:pt x="53" y="2"/>
                      <a:pt x="49" y="1"/>
                    </a:cubicBezTo>
                    <a:cubicBezTo>
                      <a:pt x="45" y="0"/>
                      <a:pt x="40" y="0"/>
                      <a:pt x="35" y="0"/>
                    </a:cubicBezTo>
                    <a:close/>
                  </a:path>
                </a:pathLst>
              </a:custGeom>
              <a:solidFill>
                <a:srgbClr val="0070C0"/>
              </a:solidFill>
              <a:ln>
                <a:noFill/>
              </a:ln>
              <a:extLst/>
            </p:spPr>
            <p:txBody>
              <a:bodyPr vert="horz" wrap="square" lIns="0" tIns="18288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3268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5" name="Rectangle 84"/>
              <p:cNvSpPr/>
              <p:nvPr/>
            </p:nvSpPr>
            <p:spPr>
              <a:xfrm>
                <a:off x="1067615" y="4970961"/>
                <a:ext cx="1009931" cy="219733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ctr" defTabSz="93234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ea typeface="Segoe UI" pitchFamily="34" charset="0"/>
                    <a:cs typeface="Segoe UI" pitchFamily="34" charset="0"/>
                  </a:rPr>
                  <a:t>Azure Tables</a:t>
                </a:r>
              </a:p>
            </p:txBody>
          </p:sp>
          <p:sp>
            <p:nvSpPr>
              <p:cNvPr id="87" name="Rectangle 86"/>
              <p:cNvSpPr/>
              <p:nvPr/>
            </p:nvSpPr>
            <p:spPr>
              <a:xfrm>
                <a:off x="663440" y="6214570"/>
                <a:ext cx="1932970" cy="219733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ctr" defTabSz="93234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ea typeface="Segoe UI" pitchFamily="34" charset="0"/>
                    <a:cs typeface="Segoe UI" pitchFamily="34" charset="0"/>
                  </a:rPr>
                  <a:t>On-premises databases</a:t>
                </a:r>
              </a:p>
            </p:txBody>
          </p:sp>
          <p:pic>
            <p:nvPicPr>
              <p:cNvPr id="5" name="Picture 4"/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193883" y="4155886"/>
                <a:ext cx="780290" cy="780290"/>
              </a:xfrm>
              <a:prstGeom prst="rect">
                <a:avLst/>
              </a:prstGeom>
            </p:spPr>
          </p:pic>
        </p:grp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4601" y="5347400"/>
              <a:ext cx="780290" cy="780290"/>
            </a:xfrm>
            <a:prstGeom prst="rect">
              <a:avLst/>
            </a:prstGeom>
          </p:spPr>
        </p:pic>
        <p:pic>
          <p:nvPicPr>
            <p:cNvPr id="157" name="Picture 156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72580" y="5347400"/>
              <a:ext cx="780290" cy="78029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68748822"/>
      </p:ext>
    </p:extLst>
  </p:cSld>
  <p:clrMapOvr>
    <a:masterClrMapping/>
  </p:clrMapOvr>
  <p:transition spd="med"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</p:sp>
      <p:sp>
        <p:nvSpPr>
          <p:cNvPr id="7" name="Rectangle 6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21564" y="320040"/>
            <a:ext cx="11548872" cy="6217920"/>
          </a:xfrm>
          <a:prstGeom prst="rect">
            <a:avLst/>
          </a:prstGeom>
          <a:solidFill>
            <a:schemeClr val="tx1">
              <a:alpha val="8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cxnSp>
        <p:nvCxnSpPr>
          <p:cNvPr id="14" name="Straight Connector 7"/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055891" y="2057399"/>
            <a:ext cx="0" cy="27432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380588" y="965199"/>
            <a:ext cx="7193946" cy="4975451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5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zure Data Lake Analytics</a:t>
            </a:r>
          </a:p>
        </p:txBody>
      </p:sp>
    </p:spTree>
    <p:extLst>
      <p:ext uri="{BB962C8B-B14F-4D97-AF65-F5344CB8AC3E}">
        <p14:creationId xmlns:p14="http://schemas.microsoft.com/office/powerpoint/2010/main" val="126348705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1"/>
          <p:cNvSpPr/>
          <p:nvPr/>
        </p:nvSpPr>
        <p:spPr bwMode="auto">
          <a:xfrm>
            <a:off x="9543371" y="1990002"/>
            <a:ext cx="2225011" cy="3753646"/>
          </a:xfrm>
          <a:prstGeom prst="rect">
            <a:avLst/>
          </a:prstGeom>
          <a:solidFill>
            <a:srgbClr val="002050"/>
          </a:solidFill>
          <a:ln w="38100">
            <a:solidFill>
              <a:srgbClr val="94BEFF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91427" tIns="91427" rIns="91427" bIns="45713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1423" defTabSz="932255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rgbClr val="FFFFFF"/>
                </a:solidFill>
                <a:latin typeface="+mj-lt"/>
                <a:ea typeface="Segoe UI" pitchFamily="34" charset="0"/>
                <a:cs typeface="Segoe UI Semibold" panose="020B0702040204020203" pitchFamily="34" charset="0"/>
              </a:rPr>
              <a:t>Enterprise-grade</a:t>
            </a:r>
          </a:p>
        </p:txBody>
      </p:sp>
      <p:sp>
        <p:nvSpPr>
          <p:cNvPr id="16" name="Rectangle 15"/>
          <p:cNvSpPr/>
          <p:nvPr/>
        </p:nvSpPr>
        <p:spPr bwMode="auto">
          <a:xfrm>
            <a:off x="7265226" y="1990002"/>
            <a:ext cx="2225011" cy="3753646"/>
          </a:xfrm>
          <a:prstGeom prst="rect">
            <a:avLst/>
          </a:prstGeom>
          <a:solidFill>
            <a:srgbClr val="002050"/>
          </a:solidFill>
          <a:ln w="38100">
            <a:solidFill>
              <a:srgbClr val="94BEFF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91427" tIns="91427" rIns="91427" bIns="45713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1423" defTabSz="932255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rgbClr val="FFFFFF"/>
                </a:solidFill>
                <a:latin typeface="+mj-lt"/>
                <a:ea typeface="Segoe UI" pitchFamily="34" charset="0"/>
                <a:cs typeface="Segoe UI Semibold" panose="020B0702040204020203" pitchFamily="34" charset="0"/>
              </a:rPr>
              <a:t>Limitless scale</a:t>
            </a:r>
          </a:p>
        </p:txBody>
      </p:sp>
      <p:sp>
        <p:nvSpPr>
          <p:cNvPr id="15" name="Rectangle 14"/>
          <p:cNvSpPr/>
          <p:nvPr/>
        </p:nvSpPr>
        <p:spPr bwMode="auto">
          <a:xfrm>
            <a:off x="2708934" y="1990002"/>
            <a:ext cx="2225011" cy="3753646"/>
          </a:xfrm>
          <a:prstGeom prst="rect">
            <a:avLst/>
          </a:prstGeom>
          <a:solidFill>
            <a:srgbClr val="002050"/>
          </a:solidFill>
          <a:ln w="38100">
            <a:solidFill>
              <a:srgbClr val="94BEFF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91427" tIns="91427" rIns="91427" bIns="45713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1423" defTabSz="932255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rgbClr val="FFFFFF"/>
                </a:solidFill>
                <a:latin typeface="+mj-lt"/>
                <a:ea typeface="Segoe UI" pitchFamily="34" charset="0"/>
                <a:cs typeface="Segoe UI Semibold" panose="020B0702040204020203" pitchFamily="34" charset="0"/>
              </a:rPr>
              <a:t>Productivity from day one</a:t>
            </a:r>
          </a:p>
        </p:txBody>
      </p:sp>
      <p:sp>
        <p:nvSpPr>
          <p:cNvPr id="38" name="Rectangle 37"/>
          <p:cNvSpPr/>
          <p:nvPr/>
        </p:nvSpPr>
        <p:spPr bwMode="auto">
          <a:xfrm>
            <a:off x="4987081" y="1990002"/>
            <a:ext cx="2225011" cy="3753646"/>
          </a:xfrm>
          <a:prstGeom prst="rect">
            <a:avLst/>
          </a:prstGeom>
          <a:solidFill>
            <a:srgbClr val="002050"/>
          </a:solidFill>
          <a:ln w="38100">
            <a:solidFill>
              <a:srgbClr val="94BEFF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91427" tIns="91427" rIns="91427" bIns="45713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1423" defTabSz="932255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rgbClr val="FFFFFF"/>
                </a:solidFill>
                <a:latin typeface="+mj-lt"/>
                <a:ea typeface="Segoe UI" pitchFamily="34" charset="0"/>
                <a:cs typeface="Segoe UI Semibold" panose="020B0702040204020203" pitchFamily="34" charset="0"/>
              </a:rPr>
              <a:t>Easy and powerful data preparation</a:t>
            </a:r>
          </a:p>
        </p:txBody>
      </p:sp>
      <p:sp>
        <p:nvSpPr>
          <p:cNvPr id="36" name="Rectangle 35"/>
          <p:cNvSpPr/>
          <p:nvPr/>
        </p:nvSpPr>
        <p:spPr bwMode="auto">
          <a:xfrm>
            <a:off x="430789" y="1990002"/>
            <a:ext cx="2225011" cy="3753646"/>
          </a:xfrm>
          <a:prstGeom prst="rect">
            <a:avLst/>
          </a:prstGeom>
          <a:solidFill>
            <a:srgbClr val="002050"/>
          </a:solidFill>
          <a:ln w="38100">
            <a:solidFill>
              <a:srgbClr val="94BEFF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91427" tIns="91427" rIns="91427" bIns="45713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1423" defTabSz="932255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rgbClr val="FFFFFF"/>
                </a:solidFill>
                <a:latin typeface="+mj-lt"/>
                <a:ea typeface="Segoe UI" pitchFamily="34" charset="0"/>
                <a:cs typeface="Segoe UI Semibold" panose="020B0702040204020203" pitchFamily="34" charset="0"/>
              </a:rPr>
              <a:t>All data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11366418" y="6628881"/>
            <a:ext cx="555518" cy="133841"/>
          </a:xfrm>
          <a:prstGeom prst="rect">
            <a:avLst/>
          </a:prstGeom>
        </p:spPr>
        <p:txBody>
          <a:bodyPr/>
          <a:lstStyle/>
          <a:p>
            <a:pPr defTabSz="896386">
              <a:defRPr/>
            </a:pPr>
            <a:fld id="{75FAD755-3BD0-2447-A9DF-109DAABEFD99}" type="slidenum">
              <a:rPr sz="1765" kern="0">
                <a:solidFill>
                  <a:sysClr val="windowText" lastClr="000000"/>
                </a:solidFill>
              </a:rPr>
              <a:pPr defTabSz="896386">
                <a:defRPr/>
              </a:pPr>
              <a:t>24</a:t>
            </a:fld>
            <a:endParaRPr sz="1765" kern="0" dirty="0">
              <a:solidFill>
                <a:sysClr val="windowText" lastClr="000000"/>
              </a:solidFill>
            </a:endParaRPr>
          </a:p>
        </p:txBody>
      </p:sp>
      <p:sp>
        <p:nvSpPr>
          <p:cNvPr id="5" name="Freeform 5"/>
          <p:cNvSpPr>
            <a:spLocks/>
          </p:cNvSpPr>
          <p:nvPr/>
        </p:nvSpPr>
        <p:spPr bwMode="auto">
          <a:xfrm>
            <a:off x="2882679" y="4060131"/>
            <a:ext cx="1841522" cy="1484807"/>
          </a:xfrm>
          <a:custGeom>
            <a:avLst/>
            <a:gdLst>
              <a:gd name="T0" fmla="*/ 8 w 1476"/>
              <a:gd name="T1" fmla="*/ 513 h 513"/>
              <a:gd name="T2" fmla="*/ 0 w 1476"/>
              <a:gd name="T3" fmla="*/ 478 h 513"/>
              <a:gd name="T4" fmla="*/ 429 w 1476"/>
              <a:gd name="T5" fmla="*/ 374 h 513"/>
              <a:gd name="T6" fmla="*/ 780 w 1476"/>
              <a:gd name="T7" fmla="*/ 155 h 513"/>
              <a:gd name="T8" fmla="*/ 1213 w 1476"/>
              <a:gd name="T9" fmla="*/ 138 h 513"/>
              <a:gd name="T10" fmla="*/ 1476 w 1476"/>
              <a:gd name="T11" fmla="*/ 0 h 513"/>
              <a:gd name="T12" fmla="*/ 1476 w 1476"/>
              <a:gd name="T13" fmla="*/ 0 h 513"/>
              <a:gd name="T14" fmla="*/ 1476 w 1476"/>
              <a:gd name="T15" fmla="*/ 36 h 513"/>
              <a:gd name="T16" fmla="*/ 1476 w 1476"/>
              <a:gd name="T17" fmla="*/ 39 h 513"/>
              <a:gd name="T18" fmla="*/ 1222 w 1476"/>
              <a:gd name="T19" fmla="*/ 175 h 513"/>
              <a:gd name="T20" fmla="*/ 792 w 1476"/>
              <a:gd name="T21" fmla="*/ 190 h 513"/>
              <a:gd name="T22" fmla="*/ 443 w 1476"/>
              <a:gd name="T23" fmla="*/ 407 h 513"/>
              <a:gd name="T24" fmla="*/ 8 w 1476"/>
              <a:gd name="T25" fmla="*/ 513 h 5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76" h="513">
                <a:moveTo>
                  <a:pt x="8" y="513"/>
                </a:moveTo>
                <a:lnTo>
                  <a:pt x="0" y="478"/>
                </a:lnTo>
                <a:lnTo>
                  <a:pt x="429" y="374"/>
                </a:lnTo>
                <a:lnTo>
                  <a:pt x="780" y="155"/>
                </a:lnTo>
                <a:lnTo>
                  <a:pt x="1213" y="138"/>
                </a:lnTo>
                <a:lnTo>
                  <a:pt x="1476" y="0"/>
                </a:lnTo>
                <a:lnTo>
                  <a:pt x="1476" y="0"/>
                </a:lnTo>
                <a:lnTo>
                  <a:pt x="1476" y="36"/>
                </a:lnTo>
                <a:lnTo>
                  <a:pt x="1476" y="39"/>
                </a:lnTo>
                <a:lnTo>
                  <a:pt x="1222" y="175"/>
                </a:lnTo>
                <a:lnTo>
                  <a:pt x="792" y="190"/>
                </a:lnTo>
                <a:lnTo>
                  <a:pt x="443" y="407"/>
                </a:lnTo>
                <a:lnTo>
                  <a:pt x="8" y="513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896386"/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555" name="Isosceles Triangle 554"/>
          <p:cNvSpPr/>
          <p:nvPr/>
        </p:nvSpPr>
        <p:spPr bwMode="auto">
          <a:xfrm rot="2530879">
            <a:off x="4609879" y="3957481"/>
            <a:ext cx="278077" cy="305257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896386"/>
            <a:endParaRPr lang="en-US" kern="0" dirty="0">
              <a:solidFill>
                <a:srgbClr val="000000"/>
              </a:solidFill>
            </a:endParaRPr>
          </a:p>
        </p:txBody>
      </p:sp>
      <p:sp>
        <p:nvSpPr>
          <p:cNvPr id="558" name="Freeform 557"/>
          <p:cNvSpPr/>
          <p:nvPr/>
        </p:nvSpPr>
        <p:spPr bwMode="auto">
          <a:xfrm>
            <a:off x="2873051" y="3806526"/>
            <a:ext cx="1853107" cy="1744546"/>
          </a:xfrm>
          <a:custGeom>
            <a:avLst/>
            <a:gdLst>
              <a:gd name="connsiteX0" fmla="*/ 0 w 4470400"/>
              <a:gd name="connsiteY0" fmla="*/ 0 h 1866900"/>
              <a:gd name="connsiteX1" fmla="*/ 0 w 4470400"/>
              <a:gd name="connsiteY1" fmla="*/ 1866900 h 1866900"/>
              <a:gd name="connsiteX2" fmla="*/ 4470400 w 4470400"/>
              <a:gd name="connsiteY2" fmla="*/ 1866900 h 1866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0400" h="1866900">
                <a:moveTo>
                  <a:pt x="0" y="0"/>
                </a:moveTo>
                <a:lnTo>
                  <a:pt x="0" y="1866900"/>
                </a:lnTo>
                <a:lnTo>
                  <a:pt x="4470400" y="1866900"/>
                </a:lnTo>
              </a:path>
            </a:pathLst>
          </a:custGeom>
          <a:ln w="38100">
            <a:solidFill>
              <a:srgbClr val="FFB90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896386"/>
            <a:endParaRPr lang="en-US" kern="0">
              <a:solidFill>
                <a:srgbClr val="000000"/>
              </a:solidFill>
            </a:endParaRPr>
          </a:p>
        </p:txBody>
      </p:sp>
      <p:pic>
        <p:nvPicPr>
          <p:cNvPr id="592" name="Picture 59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45822" y="3334685"/>
            <a:ext cx="1746764" cy="1746764"/>
          </a:xfrm>
          <a:prstGeom prst="rect">
            <a:avLst/>
          </a:prstGeom>
        </p:spPr>
      </p:pic>
      <p:pic>
        <p:nvPicPr>
          <p:cNvPr id="610" name="Picture 60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79346" y="3754534"/>
            <a:ext cx="2001522" cy="2001522"/>
          </a:xfrm>
          <a:prstGeom prst="rect">
            <a:avLst/>
          </a:prstGeom>
        </p:spPr>
      </p:pic>
      <p:pic>
        <p:nvPicPr>
          <p:cNvPr id="611" name="Picture 6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702450" y="4898597"/>
            <a:ext cx="800813" cy="547925"/>
          </a:xfrm>
          <a:prstGeom prst="rect">
            <a:avLst/>
          </a:prstGeom>
        </p:spPr>
      </p:pic>
      <p:pic>
        <p:nvPicPr>
          <p:cNvPr id="620" name="Picture 61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67256" y="3398820"/>
            <a:ext cx="2559957" cy="2559957"/>
          </a:xfrm>
          <a:prstGeom prst="rect">
            <a:avLst/>
          </a:prstGeom>
        </p:spPr>
      </p:pic>
      <p:sp>
        <p:nvSpPr>
          <p:cNvPr id="819" name="Rectangle 818"/>
          <p:cNvSpPr/>
          <p:nvPr/>
        </p:nvSpPr>
        <p:spPr>
          <a:xfrm>
            <a:off x="344174" y="4020497"/>
            <a:ext cx="2387781" cy="1783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523">
              <a:defRPr/>
            </a:pPr>
            <a:r>
              <a:rPr lang="en-US" sz="1100" kern="0" dirty="0">
                <a:solidFill>
                  <a:schemeClr val="accent1">
                    <a:lumMod val="75000"/>
                    <a:lumOff val="2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010010100100010101010010100100010101010010100100010101010010100100010101010010100100010101010010100100010101010010100100010101010010100100010101010010100100010101010010100100010101010010100100010101010010100100010101010010100100010101010010100100010101010010100100010101010010100100010101010010100100010101010010100</a:t>
            </a:r>
          </a:p>
        </p:txBody>
      </p:sp>
      <p:grpSp>
        <p:nvGrpSpPr>
          <p:cNvPr id="711" name="Group 710"/>
          <p:cNvGrpSpPr/>
          <p:nvPr/>
        </p:nvGrpSpPr>
        <p:grpSpPr>
          <a:xfrm>
            <a:off x="1177045" y="4087714"/>
            <a:ext cx="911335" cy="810629"/>
            <a:chOff x="6942579" y="498882"/>
            <a:chExt cx="287338" cy="255587"/>
          </a:xfrm>
        </p:grpSpPr>
        <p:sp>
          <p:nvSpPr>
            <p:cNvPr id="640" name="Freeform 96"/>
            <p:cNvSpPr>
              <a:spLocks/>
            </p:cNvSpPr>
            <p:nvPr/>
          </p:nvSpPr>
          <p:spPr bwMode="auto">
            <a:xfrm>
              <a:off x="7006079" y="605244"/>
              <a:ext cx="153988" cy="57150"/>
            </a:xfrm>
            <a:custGeom>
              <a:avLst/>
              <a:gdLst>
                <a:gd name="T0" fmla="*/ 100 w 206"/>
                <a:gd name="T1" fmla="*/ 0 h 77"/>
                <a:gd name="T2" fmla="*/ 0 w 206"/>
                <a:gd name="T3" fmla="*/ 40 h 77"/>
                <a:gd name="T4" fmla="*/ 24 w 206"/>
                <a:gd name="T5" fmla="*/ 72 h 77"/>
                <a:gd name="T6" fmla="*/ 100 w 206"/>
                <a:gd name="T7" fmla="*/ 40 h 77"/>
                <a:gd name="T8" fmla="*/ 180 w 206"/>
                <a:gd name="T9" fmla="*/ 77 h 77"/>
                <a:gd name="T10" fmla="*/ 206 w 206"/>
                <a:gd name="T11" fmla="*/ 46 h 77"/>
                <a:gd name="T12" fmla="*/ 100 w 206"/>
                <a:gd name="T13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77">
                  <a:moveTo>
                    <a:pt x="100" y="0"/>
                  </a:moveTo>
                  <a:cubicBezTo>
                    <a:pt x="61" y="0"/>
                    <a:pt x="26" y="15"/>
                    <a:pt x="0" y="40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43" y="53"/>
                    <a:pt x="70" y="40"/>
                    <a:pt x="100" y="40"/>
                  </a:cubicBezTo>
                  <a:cubicBezTo>
                    <a:pt x="132" y="40"/>
                    <a:pt x="160" y="55"/>
                    <a:pt x="180" y="77"/>
                  </a:cubicBezTo>
                  <a:cubicBezTo>
                    <a:pt x="206" y="46"/>
                    <a:pt x="206" y="46"/>
                    <a:pt x="206" y="46"/>
                  </a:cubicBezTo>
                  <a:cubicBezTo>
                    <a:pt x="179" y="18"/>
                    <a:pt x="142" y="0"/>
                    <a:pt x="10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41" name="Freeform 97"/>
            <p:cNvSpPr>
              <a:spLocks/>
            </p:cNvSpPr>
            <p:nvPr/>
          </p:nvSpPr>
          <p:spPr bwMode="auto">
            <a:xfrm>
              <a:off x="6974329" y="551269"/>
              <a:ext cx="220663" cy="71438"/>
            </a:xfrm>
            <a:custGeom>
              <a:avLst/>
              <a:gdLst>
                <a:gd name="T0" fmla="*/ 0 w 295"/>
                <a:gd name="T1" fmla="*/ 53 h 94"/>
                <a:gd name="T2" fmla="*/ 24 w 295"/>
                <a:gd name="T3" fmla="*/ 85 h 94"/>
                <a:gd name="T4" fmla="*/ 142 w 295"/>
                <a:gd name="T5" fmla="*/ 40 h 94"/>
                <a:gd name="T6" fmla="*/ 269 w 295"/>
                <a:gd name="T7" fmla="*/ 94 h 94"/>
                <a:gd name="T8" fmla="*/ 295 w 295"/>
                <a:gd name="T9" fmla="*/ 64 h 94"/>
                <a:gd name="T10" fmla="*/ 142 w 295"/>
                <a:gd name="T11" fmla="*/ 0 h 94"/>
                <a:gd name="T12" fmla="*/ 0 w 295"/>
                <a:gd name="T13" fmla="*/ 53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5" h="94">
                  <a:moveTo>
                    <a:pt x="0" y="53"/>
                  </a:moveTo>
                  <a:cubicBezTo>
                    <a:pt x="24" y="85"/>
                    <a:pt x="24" y="85"/>
                    <a:pt x="24" y="85"/>
                  </a:cubicBezTo>
                  <a:cubicBezTo>
                    <a:pt x="55" y="57"/>
                    <a:pt x="96" y="40"/>
                    <a:pt x="142" y="40"/>
                  </a:cubicBezTo>
                  <a:cubicBezTo>
                    <a:pt x="192" y="40"/>
                    <a:pt x="237" y="61"/>
                    <a:pt x="269" y="94"/>
                  </a:cubicBezTo>
                  <a:cubicBezTo>
                    <a:pt x="295" y="64"/>
                    <a:pt x="295" y="64"/>
                    <a:pt x="295" y="64"/>
                  </a:cubicBezTo>
                  <a:cubicBezTo>
                    <a:pt x="256" y="25"/>
                    <a:pt x="201" y="0"/>
                    <a:pt x="142" y="0"/>
                  </a:cubicBezTo>
                  <a:cubicBezTo>
                    <a:pt x="88" y="0"/>
                    <a:pt x="38" y="20"/>
                    <a:pt x="0" y="5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42" name="Freeform 98"/>
            <p:cNvSpPr>
              <a:spLocks/>
            </p:cNvSpPr>
            <p:nvPr/>
          </p:nvSpPr>
          <p:spPr bwMode="auto">
            <a:xfrm>
              <a:off x="6942579" y="498882"/>
              <a:ext cx="287338" cy="82550"/>
            </a:xfrm>
            <a:custGeom>
              <a:avLst/>
              <a:gdLst>
                <a:gd name="T0" fmla="*/ 184 w 384"/>
                <a:gd name="T1" fmla="*/ 40 h 111"/>
                <a:gd name="T2" fmla="*/ 358 w 384"/>
                <a:gd name="T3" fmla="*/ 111 h 111"/>
                <a:gd name="T4" fmla="*/ 384 w 384"/>
                <a:gd name="T5" fmla="*/ 81 h 111"/>
                <a:gd name="T6" fmla="*/ 184 w 384"/>
                <a:gd name="T7" fmla="*/ 0 h 111"/>
                <a:gd name="T8" fmla="*/ 0 w 384"/>
                <a:gd name="T9" fmla="*/ 66 h 111"/>
                <a:gd name="T10" fmla="*/ 24 w 384"/>
                <a:gd name="T11" fmla="*/ 99 h 111"/>
                <a:gd name="T12" fmla="*/ 184 w 384"/>
                <a:gd name="T13" fmla="*/ 4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4" h="111">
                  <a:moveTo>
                    <a:pt x="184" y="40"/>
                  </a:moveTo>
                  <a:cubicBezTo>
                    <a:pt x="251" y="40"/>
                    <a:pt x="313" y="67"/>
                    <a:pt x="358" y="111"/>
                  </a:cubicBezTo>
                  <a:cubicBezTo>
                    <a:pt x="384" y="81"/>
                    <a:pt x="384" y="81"/>
                    <a:pt x="384" y="81"/>
                  </a:cubicBezTo>
                  <a:cubicBezTo>
                    <a:pt x="332" y="31"/>
                    <a:pt x="261" y="0"/>
                    <a:pt x="184" y="0"/>
                  </a:cubicBezTo>
                  <a:cubicBezTo>
                    <a:pt x="114" y="0"/>
                    <a:pt x="50" y="25"/>
                    <a:pt x="0" y="66"/>
                  </a:cubicBezTo>
                  <a:cubicBezTo>
                    <a:pt x="24" y="99"/>
                    <a:pt x="24" y="99"/>
                    <a:pt x="24" y="99"/>
                  </a:cubicBezTo>
                  <a:cubicBezTo>
                    <a:pt x="67" y="62"/>
                    <a:pt x="123" y="40"/>
                    <a:pt x="184" y="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43" name="Oval 99"/>
            <p:cNvSpPr>
              <a:spLocks noChangeArrowheads="1"/>
            </p:cNvSpPr>
            <p:nvPr/>
          </p:nvSpPr>
          <p:spPr bwMode="auto">
            <a:xfrm>
              <a:off x="7039416" y="675094"/>
              <a:ext cx="80963" cy="793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765" name="Group 764"/>
          <p:cNvGrpSpPr/>
          <p:nvPr/>
        </p:nvGrpSpPr>
        <p:grpSpPr>
          <a:xfrm>
            <a:off x="555100" y="4217536"/>
            <a:ext cx="766377" cy="1333031"/>
            <a:chOff x="844550" y="3381375"/>
            <a:chExt cx="523875" cy="911225"/>
          </a:xfrm>
        </p:grpSpPr>
        <p:sp>
          <p:nvSpPr>
            <p:cNvPr id="716" name="Freeform 171"/>
            <p:cNvSpPr>
              <a:spLocks noEditPoints="1"/>
            </p:cNvSpPr>
            <p:nvPr/>
          </p:nvSpPr>
          <p:spPr bwMode="auto">
            <a:xfrm>
              <a:off x="920750" y="3443288"/>
              <a:ext cx="195262" cy="198437"/>
            </a:xfrm>
            <a:custGeom>
              <a:avLst/>
              <a:gdLst>
                <a:gd name="T0" fmla="*/ 34 w 69"/>
                <a:gd name="T1" fmla="*/ 70 h 70"/>
                <a:gd name="T2" fmla="*/ 0 w 69"/>
                <a:gd name="T3" fmla="*/ 35 h 70"/>
                <a:gd name="T4" fmla="*/ 34 w 69"/>
                <a:gd name="T5" fmla="*/ 0 h 70"/>
                <a:gd name="T6" fmla="*/ 69 w 69"/>
                <a:gd name="T7" fmla="*/ 35 h 70"/>
                <a:gd name="T8" fmla="*/ 34 w 69"/>
                <a:gd name="T9" fmla="*/ 70 h 70"/>
                <a:gd name="T10" fmla="*/ 34 w 69"/>
                <a:gd name="T11" fmla="*/ 4 h 70"/>
                <a:gd name="T12" fmla="*/ 3 w 69"/>
                <a:gd name="T13" fmla="*/ 35 h 70"/>
                <a:gd name="T14" fmla="*/ 34 w 69"/>
                <a:gd name="T15" fmla="*/ 66 h 70"/>
                <a:gd name="T16" fmla="*/ 65 w 69"/>
                <a:gd name="T17" fmla="*/ 35 h 70"/>
                <a:gd name="T18" fmla="*/ 34 w 69"/>
                <a:gd name="T19" fmla="*/ 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70">
                  <a:moveTo>
                    <a:pt x="34" y="70"/>
                  </a:moveTo>
                  <a:cubicBezTo>
                    <a:pt x="15" y="70"/>
                    <a:pt x="0" y="54"/>
                    <a:pt x="0" y="35"/>
                  </a:cubicBezTo>
                  <a:cubicBezTo>
                    <a:pt x="0" y="16"/>
                    <a:pt x="15" y="0"/>
                    <a:pt x="34" y="0"/>
                  </a:cubicBezTo>
                  <a:cubicBezTo>
                    <a:pt x="53" y="0"/>
                    <a:pt x="69" y="16"/>
                    <a:pt x="69" y="35"/>
                  </a:cubicBezTo>
                  <a:cubicBezTo>
                    <a:pt x="69" y="54"/>
                    <a:pt x="53" y="70"/>
                    <a:pt x="34" y="70"/>
                  </a:cubicBezTo>
                  <a:close/>
                  <a:moveTo>
                    <a:pt x="34" y="4"/>
                  </a:moveTo>
                  <a:cubicBezTo>
                    <a:pt x="17" y="4"/>
                    <a:pt x="3" y="18"/>
                    <a:pt x="3" y="35"/>
                  </a:cubicBezTo>
                  <a:cubicBezTo>
                    <a:pt x="3" y="52"/>
                    <a:pt x="17" y="66"/>
                    <a:pt x="34" y="66"/>
                  </a:cubicBezTo>
                  <a:cubicBezTo>
                    <a:pt x="51" y="66"/>
                    <a:pt x="65" y="52"/>
                    <a:pt x="65" y="35"/>
                  </a:cubicBezTo>
                  <a:cubicBezTo>
                    <a:pt x="65" y="18"/>
                    <a:pt x="51" y="4"/>
                    <a:pt x="34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17" name="Freeform 172"/>
            <p:cNvSpPr>
              <a:spLocks noEditPoints="1"/>
            </p:cNvSpPr>
            <p:nvPr/>
          </p:nvSpPr>
          <p:spPr bwMode="auto">
            <a:xfrm>
              <a:off x="855663" y="3381375"/>
              <a:ext cx="325437" cy="322262"/>
            </a:xfrm>
            <a:custGeom>
              <a:avLst/>
              <a:gdLst>
                <a:gd name="T0" fmla="*/ 57 w 115"/>
                <a:gd name="T1" fmla="*/ 114 h 114"/>
                <a:gd name="T2" fmla="*/ 0 w 115"/>
                <a:gd name="T3" fmla="*/ 57 h 114"/>
                <a:gd name="T4" fmla="*/ 57 w 115"/>
                <a:gd name="T5" fmla="*/ 0 h 114"/>
                <a:gd name="T6" fmla="*/ 115 w 115"/>
                <a:gd name="T7" fmla="*/ 57 h 114"/>
                <a:gd name="T8" fmla="*/ 57 w 115"/>
                <a:gd name="T9" fmla="*/ 114 h 114"/>
                <a:gd name="T10" fmla="*/ 57 w 115"/>
                <a:gd name="T11" fmla="*/ 3 h 114"/>
                <a:gd name="T12" fmla="*/ 3 w 115"/>
                <a:gd name="T13" fmla="*/ 57 h 114"/>
                <a:gd name="T14" fmla="*/ 57 w 115"/>
                <a:gd name="T15" fmla="*/ 111 h 114"/>
                <a:gd name="T16" fmla="*/ 111 w 115"/>
                <a:gd name="T17" fmla="*/ 57 h 114"/>
                <a:gd name="T18" fmla="*/ 57 w 115"/>
                <a:gd name="T19" fmla="*/ 3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5" h="114">
                  <a:moveTo>
                    <a:pt x="57" y="114"/>
                  </a:moveTo>
                  <a:cubicBezTo>
                    <a:pt x="26" y="114"/>
                    <a:pt x="0" y="89"/>
                    <a:pt x="0" y="57"/>
                  </a:cubicBezTo>
                  <a:cubicBezTo>
                    <a:pt x="0" y="25"/>
                    <a:pt x="26" y="0"/>
                    <a:pt x="57" y="0"/>
                  </a:cubicBezTo>
                  <a:cubicBezTo>
                    <a:pt x="89" y="0"/>
                    <a:pt x="115" y="25"/>
                    <a:pt x="115" y="57"/>
                  </a:cubicBezTo>
                  <a:cubicBezTo>
                    <a:pt x="115" y="89"/>
                    <a:pt x="89" y="114"/>
                    <a:pt x="57" y="114"/>
                  </a:cubicBezTo>
                  <a:close/>
                  <a:moveTo>
                    <a:pt x="57" y="3"/>
                  </a:moveTo>
                  <a:cubicBezTo>
                    <a:pt x="28" y="3"/>
                    <a:pt x="3" y="27"/>
                    <a:pt x="3" y="57"/>
                  </a:cubicBezTo>
                  <a:cubicBezTo>
                    <a:pt x="3" y="87"/>
                    <a:pt x="28" y="111"/>
                    <a:pt x="57" y="111"/>
                  </a:cubicBezTo>
                  <a:cubicBezTo>
                    <a:pt x="87" y="111"/>
                    <a:pt x="111" y="87"/>
                    <a:pt x="111" y="57"/>
                  </a:cubicBezTo>
                  <a:cubicBezTo>
                    <a:pt x="111" y="27"/>
                    <a:pt x="87" y="3"/>
                    <a:pt x="57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18" name="Freeform 173"/>
            <p:cNvSpPr>
              <a:spLocks/>
            </p:cNvSpPr>
            <p:nvPr/>
          </p:nvSpPr>
          <p:spPr bwMode="auto">
            <a:xfrm>
              <a:off x="844550" y="3497263"/>
              <a:ext cx="523875" cy="795337"/>
            </a:xfrm>
            <a:custGeom>
              <a:avLst/>
              <a:gdLst>
                <a:gd name="T0" fmla="*/ 184 w 185"/>
                <a:gd name="T1" fmla="*/ 196 h 281"/>
                <a:gd name="T2" fmla="*/ 185 w 185"/>
                <a:gd name="T3" fmla="*/ 189 h 281"/>
                <a:gd name="T4" fmla="*/ 184 w 185"/>
                <a:gd name="T5" fmla="*/ 189 h 281"/>
                <a:gd name="T6" fmla="*/ 184 w 185"/>
                <a:gd name="T7" fmla="*/ 159 h 281"/>
                <a:gd name="T8" fmla="*/ 184 w 185"/>
                <a:gd name="T9" fmla="*/ 121 h 281"/>
                <a:gd name="T10" fmla="*/ 184 w 185"/>
                <a:gd name="T11" fmla="*/ 121 h 281"/>
                <a:gd name="T12" fmla="*/ 167 w 185"/>
                <a:gd name="T13" fmla="*/ 103 h 281"/>
                <a:gd name="T14" fmla="*/ 149 w 185"/>
                <a:gd name="T15" fmla="*/ 121 h 281"/>
                <a:gd name="T16" fmla="*/ 149 w 185"/>
                <a:gd name="T17" fmla="*/ 112 h 281"/>
                <a:gd name="T18" fmla="*/ 131 w 185"/>
                <a:gd name="T19" fmla="*/ 94 h 281"/>
                <a:gd name="T20" fmla="*/ 114 w 185"/>
                <a:gd name="T21" fmla="*/ 112 h 281"/>
                <a:gd name="T22" fmla="*/ 114 w 185"/>
                <a:gd name="T23" fmla="*/ 103 h 281"/>
                <a:gd name="T24" fmla="*/ 96 w 185"/>
                <a:gd name="T25" fmla="*/ 85 h 281"/>
                <a:gd name="T26" fmla="*/ 78 w 185"/>
                <a:gd name="T27" fmla="*/ 103 h 281"/>
                <a:gd name="T28" fmla="*/ 78 w 185"/>
                <a:gd name="T29" fmla="*/ 17 h 281"/>
                <a:gd name="T30" fmla="*/ 61 w 185"/>
                <a:gd name="T31" fmla="*/ 0 h 281"/>
                <a:gd name="T32" fmla="*/ 43 w 185"/>
                <a:gd name="T33" fmla="*/ 17 h 281"/>
                <a:gd name="T34" fmla="*/ 43 w 185"/>
                <a:gd name="T35" fmla="*/ 121 h 281"/>
                <a:gd name="T36" fmla="*/ 43 w 185"/>
                <a:gd name="T37" fmla="*/ 171 h 281"/>
                <a:gd name="T38" fmla="*/ 35 w 185"/>
                <a:gd name="T39" fmla="*/ 180 h 281"/>
                <a:gd name="T40" fmla="*/ 35 w 185"/>
                <a:gd name="T41" fmla="*/ 137 h 281"/>
                <a:gd name="T42" fmla="*/ 18 w 185"/>
                <a:gd name="T43" fmla="*/ 119 h 281"/>
                <a:gd name="T44" fmla="*/ 0 w 185"/>
                <a:gd name="T45" fmla="*/ 119 h 281"/>
                <a:gd name="T46" fmla="*/ 0 w 185"/>
                <a:gd name="T47" fmla="*/ 137 h 281"/>
                <a:gd name="T48" fmla="*/ 0 w 185"/>
                <a:gd name="T49" fmla="*/ 189 h 281"/>
                <a:gd name="T50" fmla="*/ 0 w 185"/>
                <a:gd name="T51" fmla="*/ 189 h 281"/>
                <a:gd name="T52" fmla="*/ 0 w 185"/>
                <a:gd name="T53" fmla="*/ 189 h 281"/>
                <a:gd name="T54" fmla="*/ 92 w 185"/>
                <a:gd name="T55" fmla="*/ 281 h 281"/>
                <a:gd name="T56" fmla="*/ 184 w 185"/>
                <a:gd name="T57" fmla="*/ 199 h 281"/>
                <a:gd name="T58" fmla="*/ 184 w 185"/>
                <a:gd name="T59" fmla="*/ 199 h 281"/>
                <a:gd name="T60" fmla="*/ 184 w 185"/>
                <a:gd name="T61" fmla="*/ 196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85" h="281">
                  <a:moveTo>
                    <a:pt x="184" y="196"/>
                  </a:moveTo>
                  <a:cubicBezTo>
                    <a:pt x="185" y="194"/>
                    <a:pt x="185" y="191"/>
                    <a:pt x="185" y="189"/>
                  </a:cubicBezTo>
                  <a:cubicBezTo>
                    <a:pt x="184" y="189"/>
                    <a:pt x="184" y="189"/>
                    <a:pt x="184" y="189"/>
                  </a:cubicBezTo>
                  <a:cubicBezTo>
                    <a:pt x="184" y="159"/>
                    <a:pt x="184" y="159"/>
                    <a:pt x="184" y="159"/>
                  </a:cubicBezTo>
                  <a:cubicBezTo>
                    <a:pt x="184" y="121"/>
                    <a:pt x="184" y="121"/>
                    <a:pt x="184" y="121"/>
                  </a:cubicBezTo>
                  <a:cubicBezTo>
                    <a:pt x="184" y="121"/>
                    <a:pt x="184" y="121"/>
                    <a:pt x="184" y="121"/>
                  </a:cubicBezTo>
                  <a:cubicBezTo>
                    <a:pt x="184" y="111"/>
                    <a:pt x="177" y="103"/>
                    <a:pt x="167" y="103"/>
                  </a:cubicBezTo>
                  <a:cubicBezTo>
                    <a:pt x="157" y="103"/>
                    <a:pt x="149" y="111"/>
                    <a:pt x="149" y="121"/>
                  </a:cubicBezTo>
                  <a:cubicBezTo>
                    <a:pt x="149" y="112"/>
                    <a:pt x="149" y="112"/>
                    <a:pt x="149" y="112"/>
                  </a:cubicBezTo>
                  <a:cubicBezTo>
                    <a:pt x="149" y="102"/>
                    <a:pt x="141" y="94"/>
                    <a:pt x="131" y="94"/>
                  </a:cubicBezTo>
                  <a:cubicBezTo>
                    <a:pt x="122" y="94"/>
                    <a:pt x="114" y="102"/>
                    <a:pt x="114" y="112"/>
                  </a:cubicBezTo>
                  <a:cubicBezTo>
                    <a:pt x="114" y="103"/>
                    <a:pt x="114" y="103"/>
                    <a:pt x="114" y="103"/>
                  </a:cubicBezTo>
                  <a:cubicBezTo>
                    <a:pt x="114" y="93"/>
                    <a:pt x="106" y="85"/>
                    <a:pt x="96" y="85"/>
                  </a:cubicBezTo>
                  <a:cubicBezTo>
                    <a:pt x="86" y="85"/>
                    <a:pt x="78" y="93"/>
                    <a:pt x="78" y="103"/>
                  </a:cubicBezTo>
                  <a:cubicBezTo>
                    <a:pt x="78" y="17"/>
                    <a:pt x="78" y="17"/>
                    <a:pt x="78" y="17"/>
                  </a:cubicBezTo>
                  <a:cubicBezTo>
                    <a:pt x="78" y="8"/>
                    <a:pt x="70" y="0"/>
                    <a:pt x="61" y="0"/>
                  </a:cubicBezTo>
                  <a:cubicBezTo>
                    <a:pt x="51" y="0"/>
                    <a:pt x="43" y="8"/>
                    <a:pt x="43" y="17"/>
                  </a:cubicBezTo>
                  <a:cubicBezTo>
                    <a:pt x="43" y="121"/>
                    <a:pt x="43" y="121"/>
                    <a:pt x="43" y="121"/>
                  </a:cubicBezTo>
                  <a:cubicBezTo>
                    <a:pt x="43" y="171"/>
                    <a:pt x="43" y="171"/>
                    <a:pt x="43" y="171"/>
                  </a:cubicBezTo>
                  <a:cubicBezTo>
                    <a:pt x="43" y="175"/>
                    <a:pt x="41" y="180"/>
                    <a:pt x="35" y="180"/>
                  </a:cubicBezTo>
                  <a:cubicBezTo>
                    <a:pt x="35" y="137"/>
                    <a:pt x="35" y="137"/>
                    <a:pt x="35" y="137"/>
                  </a:cubicBezTo>
                  <a:cubicBezTo>
                    <a:pt x="35" y="127"/>
                    <a:pt x="28" y="119"/>
                    <a:pt x="18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189"/>
                    <a:pt x="0" y="189"/>
                    <a:pt x="0" y="189"/>
                  </a:cubicBezTo>
                  <a:cubicBezTo>
                    <a:pt x="0" y="189"/>
                    <a:pt x="0" y="189"/>
                    <a:pt x="0" y="189"/>
                  </a:cubicBezTo>
                  <a:cubicBezTo>
                    <a:pt x="0" y="189"/>
                    <a:pt x="0" y="189"/>
                    <a:pt x="0" y="189"/>
                  </a:cubicBezTo>
                  <a:cubicBezTo>
                    <a:pt x="0" y="240"/>
                    <a:pt x="41" y="281"/>
                    <a:pt x="92" y="281"/>
                  </a:cubicBezTo>
                  <a:cubicBezTo>
                    <a:pt x="140" y="281"/>
                    <a:pt x="179" y="245"/>
                    <a:pt x="184" y="199"/>
                  </a:cubicBezTo>
                  <a:cubicBezTo>
                    <a:pt x="184" y="199"/>
                    <a:pt x="184" y="199"/>
                    <a:pt x="184" y="199"/>
                  </a:cubicBezTo>
                  <a:lnTo>
                    <a:pt x="184" y="196"/>
                  </a:lnTo>
                  <a:close/>
                </a:path>
              </a:pathLst>
            </a:custGeom>
            <a:solidFill>
              <a:srgbClr val="6DC2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764" name="Group 763"/>
          <p:cNvGrpSpPr/>
          <p:nvPr/>
        </p:nvGrpSpPr>
        <p:grpSpPr>
          <a:xfrm>
            <a:off x="1842709" y="4665007"/>
            <a:ext cx="657132" cy="957127"/>
            <a:chOff x="1752600" y="4260851"/>
            <a:chExt cx="657225" cy="957262"/>
          </a:xfrm>
        </p:grpSpPr>
        <p:sp>
          <p:nvSpPr>
            <p:cNvPr id="723" name="Freeform 178"/>
            <p:cNvSpPr>
              <a:spLocks/>
            </p:cNvSpPr>
            <p:nvPr/>
          </p:nvSpPr>
          <p:spPr bwMode="auto">
            <a:xfrm>
              <a:off x="1752600" y="4479926"/>
              <a:ext cx="112713" cy="130175"/>
            </a:xfrm>
            <a:custGeom>
              <a:avLst/>
              <a:gdLst>
                <a:gd name="T0" fmla="*/ 8 w 40"/>
                <a:gd name="T1" fmla="*/ 46 h 46"/>
                <a:gd name="T2" fmla="*/ 40 w 40"/>
                <a:gd name="T3" fmla="*/ 46 h 46"/>
                <a:gd name="T4" fmla="*/ 40 w 40"/>
                <a:gd name="T5" fmla="*/ 0 h 46"/>
                <a:gd name="T6" fmla="*/ 8 w 40"/>
                <a:gd name="T7" fmla="*/ 0 h 46"/>
                <a:gd name="T8" fmla="*/ 0 w 40"/>
                <a:gd name="T9" fmla="*/ 8 h 46"/>
                <a:gd name="T10" fmla="*/ 0 w 40"/>
                <a:gd name="T11" fmla="*/ 38 h 46"/>
                <a:gd name="T12" fmla="*/ 8 w 40"/>
                <a:gd name="T1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46">
                  <a:moveTo>
                    <a:pt x="8" y="46"/>
                  </a:moveTo>
                  <a:cubicBezTo>
                    <a:pt x="40" y="46"/>
                    <a:pt x="40" y="46"/>
                    <a:pt x="40" y="46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42"/>
                    <a:pt x="4" y="46"/>
                    <a:pt x="8" y="46"/>
                  </a:cubicBezTo>
                  <a:close/>
                </a:path>
              </a:pathLst>
            </a:cu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24" name="Rectangle 179"/>
            <p:cNvSpPr>
              <a:spLocks noChangeArrowheads="1"/>
            </p:cNvSpPr>
            <p:nvPr/>
          </p:nvSpPr>
          <p:spPr bwMode="auto">
            <a:xfrm>
              <a:off x="1792288" y="4610101"/>
              <a:ext cx="44450" cy="134938"/>
            </a:xfrm>
            <a:prstGeom prst="rect">
              <a:avLst/>
            </a:pr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25" name="Rectangle 180"/>
            <p:cNvSpPr>
              <a:spLocks noChangeArrowheads="1"/>
            </p:cNvSpPr>
            <p:nvPr/>
          </p:nvSpPr>
          <p:spPr bwMode="auto">
            <a:xfrm>
              <a:off x="1792288" y="4610101"/>
              <a:ext cx="44450" cy="44450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26" name="Rectangle 181"/>
            <p:cNvSpPr>
              <a:spLocks noChangeArrowheads="1"/>
            </p:cNvSpPr>
            <p:nvPr/>
          </p:nvSpPr>
          <p:spPr bwMode="auto">
            <a:xfrm>
              <a:off x="1792288" y="4821238"/>
              <a:ext cx="44450" cy="100013"/>
            </a:xfrm>
            <a:prstGeom prst="rect">
              <a:avLst/>
            </a:pr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27" name="Rectangle 182"/>
            <p:cNvSpPr>
              <a:spLocks noChangeArrowheads="1"/>
            </p:cNvSpPr>
            <p:nvPr/>
          </p:nvSpPr>
          <p:spPr bwMode="auto">
            <a:xfrm>
              <a:off x="1792288" y="4821238"/>
              <a:ext cx="44450" cy="4603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28" name="Freeform 183"/>
            <p:cNvSpPr>
              <a:spLocks/>
            </p:cNvSpPr>
            <p:nvPr/>
          </p:nvSpPr>
          <p:spPr bwMode="auto">
            <a:xfrm>
              <a:off x="1766888" y="4686301"/>
              <a:ext cx="96838" cy="134938"/>
            </a:xfrm>
            <a:custGeom>
              <a:avLst/>
              <a:gdLst>
                <a:gd name="T0" fmla="*/ 34 w 34"/>
                <a:gd name="T1" fmla="*/ 38 h 48"/>
                <a:gd name="T2" fmla="*/ 24 w 34"/>
                <a:gd name="T3" fmla="*/ 48 h 48"/>
                <a:gd name="T4" fmla="*/ 10 w 34"/>
                <a:gd name="T5" fmla="*/ 48 h 48"/>
                <a:gd name="T6" fmla="*/ 0 w 34"/>
                <a:gd name="T7" fmla="*/ 38 h 48"/>
                <a:gd name="T8" fmla="*/ 0 w 34"/>
                <a:gd name="T9" fmla="*/ 10 h 48"/>
                <a:gd name="T10" fmla="*/ 10 w 34"/>
                <a:gd name="T11" fmla="*/ 0 h 48"/>
                <a:gd name="T12" fmla="*/ 24 w 34"/>
                <a:gd name="T13" fmla="*/ 0 h 48"/>
                <a:gd name="T14" fmla="*/ 34 w 34"/>
                <a:gd name="T15" fmla="*/ 10 h 48"/>
                <a:gd name="T16" fmla="*/ 34 w 34"/>
                <a:gd name="T17" fmla="*/ 3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48">
                  <a:moveTo>
                    <a:pt x="34" y="38"/>
                  </a:moveTo>
                  <a:cubicBezTo>
                    <a:pt x="34" y="43"/>
                    <a:pt x="29" y="48"/>
                    <a:pt x="24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5" y="48"/>
                    <a:pt x="0" y="43"/>
                    <a:pt x="0" y="38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5" y="0"/>
                    <a:pt x="10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9" y="0"/>
                    <a:pt x="34" y="5"/>
                    <a:pt x="34" y="10"/>
                  </a:cubicBezTo>
                  <a:lnTo>
                    <a:pt x="34" y="38"/>
                  </a:lnTo>
                  <a:close/>
                </a:path>
              </a:pathLst>
            </a:cu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29" name="Rectangle 184"/>
            <p:cNvSpPr>
              <a:spLocks noChangeArrowheads="1"/>
            </p:cNvSpPr>
            <p:nvPr/>
          </p:nvSpPr>
          <p:spPr bwMode="auto">
            <a:xfrm>
              <a:off x="1968500" y="4676776"/>
              <a:ext cx="236538" cy="130175"/>
            </a:xfrm>
            <a:prstGeom prst="rect">
              <a:avLst/>
            </a:pr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30" name="Rectangle 185"/>
            <p:cNvSpPr>
              <a:spLocks noChangeArrowheads="1"/>
            </p:cNvSpPr>
            <p:nvPr/>
          </p:nvSpPr>
          <p:spPr bwMode="auto">
            <a:xfrm>
              <a:off x="1968500" y="4651376"/>
              <a:ext cx="236538" cy="25400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31" name="Rectangle 186"/>
            <p:cNvSpPr>
              <a:spLocks noChangeArrowheads="1"/>
            </p:cNvSpPr>
            <p:nvPr/>
          </p:nvSpPr>
          <p:spPr bwMode="auto">
            <a:xfrm>
              <a:off x="1865313" y="4433888"/>
              <a:ext cx="433388" cy="220663"/>
            </a:xfrm>
            <a:prstGeom prst="rect">
              <a:avLst/>
            </a:pr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32" name="Freeform 187"/>
            <p:cNvSpPr>
              <a:spLocks/>
            </p:cNvSpPr>
            <p:nvPr/>
          </p:nvSpPr>
          <p:spPr bwMode="auto">
            <a:xfrm>
              <a:off x="1944688" y="4297363"/>
              <a:ext cx="284163" cy="142875"/>
            </a:xfrm>
            <a:custGeom>
              <a:avLst/>
              <a:gdLst>
                <a:gd name="T0" fmla="*/ 50 w 100"/>
                <a:gd name="T1" fmla="*/ 0 h 50"/>
                <a:gd name="T2" fmla="*/ 0 w 100"/>
                <a:gd name="T3" fmla="*/ 50 h 50"/>
                <a:gd name="T4" fmla="*/ 100 w 100"/>
                <a:gd name="T5" fmla="*/ 50 h 50"/>
                <a:gd name="T6" fmla="*/ 50 w 100"/>
                <a:gd name="T7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0" h="50">
                  <a:moveTo>
                    <a:pt x="50" y="0"/>
                  </a:moveTo>
                  <a:cubicBezTo>
                    <a:pt x="22" y="0"/>
                    <a:pt x="0" y="22"/>
                    <a:pt x="0" y="50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22"/>
                    <a:pt x="77" y="0"/>
                    <a:pt x="50" y="0"/>
                  </a:cubicBezTo>
                  <a:close/>
                </a:path>
              </a:pathLst>
            </a:cu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33" name="Oval 188"/>
            <p:cNvSpPr>
              <a:spLocks noChangeArrowheads="1"/>
            </p:cNvSpPr>
            <p:nvPr/>
          </p:nvSpPr>
          <p:spPr bwMode="auto">
            <a:xfrm>
              <a:off x="1998663" y="4362451"/>
              <a:ext cx="36513" cy="38100"/>
            </a:xfrm>
            <a:prstGeom prst="ellipse">
              <a:avLst/>
            </a:pr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34" name="Oval 189"/>
            <p:cNvSpPr>
              <a:spLocks noChangeArrowheads="1"/>
            </p:cNvSpPr>
            <p:nvPr/>
          </p:nvSpPr>
          <p:spPr bwMode="auto">
            <a:xfrm>
              <a:off x="2138363" y="4362451"/>
              <a:ext cx="36513" cy="38100"/>
            </a:xfrm>
            <a:prstGeom prst="ellipse">
              <a:avLst/>
            </a:pr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35" name="Freeform 190"/>
            <p:cNvSpPr>
              <a:spLocks/>
            </p:cNvSpPr>
            <p:nvPr/>
          </p:nvSpPr>
          <p:spPr bwMode="auto">
            <a:xfrm>
              <a:off x="1958975" y="4498976"/>
              <a:ext cx="246063" cy="90488"/>
            </a:xfrm>
            <a:custGeom>
              <a:avLst/>
              <a:gdLst>
                <a:gd name="T0" fmla="*/ 87 w 87"/>
                <a:gd name="T1" fmla="*/ 16 h 32"/>
                <a:gd name="T2" fmla="*/ 71 w 87"/>
                <a:gd name="T3" fmla="*/ 32 h 32"/>
                <a:gd name="T4" fmla="*/ 16 w 87"/>
                <a:gd name="T5" fmla="*/ 32 h 32"/>
                <a:gd name="T6" fmla="*/ 0 w 87"/>
                <a:gd name="T7" fmla="*/ 16 h 32"/>
                <a:gd name="T8" fmla="*/ 0 w 87"/>
                <a:gd name="T9" fmla="*/ 16 h 32"/>
                <a:gd name="T10" fmla="*/ 16 w 87"/>
                <a:gd name="T11" fmla="*/ 0 h 32"/>
                <a:gd name="T12" fmla="*/ 71 w 87"/>
                <a:gd name="T13" fmla="*/ 0 h 32"/>
                <a:gd name="T14" fmla="*/ 87 w 87"/>
                <a:gd name="T15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7" h="32">
                  <a:moveTo>
                    <a:pt x="87" y="16"/>
                  </a:moveTo>
                  <a:cubicBezTo>
                    <a:pt x="87" y="25"/>
                    <a:pt x="79" y="32"/>
                    <a:pt x="71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9" y="0"/>
                    <a:pt x="87" y="7"/>
                    <a:pt x="87" y="1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36" name="Freeform 191"/>
            <p:cNvSpPr>
              <a:spLocks/>
            </p:cNvSpPr>
            <p:nvPr/>
          </p:nvSpPr>
          <p:spPr bwMode="auto">
            <a:xfrm>
              <a:off x="2074863" y="4521201"/>
              <a:ext cx="11113" cy="53975"/>
            </a:xfrm>
            <a:custGeom>
              <a:avLst/>
              <a:gdLst>
                <a:gd name="T0" fmla="*/ 4 w 4"/>
                <a:gd name="T1" fmla="*/ 17 h 19"/>
                <a:gd name="T2" fmla="*/ 2 w 4"/>
                <a:gd name="T3" fmla="*/ 19 h 19"/>
                <a:gd name="T4" fmla="*/ 2 w 4"/>
                <a:gd name="T5" fmla="*/ 19 h 19"/>
                <a:gd name="T6" fmla="*/ 0 w 4"/>
                <a:gd name="T7" fmla="*/ 17 h 19"/>
                <a:gd name="T8" fmla="*/ 0 w 4"/>
                <a:gd name="T9" fmla="*/ 1 h 19"/>
                <a:gd name="T10" fmla="*/ 2 w 4"/>
                <a:gd name="T11" fmla="*/ 0 h 19"/>
                <a:gd name="T12" fmla="*/ 2 w 4"/>
                <a:gd name="T13" fmla="*/ 0 h 19"/>
                <a:gd name="T14" fmla="*/ 4 w 4"/>
                <a:gd name="T15" fmla="*/ 1 h 19"/>
                <a:gd name="T16" fmla="*/ 4 w 4"/>
                <a:gd name="T17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19">
                  <a:moveTo>
                    <a:pt x="4" y="17"/>
                  </a:moveTo>
                  <a:cubicBezTo>
                    <a:pt x="4" y="18"/>
                    <a:pt x="3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1" y="19"/>
                    <a:pt x="0" y="18"/>
                    <a:pt x="0" y="17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4" y="0"/>
                    <a:pt x="4" y="1"/>
                  </a:cubicBezTo>
                  <a:lnTo>
                    <a:pt x="4" y="17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37" name="Freeform 192"/>
            <p:cNvSpPr>
              <a:spLocks/>
            </p:cNvSpPr>
            <p:nvPr/>
          </p:nvSpPr>
          <p:spPr bwMode="auto">
            <a:xfrm>
              <a:off x="2049463" y="4521201"/>
              <a:ext cx="9525" cy="53975"/>
            </a:xfrm>
            <a:custGeom>
              <a:avLst/>
              <a:gdLst>
                <a:gd name="T0" fmla="*/ 3 w 3"/>
                <a:gd name="T1" fmla="*/ 17 h 19"/>
                <a:gd name="T2" fmla="*/ 2 w 3"/>
                <a:gd name="T3" fmla="*/ 19 h 19"/>
                <a:gd name="T4" fmla="*/ 2 w 3"/>
                <a:gd name="T5" fmla="*/ 19 h 19"/>
                <a:gd name="T6" fmla="*/ 0 w 3"/>
                <a:gd name="T7" fmla="*/ 17 h 19"/>
                <a:gd name="T8" fmla="*/ 0 w 3"/>
                <a:gd name="T9" fmla="*/ 1 h 19"/>
                <a:gd name="T10" fmla="*/ 2 w 3"/>
                <a:gd name="T11" fmla="*/ 0 h 19"/>
                <a:gd name="T12" fmla="*/ 2 w 3"/>
                <a:gd name="T13" fmla="*/ 0 h 19"/>
                <a:gd name="T14" fmla="*/ 3 w 3"/>
                <a:gd name="T15" fmla="*/ 1 h 19"/>
                <a:gd name="T16" fmla="*/ 3 w 3"/>
                <a:gd name="T17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19">
                  <a:moveTo>
                    <a:pt x="3" y="17"/>
                  </a:moveTo>
                  <a:cubicBezTo>
                    <a:pt x="3" y="18"/>
                    <a:pt x="3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1" y="19"/>
                    <a:pt x="0" y="18"/>
                    <a:pt x="0" y="17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3" y="0"/>
                    <a:pt x="3" y="1"/>
                  </a:cubicBezTo>
                  <a:lnTo>
                    <a:pt x="3" y="17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38" name="Freeform 193"/>
            <p:cNvSpPr>
              <a:spLocks/>
            </p:cNvSpPr>
            <p:nvPr/>
          </p:nvSpPr>
          <p:spPr bwMode="auto">
            <a:xfrm>
              <a:off x="2020888" y="4521201"/>
              <a:ext cx="12700" cy="53975"/>
            </a:xfrm>
            <a:custGeom>
              <a:avLst/>
              <a:gdLst>
                <a:gd name="T0" fmla="*/ 4 w 4"/>
                <a:gd name="T1" fmla="*/ 17 h 19"/>
                <a:gd name="T2" fmla="*/ 2 w 4"/>
                <a:gd name="T3" fmla="*/ 19 h 19"/>
                <a:gd name="T4" fmla="*/ 2 w 4"/>
                <a:gd name="T5" fmla="*/ 19 h 19"/>
                <a:gd name="T6" fmla="*/ 0 w 4"/>
                <a:gd name="T7" fmla="*/ 17 h 19"/>
                <a:gd name="T8" fmla="*/ 0 w 4"/>
                <a:gd name="T9" fmla="*/ 1 h 19"/>
                <a:gd name="T10" fmla="*/ 2 w 4"/>
                <a:gd name="T11" fmla="*/ 0 h 19"/>
                <a:gd name="T12" fmla="*/ 2 w 4"/>
                <a:gd name="T13" fmla="*/ 0 h 19"/>
                <a:gd name="T14" fmla="*/ 4 w 4"/>
                <a:gd name="T15" fmla="*/ 1 h 19"/>
                <a:gd name="T16" fmla="*/ 4 w 4"/>
                <a:gd name="T17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19">
                  <a:moveTo>
                    <a:pt x="4" y="17"/>
                  </a:moveTo>
                  <a:cubicBezTo>
                    <a:pt x="4" y="18"/>
                    <a:pt x="3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1" y="19"/>
                    <a:pt x="0" y="18"/>
                    <a:pt x="0" y="17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4" y="0"/>
                    <a:pt x="4" y="1"/>
                  </a:cubicBezTo>
                  <a:lnTo>
                    <a:pt x="4" y="17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39" name="Freeform 194"/>
            <p:cNvSpPr>
              <a:spLocks/>
            </p:cNvSpPr>
            <p:nvPr/>
          </p:nvSpPr>
          <p:spPr bwMode="auto">
            <a:xfrm>
              <a:off x="1995488" y="4521201"/>
              <a:ext cx="9525" cy="53975"/>
            </a:xfrm>
            <a:custGeom>
              <a:avLst/>
              <a:gdLst>
                <a:gd name="T0" fmla="*/ 3 w 3"/>
                <a:gd name="T1" fmla="*/ 17 h 19"/>
                <a:gd name="T2" fmla="*/ 1 w 3"/>
                <a:gd name="T3" fmla="*/ 19 h 19"/>
                <a:gd name="T4" fmla="*/ 1 w 3"/>
                <a:gd name="T5" fmla="*/ 19 h 19"/>
                <a:gd name="T6" fmla="*/ 0 w 3"/>
                <a:gd name="T7" fmla="*/ 17 h 19"/>
                <a:gd name="T8" fmla="*/ 0 w 3"/>
                <a:gd name="T9" fmla="*/ 1 h 19"/>
                <a:gd name="T10" fmla="*/ 1 w 3"/>
                <a:gd name="T11" fmla="*/ 0 h 19"/>
                <a:gd name="T12" fmla="*/ 1 w 3"/>
                <a:gd name="T13" fmla="*/ 0 h 19"/>
                <a:gd name="T14" fmla="*/ 3 w 3"/>
                <a:gd name="T15" fmla="*/ 1 h 19"/>
                <a:gd name="T16" fmla="*/ 3 w 3"/>
                <a:gd name="T17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19">
                  <a:moveTo>
                    <a:pt x="3" y="17"/>
                  </a:moveTo>
                  <a:cubicBezTo>
                    <a:pt x="3" y="18"/>
                    <a:pt x="2" y="19"/>
                    <a:pt x="1" y="1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0" y="19"/>
                    <a:pt x="0" y="18"/>
                    <a:pt x="0" y="17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3" y="0"/>
                    <a:pt x="3" y="1"/>
                  </a:cubicBezTo>
                  <a:lnTo>
                    <a:pt x="3" y="17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40" name="Freeform 195"/>
            <p:cNvSpPr>
              <a:spLocks/>
            </p:cNvSpPr>
            <p:nvPr/>
          </p:nvSpPr>
          <p:spPr bwMode="auto">
            <a:xfrm>
              <a:off x="2157413" y="4521201"/>
              <a:ext cx="11113" cy="53975"/>
            </a:xfrm>
            <a:custGeom>
              <a:avLst/>
              <a:gdLst>
                <a:gd name="T0" fmla="*/ 4 w 4"/>
                <a:gd name="T1" fmla="*/ 17 h 19"/>
                <a:gd name="T2" fmla="*/ 2 w 4"/>
                <a:gd name="T3" fmla="*/ 19 h 19"/>
                <a:gd name="T4" fmla="*/ 2 w 4"/>
                <a:gd name="T5" fmla="*/ 19 h 19"/>
                <a:gd name="T6" fmla="*/ 0 w 4"/>
                <a:gd name="T7" fmla="*/ 17 h 19"/>
                <a:gd name="T8" fmla="*/ 0 w 4"/>
                <a:gd name="T9" fmla="*/ 1 h 19"/>
                <a:gd name="T10" fmla="*/ 2 w 4"/>
                <a:gd name="T11" fmla="*/ 0 h 19"/>
                <a:gd name="T12" fmla="*/ 2 w 4"/>
                <a:gd name="T13" fmla="*/ 0 h 19"/>
                <a:gd name="T14" fmla="*/ 4 w 4"/>
                <a:gd name="T15" fmla="*/ 1 h 19"/>
                <a:gd name="T16" fmla="*/ 4 w 4"/>
                <a:gd name="T17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19">
                  <a:moveTo>
                    <a:pt x="4" y="17"/>
                  </a:moveTo>
                  <a:cubicBezTo>
                    <a:pt x="4" y="18"/>
                    <a:pt x="3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1" y="19"/>
                    <a:pt x="0" y="18"/>
                    <a:pt x="0" y="17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4" y="0"/>
                    <a:pt x="4" y="1"/>
                  </a:cubicBezTo>
                  <a:lnTo>
                    <a:pt x="4" y="17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41" name="Freeform 196"/>
            <p:cNvSpPr>
              <a:spLocks/>
            </p:cNvSpPr>
            <p:nvPr/>
          </p:nvSpPr>
          <p:spPr bwMode="auto">
            <a:xfrm>
              <a:off x="2128838" y="4521201"/>
              <a:ext cx="11113" cy="53975"/>
            </a:xfrm>
            <a:custGeom>
              <a:avLst/>
              <a:gdLst>
                <a:gd name="T0" fmla="*/ 4 w 4"/>
                <a:gd name="T1" fmla="*/ 17 h 19"/>
                <a:gd name="T2" fmla="*/ 2 w 4"/>
                <a:gd name="T3" fmla="*/ 19 h 19"/>
                <a:gd name="T4" fmla="*/ 2 w 4"/>
                <a:gd name="T5" fmla="*/ 19 h 19"/>
                <a:gd name="T6" fmla="*/ 0 w 4"/>
                <a:gd name="T7" fmla="*/ 17 h 19"/>
                <a:gd name="T8" fmla="*/ 0 w 4"/>
                <a:gd name="T9" fmla="*/ 1 h 19"/>
                <a:gd name="T10" fmla="*/ 2 w 4"/>
                <a:gd name="T11" fmla="*/ 0 h 19"/>
                <a:gd name="T12" fmla="*/ 2 w 4"/>
                <a:gd name="T13" fmla="*/ 0 h 19"/>
                <a:gd name="T14" fmla="*/ 4 w 4"/>
                <a:gd name="T15" fmla="*/ 1 h 19"/>
                <a:gd name="T16" fmla="*/ 4 w 4"/>
                <a:gd name="T17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19">
                  <a:moveTo>
                    <a:pt x="4" y="17"/>
                  </a:moveTo>
                  <a:cubicBezTo>
                    <a:pt x="4" y="18"/>
                    <a:pt x="3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1" y="19"/>
                    <a:pt x="0" y="18"/>
                    <a:pt x="0" y="17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4" y="0"/>
                    <a:pt x="4" y="1"/>
                  </a:cubicBezTo>
                  <a:lnTo>
                    <a:pt x="4" y="17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42" name="Freeform 197"/>
            <p:cNvSpPr>
              <a:spLocks/>
            </p:cNvSpPr>
            <p:nvPr/>
          </p:nvSpPr>
          <p:spPr bwMode="auto">
            <a:xfrm>
              <a:off x="2103438" y="4521201"/>
              <a:ext cx="11113" cy="53975"/>
            </a:xfrm>
            <a:custGeom>
              <a:avLst/>
              <a:gdLst>
                <a:gd name="T0" fmla="*/ 4 w 4"/>
                <a:gd name="T1" fmla="*/ 17 h 19"/>
                <a:gd name="T2" fmla="*/ 2 w 4"/>
                <a:gd name="T3" fmla="*/ 19 h 19"/>
                <a:gd name="T4" fmla="*/ 2 w 4"/>
                <a:gd name="T5" fmla="*/ 19 h 19"/>
                <a:gd name="T6" fmla="*/ 0 w 4"/>
                <a:gd name="T7" fmla="*/ 17 h 19"/>
                <a:gd name="T8" fmla="*/ 0 w 4"/>
                <a:gd name="T9" fmla="*/ 1 h 19"/>
                <a:gd name="T10" fmla="*/ 2 w 4"/>
                <a:gd name="T11" fmla="*/ 0 h 19"/>
                <a:gd name="T12" fmla="*/ 2 w 4"/>
                <a:gd name="T13" fmla="*/ 0 h 19"/>
                <a:gd name="T14" fmla="*/ 4 w 4"/>
                <a:gd name="T15" fmla="*/ 1 h 19"/>
                <a:gd name="T16" fmla="*/ 4 w 4"/>
                <a:gd name="T17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19">
                  <a:moveTo>
                    <a:pt x="4" y="17"/>
                  </a:moveTo>
                  <a:cubicBezTo>
                    <a:pt x="4" y="18"/>
                    <a:pt x="3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1" y="19"/>
                    <a:pt x="0" y="18"/>
                    <a:pt x="0" y="17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4" y="0"/>
                    <a:pt x="4" y="1"/>
                  </a:cubicBezTo>
                  <a:lnTo>
                    <a:pt x="4" y="17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43" name="Freeform 198"/>
            <p:cNvSpPr>
              <a:spLocks/>
            </p:cNvSpPr>
            <p:nvPr/>
          </p:nvSpPr>
          <p:spPr bwMode="auto">
            <a:xfrm>
              <a:off x="1914525" y="4794251"/>
              <a:ext cx="333375" cy="92075"/>
            </a:xfrm>
            <a:custGeom>
              <a:avLst/>
              <a:gdLst>
                <a:gd name="T0" fmla="*/ 10 w 118"/>
                <a:gd name="T1" fmla="*/ 33 h 33"/>
                <a:gd name="T2" fmla="*/ 0 w 118"/>
                <a:gd name="T3" fmla="*/ 23 h 33"/>
                <a:gd name="T4" fmla="*/ 0 w 118"/>
                <a:gd name="T5" fmla="*/ 9 h 33"/>
                <a:gd name="T6" fmla="*/ 10 w 118"/>
                <a:gd name="T7" fmla="*/ 0 h 33"/>
                <a:gd name="T8" fmla="*/ 109 w 118"/>
                <a:gd name="T9" fmla="*/ 0 h 33"/>
                <a:gd name="T10" fmla="*/ 118 w 118"/>
                <a:gd name="T11" fmla="*/ 9 h 33"/>
                <a:gd name="T12" fmla="*/ 118 w 118"/>
                <a:gd name="T13" fmla="*/ 23 h 33"/>
                <a:gd name="T14" fmla="*/ 109 w 118"/>
                <a:gd name="T15" fmla="*/ 33 h 33"/>
                <a:gd name="T16" fmla="*/ 10 w 118"/>
                <a:gd name="T1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8" h="33">
                  <a:moveTo>
                    <a:pt x="10" y="33"/>
                  </a:moveTo>
                  <a:cubicBezTo>
                    <a:pt x="5" y="33"/>
                    <a:pt x="0" y="28"/>
                    <a:pt x="0" y="2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5" y="0"/>
                    <a:pt x="1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14" y="0"/>
                    <a:pt x="118" y="4"/>
                    <a:pt x="118" y="9"/>
                  </a:cubicBezTo>
                  <a:cubicBezTo>
                    <a:pt x="118" y="23"/>
                    <a:pt x="118" y="23"/>
                    <a:pt x="118" y="23"/>
                  </a:cubicBezTo>
                  <a:cubicBezTo>
                    <a:pt x="118" y="28"/>
                    <a:pt x="114" y="33"/>
                    <a:pt x="109" y="33"/>
                  </a:cubicBezTo>
                  <a:lnTo>
                    <a:pt x="10" y="33"/>
                  </a:lnTo>
                  <a:close/>
                </a:path>
              </a:pathLst>
            </a:cu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44" name="Rectangle 199"/>
            <p:cNvSpPr>
              <a:spLocks noChangeArrowheads="1"/>
            </p:cNvSpPr>
            <p:nvPr/>
          </p:nvSpPr>
          <p:spPr bwMode="auto">
            <a:xfrm>
              <a:off x="1973263" y="4886326"/>
              <a:ext cx="42863" cy="266700"/>
            </a:xfrm>
            <a:prstGeom prst="rect">
              <a:avLst/>
            </a:pr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45" name="Rectangle 200"/>
            <p:cNvSpPr>
              <a:spLocks noChangeArrowheads="1"/>
            </p:cNvSpPr>
            <p:nvPr/>
          </p:nvSpPr>
          <p:spPr bwMode="auto">
            <a:xfrm>
              <a:off x="1973263" y="4886326"/>
              <a:ext cx="42863" cy="4603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46" name="Rectangle 201"/>
            <p:cNvSpPr>
              <a:spLocks noChangeArrowheads="1"/>
            </p:cNvSpPr>
            <p:nvPr/>
          </p:nvSpPr>
          <p:spPr bwMode="auto">
            <a:xfrm>
              <a:off x="2163763" y="4886326"/>
              <a:ext cx="41275" cy="266700"/>
            </a:xfrm>
            <a:prstGeom prst="rect">
              <a:avLst/>
            </a:pr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47" name="Rectangle 202"/>
            <p:cNvSpPr>
              <a:spLocks noChangeArrowheads="1"/>
            </p:cNvSpPr>
            <p:nvPr/>
          </p:nvSpPr>
          <p:spPr bwMode="auto">
            <a:xfrm>
              <a:off x="2163763" y="4886326"/>
              <a:ext cx="41275" cy="4603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48" name="Freeform 203"/>
            <p:cNvSpPr>
              <a:spLocks/>
            </p:cNvSpPr>
            <p:nvPr/>
          </p:nvSpPr>
          <p:spPr bwMode="auto">
            <a:xfrm>
              <a:off x="2236788" y="4368801"/>
              <a:ext cx="25400" cy="47625"/>
            </a:xfrm>
            <a:custGeom>
              <a:avLst/>
              <a:gdLst>
                <a:gd name="T0" fmla="*/ 0 w 9"/>
                <a:gd name="T1" fmla="*/ 0 h 17"/>
                <a:gd name="T2" fmla="*/ 0 w 9"/>
                <a:gd name="T3" fmla="*/ 0 h 17"/>
                <a:gd name="T4" fmla="*/ 0 w 9"/>
                <a:gd name="T5" fmla="*/ 17 h 17"/>
                <a:gd name="T6" fmla="*/ 0 w 9"/>
                <a:gd name="T7" fmla="*/ 17 h 17"/>
                <a:gd name="T8" fmla="*/ 9 w 9"/>
                <a:gd name="T9" fmla="*/ 8 h 17"/>
                <a:gd name="T10" fmla="*/ 0 w 9"/>
                <a:gd name="T1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17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5" y="17"/>
                    <a:pt x="9" y="13"/>
                    <a:pt x="9" y="8"/>
                  </a:cubicBezTo>
                  <a:cubicBezTo>
                    <a:pt x="9" y="4"/>
                    <a:pt x="5" y="0"/>
                    <a:pt x="0" y="0"/>
                  </a:cubicBezTo>
                  <a:close/>
                </a:path>
              </a:pathLst>
            </a:cu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49" name="Rectangle 204"/>
            <p:cNvSpPr>
              <a:spLocks noChangeArrowheads="1"/>
            </p:cNvSpPr>
            <p:nvPr/>
          </p:nvSpPr>
          <p:spPr bwMode="auto">
            <a:xfrm>
              <a:off x="2236788" y="4260851"/>
              <a:ext cx="6350" cy="130175"/>
            </a:xfrm>
            <a:prstGeom prst="rect">
              <a:avLst/>
            </a:pr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50" name="Freeform 205"/>
            <p:cNvSpPr>
              <a:spLocks/>
            </p:cNvSpPr>
            <p:nvPr/>
          </p:nvSpPr>
          <p:spPr bwMode="auto">
            <a:xfrm>
              <a:off x="1911350" y="4368801"/>
              <a:ext cx="25400" cy="47625"/>
            </a:xfrm>
            <a:custGeom>
              <a:avLst/>
              <a:gdLst>
                <a:gd name="T0" fmla="*/ 9 w 9"/>
                <a:gd name="T1" fmla="*/ 0 h 17"/>
                <a:gd name="T2" fmla="*/ 9 w 9"/>
                <a:gd name="T3" fmla="*/ 0 h 17"/>
                <a:gd name="T4" fmla="*/ 9 w 9"/>
                <a:gd name="T5" fmla="*/ 17 h 17"/>
                <a:gd name="T6" fmla="*/ 9 w 9"/>
                <a:gd name="T7" fmla="*/ 17 h 17"/>
                <a:gd name="T8" fmla="*/ 0 w 9"/>
                <a:gd name="T9" fmla="*/ 8 h 17"/>
                <a:gd name="T10" fmla="*/ 9 w 9"/>
                <a:gd name="T1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17"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4" y="17"/>
                    <a:pt x="0" y="13"/>
                    <a:pt x="0" y="8"/>
                  </a:cubicBezTo>
                  <a:cubicBezTo>
                    <a:pt x="0" y="4"/>
                    <a:pt x="4" y="0"/>
                    <a:pt x="9" y="0"/>
                  </a:cubicBezTo>
                  <a:close/>
                </a:path>
              </a:pathLst>
            </a:cu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51" name="Rectangle 206"/>
            <p:cNvSpPr>
              <a:spLocks noChangeArrowheads="1"/>
            </p:cNvSpPr>
            <p:nvPr/>
          </p:nvSpPr>
          <p:spPr bwMode="auto">
            <a:xfrm>
              <a:off x="1930400" y="4260851"/>
              <a:ext cx="6350" cy="130175"/>
            </a:xfrm>
            <a:prstGeom prst="rect">
              <a:avLst/>
            </a:pr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52" name="Freeform 207"/>
            <p:cNvSpPr>
              <a:spLocks/>
            </p:cNvSpPr>
            <p:nvPr/>
          </p:nvSpPr>
          <p:spPr bwMode="auto">
            <a:xfrm>
              <a:off x="1928813" y="5145088"/>
              <a:ext cx="131763" cy="47625"/>
            </a:xfrm>
            <a:custGeom>
              <a:avLst/>
              <a:gdLst>
                <a:gd name="T0" fmla="*/ 47 w 47"/>
                <a:gd name="T1" fmla="*/ 17 h 17"/>
                <a:gd name="T2" fmla="*/ 30 w 47"/>
                <a:gd name="T3" fmla="*/ 0 h 17"/>
                <a:gd name="T4" fmla="*/ 17 w 47"/>
                <a:gd name="T5" fmla="*/ 0 h 17"/>
                <a:gd name="T6" fmla="*/ 0 w 47"/>
                <a:gd name="T7" fmla="*/ 17 h 17"/>
                <a:gd name="T8" fmla="*/ 47 w 47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17">
                  <a:moveTo>
                    <a:pt x="47" y="17"/>
                  </a:moveTo>
                  <a:cubicBezTo>
                    <a:pt x="46" y="7"/>
                    <a:pt x="39" y="0"/>
                    <a:pt x="30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1" y="7"/>
                    <a:pt x="0" y="17"/>
                  </a:cubicBezTo>
                  <a:lnTo>
                    <a:pt x="47" y="17"/>
                  </a:lnTo>
                  <a:close/>
                </a:path>
              </a:pathLst>
            </a:cu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53" name="Rectangle 208"/>
            <p:cNvSpPr>
              <a:spLocks noChangeArrowheads="1"/>
            </p:cNvSpPr>
            <p:nvPr/>
          </p:nvSpPr>
          <p:spPr bwMode="auto">
            <a:xfrm>
              <a:off x="1928813" y="5192713"/>
              <a:ext cx="131763" cy="25400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54" name="Freeform 209"/>
            <p:cNvSpPr>
              <a:spLocks/>
            </p:cNvSpPr>
            <p:nvPr/>
          </p:nvSpPr>
          <p:spPr bwMode="auto">
            <a:xfrm>
              <a:off x="2117725" y="5145088"/>
              <a:ext cx="133350" cy="47625"/>
            </a:xfrm>
            <a:custGeom>
              <a:avLst/>
              <a:gdLst>
                <a:gd name="T0" fmla="*/ 47 w 47"/>
                <a:gd name="T1" fmla="*/ 17 h 17"/>
                <a:gd name="T2" fmla="*/ 30 w 47"/>
                <a:gd name="T3" fmla="*/ 0 h 17"/>
                <a:gd name="T4" fmla="*/ 17 w 47"/>
                <a:gd name="T5" fmla="*/ 0 h 17"/>
                <a:gd name="T6" fmla="*/ 0 w 47"/>
                <a:gd name="T7" fmla="*/ 17 h 17"/>
                <a:gd name="T8" fmla="*/ 47 w 47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17">
                  <a:moveTo>
                    <a:pt x="47" y="17"/>
                  </a:moveTo>
                  <a:cubicBezTo>
                    <a:pt x="46" y="7"/>
                    <a:pt x="39" y="0"/>
                    <a:pt x="30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1" y="7"/>
                    <a:pt x="0" y="17"/>
                  </a:cubicBezTo>
                  <a:lnTo>
                    <a:pt x="47" y="17"/>
                  </a:lnTo>
                  <a:close/>
                </a:path>
              </a:pathLst>
            </a:cu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55" name="Rectangle 210"/>
            <p:cNvSpPr>
              <a:spLocks noChangeArrowheads="1"/>
            </p:cNvSpPr>
            <p:nvPr/>
          </p:nvSpPr>
          <p:spPr bwMode="auto">
            <a:xfrm>
              <a:off x="2117725" y="5192713"/>
              <a:ext cx="133350" cy="25400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56" name="Freeform 211"/>
            <p:cNvSpPr>
              <a:spLocks/>
            </p:cNvSpPr>
            <p:nvPr/>
          </p:nvSpPr>
          <p:spPr bwMode="auto">
            <a:xfrm>
              <a:off x="1752600" y="4899026"/>
              <a:ext cx="127000" cy="106363"/>
            </a:xfrm>
            <a:custGeom>
              <a:avLst/>
              <a:gdLst>
                <a:gd name="T0" fmla="*/ 14 w 45"/>
                <a:gd name="T1" fmla="*/ 30 h 38"/>
                <a:gd name="T2" fmla="*/ 11 w 45"/>
                <a:gd name="T3" fmla="*/ 23 h 38"/>
                <a:gd name="T4" fmla="*/ 22 w 45"/>
                <a:gd name="T5" fmla="*/ 11 h 38"/>
                <a:gd name="T6" fmla="*/ 33 w 45"/>
                <a:gd name="T7" fmla="*/ 23 h 38"/>
                <a:gd name="T8" fmla="*/ 30 w 45"/>
                <a:gd name="T9" fmla="*/ 30 h 38"/>
                <a:gd name="T10" fmla="*/ 38 w 45"/>
                <a:gd name="T11" fmla="*/ 38 h 38"/>
                <a:gd name="T12" fmla="*/ 45 w 45"/>
                <a:gd name="T13" fmla="*/ 23 h 38"/>
                <a:gd name="T14" fmla="*/ 22 w 45"/>
                <a:gd name="T15" fmla="*/ 0 h 38"/>
                <a:gd name="T16" fmla="*/ 0 w 45"/>
                <a:gd name="T17" fmla="*/ 23 h 38"/>
                <a:gd name="T18" fmla="*/ 6 w 45"/>
                <a:gd name="T19" fmla="*/ 38 h 38"/>
                <a:gd name="T20" fmla="*/ 14 w 45"/>
                <a:gd name="T21" fmla="*/ 3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38">
                  <a:moveTo>
                    <a:pt x="14" y="30"/>
                  </a:moveTo>
                  <a:cubicBezTo>
                    <a:pt x="12" y="28"/>
                    <a:pt x="11" y="26"/>
                    <a:pt x="11" y="23"/>
                  </a:cubicBezTo>
                  <a:cubicBezTo>
                    <a:pt x="11" y="16"/>
                    <a:pt x="16" y="11"/>
                    <a:pt x="22" y="11"/>
                  </a:cubicBezTo>
                  <a:cubicBezTo>
                    <a:pt x="28" y="11"/>
                    <a:pt x="33" y="16"/>
                    <a:pt x="33" y="23"/>
                  </a:cubicBezTo>
                  <a:cubicBezTo>
                    <a:pt x="33" y="26"/>
                    <a:pt x="32" y="28"/>
                    <a:pt x="30" y="30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2" y="34"/>
                    <a:pt x="45" y="29"/>
                    <a:pt x="45" y="23"/>
                  </a:cubicBezTo>
                  <a:cubicBezTo>
                    <a:pt x="45" y="10"/>
                    <a:pt x="34" y="0"/>
                    <a:pt x="22" y="0"/>
                  </a:cubicBezTo>
                  <a:cubicBezTo>
                    <a:pt x="10" y="0"/>
                    <a:pt x="0" y="10"/>
                    <a:pt x="0" y="23"/>
                  </a:cubicBezTo>
                  <a:cubicBezTo>
                    <a:pt x="0" y="29"/>
                    <a:pt x="2" y="34"/>
                    <a:pt x="6" y="38"/>
                  </a:cubicBezTo>
                  <a:lnTo>
                    <a:pt x="14" y="30"/>
                  </a:lnTo>
                  <a:close/>
                </a:path>
              </a:pathLst>
            </a:cu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57" name="Freeform 212"/>
            <p:cNvSpPr>
              <a:spLocks/>
            </p:cNvSpPr>
            <p:nvPr/>
          </p:nvSpPr>
          <p:spPr bwMode="auto">
            <a:xfrm>
              <a:off x="2295525" y="4479926"/>
              <a:ext cx="111125" cy="130175"/>
            </a:xfrm>
            <a:custGeom>
              <a:avLst/>
              <a:gdLst>
                <a:gd name="T0" fmla="*/ 31 w 39"/>
                <a:gd name="T1" fmla="*/ 46 h 46"/>
                <a:gd name="T2" fmla="*/ 0 w 39"/>
                <a:gd name="T3" fmla="*/ 46 h 46"/>
                <a:gd name="T4" fmla="*/ 0 w 39"/>
                <a:gd name="T5" fmla="*/ 0 h 46"/>
                <a:gd name="T6" fmla="*/ 31 w 39"/>
                <a:gd name="T7" fmla="*/ 0 h 46"/>
                <a:gd name="T8" fmla="*/ 39 w 39"/>
                <a:gd name="T9" fmla="*/ 8 h 46"/>
                <a:gd name="T10" fmla="*/ 39 w 39"/>
                <a:gd name="T11" fmla="*/ 38 h 46"/>
                <a:gd name="T12" fmla="*/ 31 w 39"/>
                <a:gd name="T1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46">
                  <a:moveTo>
                    <a:pt x="31" y="46"/>
                  </a:moveTo>
                  <a:cubicBezTo>
                    <a:pt x="0" y="46"/>
                    <a:pt x="0" y="46"/>
                    <a:pt x="0" y="4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6" y="0"/>
                    <a:pt x="39" y="4"/>
                    <a:pt x="39" y="8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9" y="42"/>
                    <a:pt x="36" y="46"/>
                    <a:pt x="31" y="46"/>
                  </a:cubicBezTo>
                  <a:close/>
                </a:path>
              </a:pathLst>
            </a:cu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58" name="Rectangle 213"/>
            <p:cNvSpPr>
              <a:spLocks noChangeArrowheads="1"/>
            </p:cNvSpPr>
            <p:nvPr/>
          </p:nvSpPr>
          <p:spPr bwMode="auto">
            <a:xfrm>
              <a:off x="2324100" y="4610101"/>
              <a:ext cx="42863" cy="134938"/>
            </a:xfrm>
            <a:prstGeom prst="rect">
              <a:avLst/>
            </a:pr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59" name="Rectangle 214"/>
            <p:cNvSpPr>
              <a:spLocks noChangeArrowheads="1"/>
            </p:cNvSpPr>
            <p:nvPr/>
          </p:nvSpPr>
          <p:spPr bwMode="auto">
            <a:xfrm>
              <a:off x="2324100" y="4610101"/>
              <a:ext cx="42863" cy="44450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60" name="Rectangle 215"/>
            <p:cNvSpPr>
              <a:spLocks noChangeArrowheads="1"/>
            </p:cNvSpPr>
            <p:nvPr/>
          </p:nvSpPr>
          <p:spPr bwMode="auto">
            <a:xfrm>
              <a:off x="2324100" y="4821238"/>
              <a:ext cx="42863" cy="100013"/>
            </a:xfrm>
            <a:prstGeom prst="rect">
              <a:avLst/>
            </a:pr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61" name="Rectangle 216"/>
            <p:cNvSpPr>
              <a:spLocks noChangeArrowheads="1"/>
            </p:cNvSpPr>
            <p:nvPr/>
          </p:nvSpPr>
          <p:spPr bwMode="auto">
            <a:xfrm>
              <a:off x="2324100" y="4821238"/>
              <a:ext cx="42863" cy="4603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62" name="Freeform 217"/>
            <p:cNvSpPr>
              <a:spLocks/>
            </p:cNvSpPr>
            <p:nvPr/>
          </p:nvSpPr>
          <p:spPr bwMode="auto">
            <a:xfrm>
              <a:off x="2298700" y="4686301"/>
              <a:ext cx="93663" cy="134938"/>
            </a:xfrm>
            <a:custGeom>
              <a:avLst/>
              <a:gdLst>
                <a:gd name="T0" fmla="*/ 0 w 33"/>
                <a:gd name="T1" fmla="*/ 38 h 48"/>
                <a:gd name="T2" fmla="*/ 9 w 33"/>
                <a:gd name="T3" fmla="*/ 48 h 48"/>
                <a:gd name="T4" fmla="*/ 24 w 33"/>
                <a:gd name="T5" fmla="*/ 48 h 48"/>
                <a:gd name="T6" fmla="*/ 33 w 33"/>
                <a:gd name="T7" fmla="*/ 38 h 48"/>
                <a:gd name="T8" fmla="*/ 33 w 33"/>
                <a:gd name="T9" fmla="*/ 10 h 48"/>
                <a:gd name="T10" fmla="*/ 24 w 33"/>
                <a:gd name="T11" fmla="*/ 0 h 48"/>
                <a:gd name="T12" fmla="*/ 9 w 33"/>
                <a:gd name="T13" fmla="*/ 0 h 48"/>
                <a:gd name="T14" fmla="*/ 0 w 33"/>
                <a:gd name="T15" fmla="*/ 10 h 48"/>
                <a:gd name="T16" fmla="*/ 0 w 33"/>
                <a:gd name="T17" fmla="*/ 3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48">
                  <a:moveTo>
                    <a:pt x="0" y="38"/>
                  </a:moveTo>
                  <a:cubicBezTo>
                    <a:pt x="0" y="43"/>
                    <a:pt x="4" y="48"/>
                    <a:pt x="9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9" y="48"/>
                    <a:pt x="33" y="43"/>
                    <a:pt x="33" y="38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5"/>
                    <a:pt x="29" y="0"/>
                    <a:pt x="2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lnTo>
                    <a:pt x="0" y="38"/>
                  </a:lnTo>
                  <a:close/>
                </a:path>
              </a:pathLst>
            </a:cu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63" name="Freeform 218"/>
            <p:cNvSpPr>
              <a:spLocks/>
            </p:cNvSpPr>
            <p:nvPr/>
          </p:nvSpPr>
          <p:spPr bwMode="auto">
            <a:xfrm>
              <a:off x="2282825" y="4899026"/>
              <a:ext cx="127000" cy="106363"/>
            </a:xfrm>
            <a:custGeom>
              <a:avLst/>
              <a:gdLst>
                <a:gd name="T0" fmla="*/ 30 w 45"/>
                <a:gd name="T1" fmla="*/ 30 h 38"/>
                <a:gd name="T2" fmla="*/ 34 w 45"/>
                <a:gd name="T3" fmla="*/ 23 h 38"/>
                <a:gd name="T4" fmla="*/ 22 w 45"/>
                <a:gd name="T5" fmla="*/ 11 h 38"/>
                <a:gd name="T6" fmla="*/ 11 w 45"/>
                <a:gd name="T7" fmla="*/ 23 h 38"/>
                <a:gd name="T8" fmla="*/ 14 w 45"/>
                <a:gd name="T9" fmla="*/ 30 h 38"/>
                <a:gd name="T10" fmla="*/ 6 w 45"/>
                <a:gd name="T11" fmla="*/ 38 h 38"/>
                <a:gd name="T12" fmla="*/ 0 w 45"/>
                <a:gd name="T13" fmla="*/ 23 h 38"/>
                <a:gd name="T14" fmla="*/ 22 w 45"/>
                <a:gd name="T15" fmla="*/ 0 h 38"/>
                <a:gd name="T16" fmla="*/ 45 w 45"/>
                <a:gd name="T17" fmla="*/ 23 h 38"/>
                <a:gd name="T18" fmla="*/ 38 w 45"/>
                <a:gd name="T19" fmla="*/ 38 h 38"/>
                <a:gd name="T20" fmla="*/ 30 w 45"/>
                <a:gd name="T21" fmla="*/ 3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38">
                  <a:moveTo>
                    <a:pt x="30" y="30"/>
                  </a:moveTo>
                  <a:cubicBezTo>
                    <a:pt x="32" y="28"/>
                    <a:pt x="34" y="26"/>
                    <a:pt x="34" y="23"/>
                  </a:cubicBezTo>
                  <a:cubicBezTo>
                    <a:pt x="34" y="16"/>
                    <a:pt x="29" y="11"/>
                    <a:pt x="22" y="11"/>
                  </a:cubicBezTo>
                  <a:cubicBezTo>
                    <a:pt x="16" y="11"/>
                    <a:pt x="11" y="16"/>
                    <a:pt x="11" y="23"/>
                  </a:cubicBezTo>
                  <a:cubicBezTo>
                    <a:pt x="11" y="26"/>
                    <a:pt x="12" y="28"/>
                    <a:pt x="14" y="30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2" y="34"/>
                    <a:pt x="0" y="29"/>
                    <a:pt x="0" y="23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35" y="0"/>
                    <a:pt x="45" y="10"/>
                    <a:pt x="45" y="23"/>
                  </a:cubicBezTo>
                  <a:cubicBezTo>
                    <a:pt x="45" y="29"/>
                    <a:pt x="42" y="34"/>
                    <a:pt x="38" y="38"/>
                  </a:cubicBezTo>
                  <a:lnTo>
                    <a:pt x="30" y="30"/>
                  </a:lnTo>
                  <a:close/>
                </a:path>
              </a:pathLst>
            </a:cu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820" name="Picture 2" descr="https://issues.jboss.org/secure/attachment/12358227/modeshape-scale-out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75486" y="4349533"/>
            <a:ext cx="2011896" cy="1174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0" name="Title 1"/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rm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GB">
                <a:solidFill>
                  <a:srgbClr val="00B0F0"/>
                </a:solidFill>
              </a:rPr>
              <a:t>Data Lake Analytics</a:t>
            </a:r>
          </a:p>
        </p:txBody>
      </p:sp>
    </p:spTree>
    <p:extLst>
      <p:ext uri="{BB962C8B-B14F-4D97-AF65-F5344CB8AC3E}">
        <p14:creationId xmlns:p14="http://schemas.microsoft.com/office/powerpoint/2010/main" val="1336800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GB" dirty="0">
                <a:solidFill>
                  <a:srgbClr val="00B0F0"/>
                </a:solidFill>
              </a:rPr>
              <a:t>Data Lake Analytics</a:t>
            </a:r>
          </a:p>
        </p:txBody>
      </p:sp>
      <p:sp>
        <p:nvSpPr>
          <p:cNvPr id="5" name="Rectangle 4"/>
          <p:cNvSpPr/>
          <p:nvPr/>
        </p:nvSpPr>
        <p:spPr>
          <a:xfrm>
            <a:off x="269241" y="1189494"/>
            <a:ext cx="9605440" cy="452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353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</a:rPr>
              <a:t>A managed cloud service for building and operating data pipelines</a:t>
            </a:r>
          </a:p>
        </p:txBody>
      </p:sp>
      <p:sp>
        <p:nvSpPr>
          <p:cNvPr id="9" name="Text Placeholder 3"/>
          <p:cNvSpPr txBox="1">
            <a:spLocks/>
          </p:cNvSpPr>
          <p:nvPr/>
        </p:nvSpPr>
        <p:spPr>
          <a:xfrm>
            <a:off x="390891" y="1805405"/>
            <a:ext cx="11455014" cy="437401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36145" marR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2800" kern="1200" spc="0" baseline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572691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6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784338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4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008435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2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32531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2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schemeClr val="tx1"/>
                </a:solidFill>
              </a:rPr>
              <a:t>Built on Apache YARN</a:t>
            </a:r>
          </a:p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schemeClr val="tx1"/>
                </a:solidFill>
              </a:rPr>
              <a:t>Scales dynamically with the turn of a dial</a:t>
            </a:r>
          </a:p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schemeClr val="tx1"/>
                </a:solidFill>
              </a:rPr>
              <a:t>Pay by the query</a:t>
            </a:r>
          </a:p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schemeClr val="tx1"/>
                </a:solidFill>
              </a:rPr>
              <a:t>Supports Azure AD for access control, roles, and integration with on-</a:t>
            </a:r>
            <a:r>
              <a:rPr lang="en-GB" sz="2800" dirty="0" err="1">
                <a:solidFill>
                  <a:schemeClr val="tx1"/>
                </a:solidFill>
              </a:rPr>
              <a:t>prem</a:t>
            </a:r>
            <a:r>
              <a:rPr lang="en-GB" sz="2800" dirty="0">
                <a:solidFill>
                  <a:schemeClr val="tx1"/>
                </a:solidFill>
              </a:rPr>
              <a:t> identity systems</a:t>
            </a:r>
          </a:p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schemeClr val="tx1"/>
                </a:solidFill>
              </a:rPr>
              <a:t>Built with U-SQL to unify the benefits of SQL with the power of C# </a:t>
            </a:r>
          </a:p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schemeClr val="tx1"/>
                </a:solidFill>
              </a:rPr>
              <a:t>Processes data across Azure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2320" y="5353232"/>
            <a:ext cx="1243585" cy="1243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2158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866" y="1414418"/>
            <a:ext cx="11647214" cy="4579328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0" dirty="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723776" y="1751066"/>
            <a:ext cx="10662947" cy="2263593"/>
            <a:chOff x="376569" y="1750827"/>
            <a:chExt cx="10664459" cy="2263914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51475" y="1750827"/>
              <a:ext cx="1196162" cy="1196162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4532128" y="2850555"/>
              <a:ext cx="2434856" cy="747512"/>
            </a:xfrm>
            <a:prstGeom prst="rect">
              <a:avLst/>
            </a:prstGeom>
            <a:noFill/>
          </p:spPr>
          <p:txBody>
            <a:bodyPr wrap="square" lIns="182854" tIns="146284" rIns="182854" bIns="146284" rtlCol="0">
              <a:spAutoFit/>
            </a:bodyPr>
            <a:lstStyle/>
            <a:p>
              <a:pPr algn="ctr" defTabSz="896386"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kern="0" dirty="0">
                  <a:solidFill>
                    <a:sysClr val="windowText" lastClr="000000"/>
                  </a:solidFill>
                  <a:latin typeface="Segoe UI Black" panose="020B0A02040204020203" pitchFamily="34" charset="0"/>
                  <a:ea typeface="Segoe UI Black" panose="020B0A02040204020203" pitchFamily="34" charset="0"/>
                  <a:cs typeface="Segoe UI Black" panose="020B0A02040204020203" pitchFamily="34" charset="0"/>
                </a:rPr>
                <a:t>Azure Data Lake Analytics</a:t>
              </a:r>
            </a:p>
          </p:txBody>
        </p:sp>
        <p:sp>
          <p:nvSpPr>
            <p:cNvPr id="8" name="Right Brace 7"/>
            <p:cNvSpPr/>
            <p:nvPr/>
          </p:nvSpPr>
          <p:spPr>
            <a:xfrm rot="16200000">
              <a:off x="5482403" y="-1543884"/>
              <a:ext cx="452791" cy="10664459"/>
            </a:xfrm>
            <a:prstGeom prst="rightBrace">
              <a:avLst>
                <a:gd name="adj1" fmla="val 285424"/>
                <a:gd name="adj2" fmla="val 50000"/>
              </a:avLst>
            </a:prstGeom>
            <a:ln w="44450">
              <a:solidFill>
                <a:schemeClr val="accent1"/>
              </a:solidFill>
              <a:prstDash val="sysDash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896386"/>
              <a:endParaRPr lang="en-US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9" name="TextBox 8"/>
          <p:cNvSpPr txBox="1"/>
          <p:nvPr/>
        </p:nvSpPr>
        <p:spPr>
          <a:xfrm>
            <a:off x="269753" y="5219718"/>
            <a:ext cx="2434511" cy="516991"/>
          </a:xfrm>
          <a:prstGeom prst="rect">
            <a:avLst/>
          </a:prstGeom>
          <a:noFill/>
        </p:spPr>
        <p:txBody>
          <a:bodyPr wrap="square" lIns="182854" tIns="146284" rIns="182854" bIns="146284" rtlCol="0">
            <a:spAutoFit/>
          </a:bodyPr>
          <a:lstStyle/>
          <a:p>
            <a:pPr algn="ctr" defTabSz="896386">
              <a:lnSpc>
                <a:spcPct val="90000"/>
              </a:lnSpc>
              <a:spcAft>
                <a:spcPts val="600"/>
              </a:spcAft>
            </a:pPr>
            <a:r>
              <a:rPr lang="en-US" sz="1600" kern="0" dirty="0">
                <a:solidFill>
                  <a:sysClr val="windowText" lastClr="00000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Azure</a:t>
            </a:r>
            <a:r>
              <a:rPr lang="en-US" sz="1600" kern="0" dirty="0">
                <a:solidFill>
                  <a:schemeClr val="accent6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 </a:t>
            </a:r>
            <a:r>
              <a:rPr lang="en-US" sz="1600" kern="0" dirty="0">
                <a:solidFill>
                  <a:sysClr val="windowText" lastClr="00000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SQL</a:t>
            </a:r>
            <a:r>
              <a:rPr lang="en-US" sz="1600" kern="0" dirty="0">
                <a:solidFill>
                  <a:schemeClr val="accent6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 </a:t>
            </a:r>
            <a:r>
              <a:rPr lang="en-US" sz="1600" kern="0" dirty="0">
                <a:solidFill>
                  <a:sysClr val="windowText" lastClr="00000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DW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505707" y="5219718"/>
            <a:ext cx="2434511" cy="516991"/>
          </a:xfrm>
          <a:prstGeom prst="rect">
            <a:avLst/>
          </a:prstGeom>
          <a:noFill/>
        </p:spPr>
        <p:txBody>
          <a:bodyPr wrap="square" lIns="182854" tIns="146284" rIns="182854" bIns="146284" rtlCol="0">
            <a:spAutoFit/>
          </a:bodyPr>
          <a:lstStyle/>
          <a:p>
            <a:pPr algn="ctr" defTabSz="896386">
              <a:lnSpc>
                <a:spcPct val="90000"/>
              </a:lnSpc>
              <a:spcAft>
                <a:spcPts val="600"/>
              </a:spcAft>
            </a:pPr>
            <a:r>
              <a:rPr lang="en-US" sz="1600" kern="0" dirty="0">
                <a:solidFill>
                  <a:sysClr val="windowText" lastClr="00000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Azure SQL DB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165882" y="5023386"/>
            <a:ext cx="2434511" cy="747406"/>
          </a:xfrm>
          <a:prstGeom prst="rect">
            <a:avLst/>
          </a:prstGeom>
          <a:noFill/>
        </p:spPr>
        <p:txBody>
          <a:bodyPr wrap="square" lIns="182854" tIns="146284" rIns="182854" bIns="146284" rtlCol="0">
            <a:spAutoFit/>
          </a:bodyPr>
          <a:lstStyle/>
          <a:p>
            <a:pPr algn="ctr" defTabSz="896386">
              <a:lnSpc>
                <a:spcPct val="90000"/>
              </a:lnSpc>
              <a:spcAft>
                <a:spcPts val="600"/>
              </a:spcAft>
            </a:pPr>
            <a:r>
              <a:rPr lang="en-US" sz="1600" kern="0" dirty="0">
                <a:solidFill>
                  <a:sysClr val="windowText" lastClr="00000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Azure </a:t>
            </a:r>
            <a:br>
              <a:rPr lang="en-US" sz="1600" kern="0" dirty="0">
                <a:solidFill>
                  <a:sysClr val="windowText" lastClr="00000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</a:br>
            <a:r>
              <a:rPr lang="en-US" sz="1600" kern="0" dirty="0">
                <a:solidFill>
                  <a:sysClr val="windowText" lastClr="00000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Storage Blob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890946" y="5025417"/>
            <a:ext cx="2434511" cy="747406"/>
          </a:xfrm>
          <a:prstGeom prst="rect">
            <a:avLst/>
          </a:prstGeom>
          <a:noFill/>
        </p:spPr>
        <p:txBody>
          <a:bodyPr wrap="square" lIns="182854" tIns="146284" rIns="182854" bIns="146284" rtlCol="0">
            <a:spAutoFit/>
          </a:bodyPr>
          <a:lstStyle/>
          <a:p>
            <a:pPr algn="ctr" defTabSz="896386">
              <a:lnSpc>
                <a:spcPct val="90000"/>
              </a:lnSpc>
              <a:spcAft>
                <a:spcPts val="600"/>
              </a:spcAft>
            </a:pPr>
            <a:r>
              <a:rPr lang="en-US" sz="1600" kern="0" dirty="0">
                <a:solidFill>
                  <a:sysClr val="windowText" lastClr="00000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Azure </a:t>
            </a:r>
            <a:br>
              <a:rPr lang="en-US" sz="1600" kern="0" dirty="0">
                <a:solidFill>
                  <a:sysClr val="windowText" lastClr="00000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</a:br>
            <a:r>
              <a:rPr lang="en-US" sz="1600" kern="0" dirty="0">
                <a:solidFill>
                  <a:sysClr val="windowText" lastClr="00000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Data Lake Stor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9213568" y="4998151"/>
            <a:ext cx="2434511" cy="747406"/>
          </a:xfrm>
          <a:prstGeom prst="rect">
            <a:avLst/>
          </a:prstGeom>
          <a:noFill/>
        </p:spPr>
        <p:txBody>
          <a:bodyPr wrap="square" lIns="182854" tIns="146284" rIns="182854" bIns="146284" rtlCol="0">
            <a:spAutoFit/>
          </a:bodyPr>
          <a:lstStyle/>
          <a:p>
            <a:pPr algn="ctr" defTabSz="896386">
              <a:lnSpc>
                <a:spcPct val="90000"/>
              </a:lnSpc>
              <a:spcAft>
                <a:spcPts val="600"/>
              </a:spcAft>
            </a:pPr>
            <a:r>
              <a:rPr lang="en-US" sz="1600" kern="0" dirty="0">
                <a:solidFill>
                  <a:sysClr val="windowText" lastClr="00000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SQL DB in an </a:t>
            </a:r>
            <a:br>
              <a:rPr lang="en-US" sz="1600" kern="0" dirty="0">
                <a:solidFill>
                  <a:sysClr val="windowText" lastClr="00000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</a:br>
            <a:r>
              <a:rPr lang="en-US" sz="1600" kern="0" dirty="0">
                <a:solidFill>
                  <a:sysClr val="windowText" lastClr="00000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Azure VM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7173" y="4039892"/>
            <a:ext cx="1120125" cy="1120125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2263" y="4140452"/>
            <a:ext cx="978157" cy="978157"/>
          </a:xfrm>
          <a:prstGeom prst="rect">
            <a:avLst/>
          </a:prstGeom>
          <a:solidFill>
            <a:srgbClr val="002050"/>
          </a:solidFill>
        </p:spPr>
      </p:pic>
      <p:grpSp>
        <p:nvGrpSpPr>
          <p:cNvPr id="17" name="Group 16"/>
          <p:cNvGrpSpPr/>
          <p:nvPr/>
        </p:nvGrpSpPr>
        <p:grpSpPr>
          <a:xfrm>
            <a:off x="899730" y="4168078"/>
            <a:ext cx="1237977" cy="830074"/>
            <a:chOff x="8320734" y="-1542000"/>
            <a:chExt cx="1770954" cy="1187440"/>
          </a:xfrm>
        </p:grpSpPr>
        <p:sp>
          <p:nvSpPr>
            <p:cNvPr id="18" name="Freeform 87"/>
            <p:cNvSpPr>
              <a:spLocks/>
            </p:cNvSpPr>
            <p:nvPr/>
          </p:nvSpPr>
          <p:spPr bwMode="auto">
            <a:xfrm>
              <a:off x="8392171" y="-1163755"/>
              <a:ext cx="617537" cy="682625"/>
            </a:xfrm>
            <a:custGeom>
              <a:avLst/>
              <a:gdLst>
                <a:gd name="T0" fmla="*/ 389 w 389"/>
                <a:gd name="T1" fmla="*/ 164 h 430"/>
                <a:gd name="T2" fmla="*/ 195 w 389"/>
                <a:gd name="T3" fmla="*/ 0 h 430"/>
                <a:gd name="T4" fmla="*/ 0 w 389"/>
                <a:gd name="T5" fmla="*/ 164 h 430"/>
                <a:gd name="T6" fmla="*/ 0 w 389"/>
                <a:gd name="T7" fmla="*/ 430 h 430"/>
                <a:gd name="T8" fmla="*/ 389 w 389"/>
                <a:gd name="T9" fmla="*/ 430 h 430"/>
                <a:gd name="T10" fmla="*/ 389 w 389"/>
                <a:gd name="T11" fmla="*/ 164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9" h="430">
                  <a:moveTo>
                    <a:pt x="389" y="164"/>
                  </a:moveTo>
                  <a:lnTo>
                    <a:pt x="195" y="0"/>
                  </a:lnTo>
                  <a:lnTo>
                    <a:pt x="0" y="164"/>
                  </a:lnTo>
                  <a:lnTo>
                    <a:pt x="0" y="430"/>
                  </a:lnTo>
                  <a:lnTo>
                    <a:pt x="389" y="430"/>
                  </a:lnTo>
                  <a:lnTo>
                    <a:pt x="389" y="164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168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Segoe UI" charset="0"/>
              </a:endParaRPr>
            </a:p>
          </p:txBody>
        </p:sp>
        <p:sp>
          <p:nvSpPr>
            <p:cNvPr id="19" name="Freeform 89"/>
            <p:cNvSpPr>
              <a:spLocks/>
            </p:cNvSpPr>
            <p:nvPr/>
          </p:nvSpPr>
          <p:spPr bwMode="auto">
            <a:xfrm>
              <a:off x="8320734" y="-1163755"/>
              <a:ext cx="381000" cy="260350"/>
            </a:xfrm>
            <a:custGeom>
              <a:avLst/>
              <a:gdLst>
                <a:gd name="T0" fmla="*/ 163 w 240"/>
                <a:gd name="T1" fmla="*/ 0 h 164"/>
                <a:gd name="T2" fmla="*/ 240 w 240"/>
                <a:gd name="T3" fmla="*/ 0 h 164"/>
                <a:gd name="T4" fmla="*/ 45 w 240"/>
                <a:gd name="T5" fmla="*/ 164 h 164"/>
                <a:gd name="T6" fmla="*/ 0 w 240"/>
                <a:gd name="T7" fmla="*/ 164 h 164"/>
                <a:gd name="T8" fmla="*/ 145 w 240"/>
                <a:gd name="T9" fmla="*/ 41 h 164"/>
                <a:gd name="T10" fmla="*/ 163 w 240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0" h="164">
                  <a:moveTo>
                    <a:pt x="163" y="0"/>
                  </a:moveTo>
                  <a:lnTo>
                    <a:pt x="240" y="0"/>
                  </a:lnTo>
                  <a:lnTo>
                    <a:pt x="45" y="164"/>
                  </a:lnTo>
                  <a:lnTo>
                    <a:pt x="0" y="164"/>
                  </a:lnTo>
                  <a:lnTo>
                    <a:pt x="145" y="41"/>
                  </a:lnTo>
                  <a:lnTo>
                    <a:pt x="163" y="0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168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Segoe UI" charset="0"/>
              </a:endParaRPr>
            </a:p>
          </p:txBody>
        </p:sp>
        <p:sp>
          <p:nvSpPr>
            <p:cNvPr id="20" name="Freeform 90"/>
            <p:cNvSpPr>
              <a:spLocks/>
            </p:cNvSpPr>
            <p:nvPr/>
          </p:nvSpPr>
          <p:spPr bwMode="auto">
            <a:xfrm>
              <a:off x="8579496" y="-1163755"/>
              <a:ext cx="1049337" cy="306388"/>
            </a:xfrm>
            <a:custGeom>
              <a:avLst/>
              <a:gdLst>
                <a:gd name="T0" fmla="*/ 476 w 661"/>
                <a:gd name="T1" fmla="*/ 0 h 193"/>
                <a:gd name="T2" fmla="*/ 0 w 661"/>
                <a:gd name="T3" fmla="*/ 0 h 193"/>
                <a:gd name="T4" fmla="*/ 88 w 661"/>
                <a:gd name="T5" fmla="*/ 47 h 193"/>
                <a:gd name="T6" fmla="*/ 262 w 661"/>
                <a:gd name="T7" fmla="*/ 193 h 193"/>
                <a:gd name="T8" fmla="*/ 661 w 661"/>
                <a:gd name="T9" fmla="*/ 193 h 193"/>
                <a:gd name="T10" fmla="*/ 485 w 661"/>
                <a:gd name="T11" fmla="*/ 45 h 193"/>
                <a:gd name="T12" fmla="*/ 476 w 661"/>
                <a:gd name="T13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1" h="193">
                  <a:moveTo>
                    <a:pt x="476" y="0"/>
                  </a:moveTo>
                  <a:lnTo>
                    <a:pt x="0" y="0"/>
                  </a:lnTo>
                  <a:lnTo>
                    <a:pt x="88" y="47"/>
                  </a:lnTo>
                  <a:lnTo>
                    <a:pt x="262" y="193"/>
                  </a:lnTo>
                  <a:lnTo>
                    <a:pt x="661" y="193"/>
                  </a:lnTo>
                  <a:lnTo>
                    <a:pt x="485" y="4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168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Segoe UI" charset="0"/>
              </a:endParaRPr>
            </a:p>
          </p:txBody>
        </p:sp>
        <p:sp>
          <p:nvSpPr>
            <p:cNvPr id="21" name="Rectangle 95"/>
            <p:cNvSpPr>
              <a:spLocks noChangeArrowheads="1"/>
            </p:cNvSpPr>
            <p:nvPr/>
          </p:nvSpPr>
          <p:spPr bwMode="auto">
            <a:xfrm>
              <a:off x="8463609" y="-857367"/>
              <a:ext cx="466725" cy="376238"/>
            </a:xfrm>
            <a:prstGeom prst="rect">
              <a:avLst/>
            </a:prstGeom>
            <a:solidFill>
              <a:srgbClr val="0146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168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Segoe UI" charset="0"/>
              </a:endParaRPr>
            </a:p>
          </p:txBody>
        </p:sp>
        <p:sp>
          <p:nvSpPr>
            <p:cNvPr id="22" name="Rectangle 96"/>
            <p:cNvSpPr>
              <a:spLocks noChangeArrowheads="1"/>
            </p:cNvSpPr>
            <p:nvPr/>
          </p:nvSpPr>
          <p:spPr bwMode="auto">
            <a:xfrm>
              <a:off x="8463609" y="-857367"/>
              <a:ext cx="466725" cy="34925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168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Segoe UI" charset="0"/>
              </a:endParaRPr>
            </a:p>
          </p:txBody>
        </p:sp>
        <p:sp>
          <p:nvSpPr>
            <p:cNvPr id="23" name="Rectangle 97"/>
            <p:cNvSpPr>
              <a:spLocks noChangeArrowheads="1"/>
            </p:cNvSpPr>
            <p:nvPr/>
          </p:nvSpPr>
          <p:spPr bwMode="auto">
            <a:xfrm>
              <a:off x="8454084" y="-582730"/>
              <a:ext cx="114300" cy="101600"/>
            </a:xfrm>
            <a:prstGeom prst="rect">
              <a:avLst/>
            </a:prstGeom>
            <a:solidFill>
              <a:srgbClr val="38A4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168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Segoe UI" charset="0"/>
              </a:endParaRPr>
            </a:p>
          </p:txBody>
        </p:sp>
        <p:sp>
          <p:nvSpPr>
            <p:cNvPr id="24" name="Rectangle 98"/>
            <p:cNvSpPr>
              <a:spLocks noChangeArrowheads="1"/>
            </p:cNvSpPr>
            <p:nvPr/>
          </p:nvSpPr>
          <p:spPr bwMode="auto">
            <a:xfrm>
              <a:off x="8568384" y="-582730"/>
              <a:ext cx="82550" cy="101600"/>
            </a:xfrm>
            <a:prstGeom prst="rect">
              <a:avLst/>
            </a:prstGeom>
            <a:solidFill>
              <a:srgbClr val="008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168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Segoe UI" charset="0"/>
              </a:endParaRPr>
            </a:p>
          </p:txBody>
        </p:sp>
        <p:sp>
          <p:nvSpPr>
            <p:cNvPr id="25" name="Rectangle 99"/>
            <p:cNvSpPr>
              <a:spLocks noChangeArrowheads="1"/>
            </p:cNvSpPr>
            <p:nvPr/>
          </p:nvSpPr>
          <p:spPr bwMode="auto">
            <a:xfrm>
              <a:off x="8496946" y="-582730"/>
              <a:ext cx="26987" cy="11113"/>
            </a:xfrm>
            <a:prstGeom prst="rect">
              <a:avLst/>
            </a:prstGeom>
            <a:solidFill>
              <a:srgbClr val="58AB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168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Segoe UI" charset="0"/>
              </a:endParaRPr>
            </a:p>
          </p:txBody>
        </p:sp>
        <p:sp>
          <p:nvSpPr>
            <p:cNvPr id="26" name="Rectangle 100"/>
            <p:cNvSpPr>
              <a:spLocks noChangeArrowheads="1"/>
            </p:cNvSpPr>
            <p:nvPr/>
          </p:nvSpPr>
          <p:spPr bwMode="auto">
            <a:xfrm>
              <a:off x="8454084" y="-689092"/>
              <a:ext cx="114300" cy="101600"/>
            </a:xfrm>
            <a:prstGeom prst="rect">
              <a:avLst/>
            </a:prstGeom>
            <a:solidFill>
              <a:srgbClr val="38A4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168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Segoe UI" charset="0"/>
              </a:endParaRPr>
            </a:p>
          </p:txBody>
        </p:sp>
        <p:sp>
          <p:nvSpPr>
            <p:cNvPr id="27" name="Rectangle 101"/>
            <p:cNvSpPr>
              <a:spLocks noChangeArrowheads="1"/>
            </p:cNvSpPr>
            <p:nvPr/>
          </p:nvSpPr>
          <p:spPr bwMode="auto">
            <a:xfrm>
              <a:off x="8568384" y="-689092"/>
              <a:ext cx="82550" cy="101600"/>
            </a:xfrm>
            <a:prstGeom prst="rect">
              <a:avLst/>
            </a:prstGeom>
            <a:solidFill>
              <a:srgbClr val="008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168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Segoe UI" charset="0"/>
              </a:endParaRPr>
            </a:p>
          </p:txBody>
        </p:sp>
        <p:sp>
          <p:nvSpPr>
            <p:cNvPr id="28" name="Rectangle 102"/>
            <p:cNvSpPr>
              <a:spLocks noChangeArrowheads="1"/>
            </p:cNvSpPr>
            <p:nvPr/>
          </p:nvSpPr>
          <p:spPr bwMode="auto">
            <a:xfrm>
              <a:off x="8496946" y="-689092"/>
              <a:ext cx="26987" cy="11113"/>
            </a:xfrm>
            <a:prstGeom prst="rect">
              <a:avLst/>
            </a:prstGeom>
            <a:solidFill>
              <a:srgbClr val="58AB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168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Segoe UI" charset="0"/>
              </a:endParaRPr>
            </a:p>
          </p:txBody>
        </p:sp>
        <p:sp>
          <p:nvSpPr>
            <p:cNvPr id="29" name="Rectangle 103"/>
            <p:cNvSpPr>
              <a:spLocks noChangeArrowheads="1"/>
            </p:cNvSpPr>
            <p:nvPr/>
          </p:nvSpPr>
          <p:spPr bwMode="auto">
            <a:xfrm>
              <a:off x="8454084" y="-795455"/>
              <a:ext cx="114300" cy="100013"/>
            </a:xfrm>
            <a:prstGeom prst="rect">
              <a:avLst/>
            </a:prstGeom>
            <a:solidFill>
              <a:srgbClr val="38A4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168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Segoe UI" charset="0"/>
              </a:endParaRPr>
            </a:p>
          </p:txBody>
        </p:sp>
        <p:sp>
          <p:nvSpPr>
            <p:cNvPr id="30" name="Rectangle 104"/>
            <p:cNvSpPr>
              <a:spLocks noChangeArrowheads="1"/>
            </p:cNvSpPr>
            <p:nvPr/>
          </p:nvSpPr>
          <p:spPr bwMode="auto">
            <a:xfrm>
              <a:off x="8568384" y="-795455"/>
              <a:ext cx="82550" cy="100013"/>
            </a:xfrm>
            <a:prstGeom prst="rect">
              <a:avLst/>
            </a:prstGeom>
            <a:solidFill>
              <a:srgbClr val="008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168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Segoe UI" charset="0"/>
              </a:endParaRPr>
            </a:p>
          </p:txBody>
        </p:sp>
        <p:sp>
          <p:nvSpPr>
            <p:cNvPr id="31" name="Rectangle 105"/>
            <p:cNvSpPr>
              <a:spLocks noChangeArrowheads="1"/>
            </p:cNvSpPr>
            <p:nvPr/>
          </p:nvSpPr>
          <p:spPr bwMode="auto">
            <a:xfrm>
              <a:off x="8498534" y="-795455"/>
              <a:ext cx="25400" cy="12700"/>
            </a:xfrm>
            <a:prstGeom prst="rect">
              <a:avLst/>
            </a:prstGeom>
            <a:solidFill>
              <a:srgbClr val="58AB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168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Segoe UI" charset="0"/>
              </a:endParaRPr>
            </a:p>
          </p:txBody>
        </p:sp>
        <p:sp>
          <p:nvSpPr>
            <p:cNvPr id="32" name="Rectangle 106"/>
            <p:cNvSpPr>
              <a:spLocks noChangeArrowheads="1"/>
            </p:cNvSpPr>
            <p:nvPr/>
          </p:nvSpPr>
          <p:spPr bwMode="auto">
            <a:xfrm>
              <a:off x="8593784" y="-582730"/>
              <a:ext cx="114300" cy="101600"/>
            </a:xfrm>
            <a:prstGeom prst="rect">
              <a:avLst/>
            </a:prstGeom>
            <a:solidFill>
              <a:srgbClr val="38A4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168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Segoe UI" charset="0"/>
              </a:endParaRPr>
            </a:p>
          </p:txBody>
        </p:sp>
        <p:sp>
          <p:nvSpPr>
            <p:cNvPr id="33" name="Rectangle 107"/>
            <p:cNvSpPr>
              <a:spLocks noChangeArrowheads="1"/>
            </p:cNvSpPr>
            <p:nvPr/>
          </p:nvSpPr>
          <p:spPr bwMode="auto">
            <a:xfrm>
              <a:off x="8708084" y="-582730"/>
              <a:ext cx="82550" cy="101600"/>
            </a:xfrm>
            <a:prstGeom prst="rect">
              <a:avLst/>
            </a:prstGeom>
            <a:solidFill>
              <a:srgbClr val="008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168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Segoe UI" charset="0"/>
              </a:endParaRPr>
            </a:p>
          </p:txBody>
        </p:sp>
        <p:sp>
          <p:nvSpPr>
            <p:cNvPr id="34" name="Rectangle 108"/>
            <p:cNvSpPr>
              <a:spLocks noChangeArrowheads="1"/>
            </p:cNvSpPr>
            <p:nvPr/>
          </p:nvSpPr>
          <p:spPr bwMode="auto">
            <a:xfrm>
              <a:off x="8636646" y="-582730"/>
              <a:ext cx="26987" cy="11113"/>
            </a:xfrm>
            <a:prstGeom prst="rect">
              <a:avLst/>
            </a:prstGeom>
            <a:solidFill>
              <a:srgbClr val="58AB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168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Segoe UI" charset="0"/>
              </a:endParaRPr>
            </a:p>
          </p:txBody>
        </p:sp>
        <p:sp>
          <p:nvSpPr>
            <p:cNvPr id="35" name="Rectangle 109"/>
            <p:cNvSpPr>
              <a:spLocks noChangeArrowheads="1"/>
            </p:cNvSpPr>
            <p:nvPr/>
          </p:nvSpPr>
          <p:spPr bwMode="auto">
            <a:xfrm>
              <a:off x="8593784" y="-689092"/>
              <a:ext cx="114300" cy="101600"/>
            </a:xfrm>
            <a:prstGeom prst="rect">
              <a:avLst/>
            </a:prstGeom>
            <a:solidFill>
              <a:srgbClr val="38A4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168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Segoe UI" charset="0"/>
              </a:endParaRPr>
            </a:p>
          </p:txBody>
        </p:sp>
        <p:sp>
          <p:nvSpPr>
            <p:cNvPr id="36" name="Rectangle 110"/>
            <p:cNvSpPr>
              <a:spLocks noChangeArrowheads="1"/>
            </p:cNvSpPr>
            <p:nvPr/>
          </p:nvSpPr>
          <p:spPr bwMode="auto">
            <a:xfrm>
              <a:off x="8708084" y="-689092"/>
              <a:ext cx="82550" cy="101600"/>
            </a:xfrm>
            <a:prstGeom prst="rect">
              <a:avLst/>
            </a:prstGeom>
            <a:solidFill>
              <a:srgbClr val="008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168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Segoe UI" charset="0"/>
              </a:endParaRPr>
            </a:p>
          </p:txBody>
        </p:sp>
        <p:sp>
          <p:nvSpPr>
            <p:cNvPr id="37" name="Rectangle 111"/>
            <p:cNvSpPr>
              <a:spLocks noChangeArrowheads="1"/>
            </p:cNvSpPr>
            <p:nvPr/>
          </p:nvSpPr>
          <p:spPr bwMode="auto">
            <a:xfrm>
              <a:off x="8638234" y="-689092"/>
              <a:ext cx="25400" cy="11113"/>
            </a:xfrm>
            <a:prstGeom prst="rect">
              <a:avLst/>
            </a:prstGeom>
            <a:solidFill>
              <a:srgbClr val="58AB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168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Segoe UI" charset="0"/>
              </a:endParaRPr>
            </a:p>
          </p:txBody>
        </p:sp>
        <p:sp>
          <p:nvSpPr>
            <p:cNvPr id="38" name="Rectangle 112"/>
            <p:cNvSpPr>
              <a:spLocks noChangeArrowheads="1"/>
            </p:cNvSpPr>
            <p:nvPr/>
          </p:nvSpPr>
          <p:spPr bwMode="auto">
            <a:xfrm>
              <a:off x="8593784" y="-795455"/>
              <a:ext cx="114300" cy="100013"/>
            </a:xfrm>
            <a:prstGeom prst="rect">
              <a:avLst/>
            </a:prstGeom>
            <a:solidFill>
              <a:srgbClr val="38A4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168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Segoe UI" charset="0"/>
              </a:endParaRPr>
            </a:p>
          </p:txBody>
        </p:sp>
        <p:sp>
          <p:nvSpPr>
            <p:cNvPr id="39" name="Rectangle 113"/>
            <p:cNvSpPr>
              <a:spLocks noChangeArrowheads="1"/>
            </p:cNvSpPr>
            <p:nvPr/>
          </p:nvSpPr>
          <p:spPr bwMode="auto">
            <a:xfrm>
              <a:off x="8708084" y="-795455"/>
              <a:ext cx="82550" cy="100013"/>
            </a:xfrm>
            <a:prstGeom prst="rect">
              <a:avLst/>
            </a:prstGeom>
            <a:solidFill>
              <a:srgbClr val="008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168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Segoe UI" charset="0"/>
              </a:endParaRPr>
            </a:p>
          </p:txBody>
        </p:sp>
        <p:sp>
          <p:nvSpPr>
            <p:cNvPr id="40" name="Rectangle 114"/>
            <p:cNvSpPr>
              <a:spLocks noChangeArrowheads="1"/>
            </p:cNvSpPr>
            <p:nvPr/>
          </p:nvSpPr>
          <p:spPr bwMode="auto">
            <a:xfrm>
              <a:off x="8638234" y="-795455"/>
              <a:ext cx="25400" cy="12700"/>
            </a:xfrm>
            <a:prstGeom prst="rect">
              <a:avLst/>
            </a:prstGeom>
            <a:solidFill>
              <a:srgbClr val="58AB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168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Segoe UI" charset="0"/>
              </a:endParaRPr>
            </a:p>
          </p:txBody>
        </p:sp>
        <p:sp>
          <p:nvSpPr>
            <p:cNvPr id="41" name="Rectangle 115"/>
            <p:cNvSpPr>
              <a:spLocks noChangeArrowheads="1"/>
            </p:cNvSpPr>
            <p:nvPr/>
          </p:nvSpPr>
          <p:spPr bwMode="auto">
            <a:xfrm>
              <a:off x="8733484" y="-582730"/>
              <a:ext cx="114300" cy="101600"/>
            </a:xfrm>
            <a:prstGeom prst="rect">
              <a:avLst/>
            </a:prstGeom>
            <a:solidFill>
              <a:srgbClr val="38A4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168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Segoe UI" charset="0"/>
              </a:endParaRPr>
            </a:p>
          </p:txBody>
        </p:sp>
        <p:sp>
          <p:nvSpPr>
            <p:cNvPr id="42" name="Rectangle 116"/>
            <p:cNvSpPr>
              <a:spLocks noChangeArrowheads="1"/>
            </p:cNvSpPr>
            <p:nvPr/>
          </p:nvSpPr>
          <p:spPr bwMode="auto">
            <a:xfrm>
              <a:off x="8847784" y="-582730"/>
              <a:ext cx="82550" cy="101600"/>
            </a:xfrm>
            <a:prstGeom prst="rect">
              <a:avLst/>
            </a:prstGeom>
            <a:solidFill>
              <a:srgbClr val="008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168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Segoe UI" charset="0"/>
              </a:endParaRPr>
            </a:p>
          </p:txBody>
        </p:sp>
        <p:sp>
          <p:nvSpPr>
            <p:cNvPr id="43" name="Rectangle 117"/>
            <p:cNvSpPr>
              <a:spLocks noChangeArrowheads="1"/>
            </p:cNvSpPr>
            <p:nvPr/>
          </p:nvSpPr>
          <p:spPr bwMode="auto">
            <a:xfrm>
              <a:off x="8776346" y="-582730"/>
              <a:ext cx="26987" cy="11113"/>
            </a:xfrm>
            <a:prstGeom prst="rect">
              <a:avLst/>
            </a:prstGeom>
            <a:solidFill>
              <a:srgbClr val="58AB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168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Segoe UI" charset="0"/>
              </a:endParaRPr>
            </a:p>
          </p:txBody>
        </p:sp>
        <p:sp>
          <p:nvSpPr>
            <p:cNvPr id="44" name="Rectangle 118"/>
            <p:cNvSpPr>
              <a:spLocks noChangeArrowheads="1"/>
            </p:cNvSpPr>
            <p:nvPr/>
          </p:nvSpPr>
          <p:spPr bwMode="auto">
            <a:xfrm>
              <a:off x="8733484" y="-689092"/>
              <a:ext cx="114300" cy="101600"/>
            </a:xfrm>
            <a:prstGeom prst="rect">
              <a:avLst/>
            </a:prstGeom>
            <a:solidFill>
              <a:srgbClr val="38A4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168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Segoe UI" charset="0"/>
              </a:endParaRPr>
            </a:p>
          </p:txBody>
        </p:sp>
        <p:sp>
          <p:nvSpPr>
            <p:cNvPr id="45" name="Rectangle 119"/>
            <p:cNvSpPr>
              <a:spLocks noChangeArrowheads="1"/>
            </p:cNvSpPr>
            <p:nvPr/>
          </p:nvSpPr>
          <p:spPr bwMode="auto">
            <a:xfrm>
              <a:off x="8847784" y="-689092"/>
              <a:ext cx="82550" cy="101600"/>
            </a:xfrm>
            <a:prstGeom prst="rect">
              <a:avLst/>
            </a:prstGeom>
            <a:solidFill>
              <a:srgbClr val="008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168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Segoe UI" charset="0"/>
              </a:endParaRPr>
            </a:p>
          </p:txBody>
        </p:sp>
        <p:sp>
          <p:nvSpPr>
            <p:cNvPr id="46" name="Rectangle 120"/>
            <p:cNvSpPr>
              <a:spLocks noChangeArrowheads="1"/>
            </p:cNvSpPr>
            <p:nvPr/>
          </p:nvSpPr>
          <p:spPr bwMode="auto">
            <a:xfrm>
              <a:off x="8777934" y="-689092"/>
              <a:ext cx="25400" cy="11113"/>
            </a:xfrm>
            <a:prstGeom prst="rect">
              <a:avLst/>
            </a:prstGeom>
            <a:solidFill>
              <a:srgbClr val="58AB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168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Segoe UI" charset="0"/>
              </a:endParaRPr>
            </a:p>
          </p:txBody>
        </p:sp>
        <p:sp>
          <p:nvSpPr>
            <p:cNvPr id="47" name="Rectangle 121"/>
            <p:cNvSpPr>
              <a:spLocks noChangeArrowheads="1"/>
            </p:cNvSpPr>
            <p:nvPr/>
          </p:nvSpPr>
          <p:spPr bwMode="auto">
            <a:xfrm>
              <a:off x="8733484" y="-795455"/>
              <a:ext cx="114300" cy="100013"/>
            </a:xfrm>
            <a:prstGeom prst="rect">
              <a:avLst/>
            </a:prstGeom>
            <a:solidFill>
              <a:srgbClr val="38A4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168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Segoe UI" charset="0"/>
              </a:endParaRPr>
            </a:p>
          </p:txBody>
        </p:sp>
        <p:sp>
          <p:nvSpPr>
            <p:cNvPr id="48" name="Rectangle 122"/>
            <p:cNvSpPr>
              <a:spLocks noChangeArrowheads="1"/>
            </p:cNvSpPr>
            <p:nvPr/>
          </p:nvSpPr>
          <p:spPr bwMode="auto">
            <a:xfrm>
              <a:off x="8847784" y="-795455"/>
              <a:ext cx="82550" cy="100013"/>
            </a:xfrm>
            <a:prstGeom prst="rect">
              <a:avLst/>
            </a:prstGeom>
            <a:solidFill>
              <a:srgbClr val="008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168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Segoe UI" charset="0"/>
              </a:endParaRPr>
            </a:p>
          </p:txBody>
        </p:sp>
        <p:sp>
          <p:nvSpPr>
            <p:cNvPr id="49" name="Rectangle 123"/>
            <p:cNvSpPr>
              <a:spLocks noChangeArrowheads="1"/>
            </p:cNvSpPr>
            <p:nvPr/>
          </p:nvSpPr>
          <p:spPr bwMode="auto">
            <a:xfrm>
              <a:off x="8777934" y="-795455"/>
              <a:ext cx="25400" cy="12700"/>
            </a:xfrm>
            <a:prstGeom prst="rect">
              <a:avLst/>
            </a:prstGeom>
            <a:solidFill>
              <a:srgbClr val="58AB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168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Segoe UI" charset="0"/>
              </a:endParaRPr>
            </a:p>
          </p:txBody>
        </p:sp>
        <p:sp>
          <p:nvSpPr>
            <p:cNvPr id="50" name="Freeform 124"/>
            <p:cNvSpPr>
              <a:spLocks/>
            </p:cNvSpPr>
            <p:nvPr/>
          </p:nvSpPr>
          <p:spPr bwMode="auto">
            <a:xfrm>
              <a:off x="8587434" y="-981192"/>
              <a:ext cx="53975" cy="79375"/>
            </a:xfrm>
            <a:custGeom>
              <a:avLst/>
              <a:gdLst>
                <a:gd name="T0" fmla="*/ 0 w 26"/>
                <a:gd name="T1" fmla="*/ 37 h 39"/>
                <a:gd name="T2" fmla="*/ 0 w 26"/>
                <a:gd name="T3" fmla="*/ 29 h 39"/>
                <a:gd name="T4" fmla="*/ 5 w 26"/>
                <a:gd name="T5" fmla="*/ 32 h 39"/>
                <a:gd name="T6" fmla="*/ 10 w 26"/>
                <a:gd name="T7" fmla="*/ 33 h 39"/>
                <a:gd name="T8" fmla="*/ 13 w 26"/>
                <a:gd name="T9" fmla="*/ 32 h 39"/>
                <a:gd name="T10" fmla="*/ 15 w 26"/>
                <a:gd name="T11" fmla="*/ 32 h 39"/>
                <a:gd name="T12" fmla="*/ 17 w 26"/>
                <a:gd name="T13" fmla="*/ 30 h 39"/>
                <a:gd name="T14" fmla="*/ 17 w 26"/>
                <a:gd name="T15" fmla="*/ 29 h 39"/>
                <a:gd name="T16" fmla="*/ 16 w 26"/>
                <a:gd name="T17" fmla="*/ 27 h 39"/>
                <a:gd name="T18" fmla="*/ 15 w 26"/>
                <a:gd name="T19" fmla="*/ 25 h 39"/>
                <a:gd name="T20" fmla="*/ 12 w 26"/>
                <a:gd name="T21" fmla="*/ 24 h 39"/>
                <a:gd name="T22" fmla="*/ 9 w 26"/>
                <a:gd name="T23" fmla="*/ 22 h 39"/>
                <a:gd name="T24" fmla="*/ 2 w 26"/>
                <a:gd name="T25" fmla="*/ 18 h 39"/>
                <a:gd name="T26" fmla="*/ 0 w 26"/>
                <a:gd name="T27" fmla="*/ 11 h 39"/>
                <a:gd name="T28" fmla="*/ 1 w 26"/>
                <a:gd name="T29" fmla="*/ 6 h 39"/>
                <a:gd name="T30" fmla="*/ 4 w 26"/>
                <a:gd name="T31" fmla="*/ 2 h 39"/>
                <a:gd name="T32" fmla="*/ 9 w 26"/>
                <a:gd name="T33" fmla="*/ 0 h 39"/>
                <a:gd name="T34" fmla="*/ 15 w 26"/>
                <a:gd name="T35" fmla="*/ 0 h 39"/>
                <a:gd name="T36" fmla="*/ 20 w 26"/>
                <a:gd name="T37" fmla="*/ 0 h 39"/>
                <a:gd name="T38" fmla="*/ 24 w 26"/>
                <a:gd name="T39" fmla="*/ 1 h 39"/>
                <a:gd name="T40" fmla="*/ 24 w 26"/>
                <a:gd name="T41" fmla="*/ 9 h 39"/>
                <a:gd name="T42" fmla="*/ 22 w 26"/>
                <a:gd name="T43" fmla="*/ 8 h 39"/>
                <a:gd name="T44" fmla="*/ 20 w 26"/>
                <a:gd name="T45" fmla="*/ 7 h 39"/>
                <a:gd name="T46" fmla="*/ 17 w 26"/>
                <a:gd name="T47" fmla="*/ 7 h 39"/>
                <a:gd name="T48" fmla="*/ 15 w 26"/>
                <a:gd name="T49" fmla="*/ 7 h 39"/>
                <a:gd name="T50" fmla="*/ 13 w 26"/>
                <a:gd name="T51" fmla="*/ 7 h 39"/>
                <a:gd name="T52" fmla="*/ 11 w 26"/>
                <a:gd name="T53" fmla="*/ 8 h 39"/>
                <a:gd name="T54" fmla="*/ 9 w 26"/>
                <a:gd name="T55" fmla="*/ 9 h 39"/>
                <a:gd name="T56" fmla="*/ 9 w 26"/>
                <a:gd name="T57" fmla="*/ 10 h 39"/>
                <a:gd name="T58" fmla="*/ 9 w 26"/>
                <a:gd name="T59" fmla="*/ 12 h 39"/>
                <a:gd name="T60" fmla="*/ 11 w 26"/>
                <a:gd name="T61" fmla="*/ 14 h 39"/>
                <a:gd name="T62" fmla="*/ 13 w 26"/>
                <a:gd name="T63" fmla="*/ 15 h 39"/>
                <a:gd name="T64" fmla="*/ 16 w 26"/>
                <a:gd name="T65" fmla="*/ 16 h 39"/>
                <a:gd name="T66" fmla="*/ 20 w 26"/>
                <a:gd name="T67" fmla="*/ 18 h 39"/>
                <a:gd name="T68" fmla="*/ 23 w 26"/>
                <a:gd name="T69" fmla="*/ 21 h 39"/>
                <a:gd name="T70" fmla="*/ 25 w 26"/>
                <a:gd name="T71" fmla="*/ 24 h 39"/>
                <a:gd name="T72" fmla="*/ 26 w 26"/>
                <a:gd name="T73" fmla="*/ 28 h 39"/>
                <a:gd name="T74" fmla="*/ 25 w 26"/>
                <a:gd name="T75" fmla="*/ 33 h 39"/>
                <a:gd name="T76" fmla="*/ 21 w 26"/>
                <a:gd name="T77" fmla="*/ 37 h 39"/>
                <a:gd name="T78" fmla="*/ 17 w 26"/>
                <a:gd name="T79" fmla="*/ 39 h 39"/>
                <a:gd name="T80" fmla="*/ 11 w 26"/>
                <a:gd name="T81" fmla="*/ 39 h 39"/>
                <a:gd name="T82" fmla="*/ 5 w 26"/>
                <a:gd name="T83" fmla="*/ 39 h 39"/>
                <a:gd name="T84" fmla="*/ 0 w 26"/>
                <a:gd name="T85" fmla="*/ 37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6" h="39">
                  <a:moveTo>
                    <a:pt x="0" y="37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1" y="30"/>
                    <a:pt x="3" y="31"/>
                    <a:pt x="5" y="32"/>
                  </a:cubicBezTo>
                  <a:cubicBezTo>
                    <a:pt x="7" y="32"/>
                    <a:pt x="9" y="33"/>
                    <a:pt x="10" y="33"/>
                  </a:cubicBezTo>
                  <a:cubicBezTo>
                    <a:pt x="12" y="33"/>
                    <a:pt x="12" y="33"/>
                    <a:pt x="13" y="32"/>
                  </a:cubicBezTo>
                  <a:cubicBezTo>
                    <a:pt x="14" y="32"/>
                    <a:pt x="15" y="32"/>
                    <a:pt x="15" y="32"/>
                  </a:cubicBezTo>
                  <a:cubicBezTo>
                    <a:pt x="16" y="31"/>
                    <a:pt x="16" y="31"/>
                    <a:pt x="17" y="30"/>
                  </a:cubicBezTo>
                  <a:cubicBezTo>
                    <a:pt x="17" y="30"/>
                    <a:pt x="17" y="29"/>
                    <a:pt x="17" y="29"/>
                  </a:cubicBezTo>
                  <a:cubicBezTo>
                    <a:pt x="17" y="28"/>
                    <a:pt x="17" y="27"/>
                    <a:pt x="16" y="27"/>
                  </a:cubicBezTo>
                  <a:cubicBezTo>
                    <a:pt x="16" y="26"/>
                    <a:pt x="15" y="26"/>
                    <a:pt x="15" y="25"/>
                  </a:cubicBezTo>
                  <a:cubicBezTo>
                    <a:pt x="14" y="25"/>
                    <a:pt x="13" y="24"/>
                    <a:pt x="12" y="24"/>
                  </a:cubicBezTo>
                  <a:cubicBezTo>
                    <a:pt x="11" y="23"/>
                    <a:pt x="10" y="23"/>
                    <a:pt x="9" y="22"/>
                  </a:cubicBezTo>
                  <a:cubicBezTo>
                    <a:pt x="6" y="21"/>
                    <a:pt x="3" y="20"/>
                    <a:pt x="2" y="18"/>
                  </a:cubicBezTo>
                  <a:cubicBezTo>
                    <a:pt x="0" y="16"/>
                    <a:pt x="0" y="14"/>
                    <a:pt x="0" y="11"/>
                  </a:cubicBezTo>
                  <a:cubicBezTo>
                    <a:pt x="0" y="9"/>
                    <a:pt x="0" y="7"/>
                    <a:pt x="1" y="6"/>
                  </a:cubicBezTo>
                  <a:cubicBezTo>
                    <a:pt x="2" y="5"/>
                    <a:pt x="3" y="3"/>
                    <a:pt x="4" y="2"/>
                  </a:cubicBezTo>
                  <a:cubicBezTo>
                    <a:pt x="6" y="2"/>
                    <a:pt x="7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2" y="0"/>
                    <a:pt x="23" y="1"/>
                    <a:pt x="24" y="1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4" y="9"/>
                    <a:pt x="23" y="8"/>
                    <a:pt x="22" y="8"/>
                  </a:cubicBezTo>
                  <a:cubicBezTo>
                    <a:pt x="21" y="8"/>
                    <a:pt x="21" y="7"/>
                    <a:pt x="20" y="7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4" y="7"/>
                    <a:pt x="13" y="7"/>
                    <a:pt x="13" y="7"/>
                  </a:cubicBezTo>
                  <a:cubicBezTo>
                    <a:pt x="12" y="7"/>
                    <a:pt x="11" y="7"/>
                    <a:pt x="11" y="8"/>
                  </a:cubicBezTo>
                  <a:cubicBezTo>
                    <a:pt x="10" y="8"/>
                    <a:pt x="10" y="8"/>
                    <a:pt x="9" y="9"/>
                  </a:cubicBezTo>
                  <a:cubicBezTo>
                    <a:pt x="9" y="9"/>
                    <a:pt x="9" y="10"/>
                    <a:pt x="9" y="10"/>
                  </a:cubicBezTo>
                  <a:cubicBezTo>
                    <a:pt x="9" y="11"/>
                    <a:pt x="9" y="12"/>
                    <a:pt x="9" y="12"/>
                  </a:cubicBezTo>
                  <a:cubicBezTo>
                    <a:pt x="10" y="13"/>
                    <a:pt x="10" y="13"/>
                    <a:pt x="11" y="14"/>
                  </a:cubicBezTo>
                  <a:cubicBezTo>
                    <a:pt x="11" y="14"/>
                    <a:pt x="12" y="15"/>
                    <a:pt x="13" y="15"/>
                  </a:cubicBezTo>
                  <a:cubicBezTo>
                    <a:pt x="14" y="15"/>
                    <a:pt x="15" y="16"/>
                    <a:pt x="16" y="16"/>
                  </a:cubicBezTo>
                  <a:cubicBezTo>
                    <a:pt x="18" y="17"/>
                    <a:pt x="19" y="18"/>
                    <a:pt x="20" y="18"/>
                  </a:cubicBezTo>
                  <a:cubicBezTo>
                    <a:pt x="21" y="19"/>
                    <a:pt x="22" y="20"/>
                    <a:pt x="23" y="21"/>
                  </a:cubicBezTo>
                  <a:cubicBezTo>
                    <a:pt x="24" y="22"/>
                    <a:pt x="25" y="23"/>
                    <a:pt x="25" y="24"/>
                  </a:cubicBezTo>
                  <a:cubicBezTo>
                    <a:pt x="26" y="25"/>
                    <a:pt x="26" y="26"/>
                    <a:pt x="26" y="28"/>
                  </a:cubicBezTo>
                  <a:cubicBezTo>
                    <a:pt x="26" y="30"/>
                    <a:pt x="26" y="32"/>
                    <a:pt x="25" y="33"/>
                  </a:cubicBezTo>
                  <a:cubicBezTo>
                    <a:pt x="24" y="35"/>
                    <a:pt x="23" y="36"/>
                    <a:pt x="21" y="37"/>
                  </a:cubicBezTo>
                  <a:cubicBezTo>
                    <a:pt x="20" y="38"/>
                    <a:pt x="18" y="39"/>
                    <a:pt x="17" y="39"/>
                  </a:cubicBezTo>
                  <a:cubicBezTo>
                    <a:pt x="15" y="39"/>
                    <a:pt x="13" y="39"/>
                    <a:pt x="11" y="39"/>
                  </a:cubicBezTo>
                  <a:cubicBezTo>
                    <a:pt x="9" y="39"/>
                    <a:pt x="7" y="39"/>
                    <a:pt x="5" y="39"/>
                  </a:cubicBezTo>
                  <a:cubicBezTo>
                    <a:pt x="3" y="39"/>
                    <a:pt x="1" y="38"/>
                    <a:pt x="0" y="3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168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Segoe UI" charset="0"/>
              </a:endParaRPr>
            </a:p>
          </p:txBody>
        </p:sp>
        <p:sp>
          <p:nvSpPr>
            <p:cNvPr id="51" name="Freeform 125"/>
            <p:cNvSpPr>
              <a:spLocks noEditPoints="1"/>
            </p:cNvSpPr>
            <p:nvPr/>
          </p:nvSpPr>
          <p:spPr bwMode="auto">
            <a:xfrm>
              <a:off x="8649346" y="-981192"/>
              <a:ext cx="84137" cy="88900"/>
            </a:xfrm>
            <a:custGeom>
              <a:avLst/>
              <a:gdLst>
                <a:gd name="T0" fmla="*/ 19 w 41"/>
                <a:gd name="T1" fmla="*/ 39 h 44"/>
                <a:gd name="T2" fmla="*/ 5 w 41"/>
                <a:gd name="T3" fmla="*/ 34 h 44"/>
                <a:gd name="T4" fmla="*/ 0 w 41"/>
                <a:gd name="T5" fmla="*/ 20 h 44"/>
                <a:gd name="T6" fmla="*/ 5 w 41"/>
                <a:gd name="T7" fmla="*/ 5 h 44"/>
                <a:gd name="T8" fmla="*/ 19 w 41"/>
                <a:gd name="T9" fmla="*/ 0 h 44"/>
                <a:gd name="T10" fmla="*/ 32 w 41"/>
                <a:gd name="T11" fmla="*/ 5 h 44"/>
                <a:gd name="T12" fmla="*/ 38 w 41"/>
                <a:gd name="T13" fmla="*/ 19 h 44"/>
                <a:gd name="T14" fmla="*/ 32 w 41"/>
                <a:gd name="T15" fmla="*/ 34 h 44"/>
                <a:gd name="T16" fmla="*/ 32 w 41"/>
                <a:gd name="T17" fmla="*/ 34 h 44"/>
                <a:gd name="T18" fmla="*/ 32 w 41"/>
                <a:gd name="T19" fmla="*/ 35 h 44"/>
                <a:gd name="T20" fmla="*/ 41 w 41"/>
                <a:gd name="T21" fmla="*/ 44 h 44"/>
                <a:gd name="T22" fmla="*/ 29 w 41"/>
                <a:gd name="T23" fmla="*/ 44 h 44"/>
                <a:gd name="T24" fmla="*/ 24 w 41"/>
                <a:gd name="T25" fmla="*/ 39 h 44"/>
                <a:gd name="T26" fmla="*/ 19 w 41"/>
                <a:gd name="T27" fmla="*/ 39 h 44"/>
                <a:gd name="T28" fmla="*/ 19 w 41"/>
                <a:gd name="T29" fmla="*/ 7 h 44"/>
                <a:gd name="T30" fmla="*/ 12 w 41"/>
                <a:gd name="T31" fmla="*/ 11 h 44"/>
                <a:gd name="T32" fmla="*/ 9 w 41"/>
                <a:gd name="T33" fmla="*/ 20 h 44"/>
                <a:gd name="T34" fmla="*/ 12 w 41"/>
                <a:gd name="T35" fmla="*/ 29 h 44"/>
                <a:gd name="T36" fmla="*/ 19 w 41"/>
                <a:gd name="T37" fmla="*/ 32 h 44"/>
                <a:gd name="T38" fmla="*/ 26 w 41"/>
                <a:gd name="T39" fmla="*/ 29 h 44"/>
                <a:gd name="T40" fmla="*/ 28 w 41"/>
                <a:gd name="T41" fmla="*/ 20 h 44"/>
                <a:gd name="T42" fmla="*/ 26 w 41"/>
                <a:gd name="T43" fmla="*/ 11 h 44"/>
                <a:gd name="T44" fmla="*/ 19 w 41"/>
                <a:gd name="T45" fmla="*/ 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1" h="44">
                  <a:moveTo>
                    <a:pt x="19" y="39"/>
                  </a:moveTo>
                  <a:cubicBezTo>
                    <a:pt x="13" y="39"/>
                    <a:pt x="9" y="38"/>
                    <a:pt x="5" y="34"/>
                  </a:cubicBezTo>
                  <a:cubicBezTo>
                    <a:pt x="2" y="31"/>
                    <a:pt x="0" y="26"/>
                    <a:pt x="0" y="20"/>
                  </a:cubicBezTo>
                  <a:cubicBezTo>
                    <a:pt x="0" y="14"/>
                    <a:pt x="2" y="9"/>
                    <a:pt x="5" y="5"/>
                  </a:cubicBezTo>
                  <a:cubicBezTo>
                    <a:pt x="9" y="2"/>
                    <a:pt x="13" y="0"/>
                    <a:pt x="19" y="0"/>
                  </a:cubicBezTo>
                  <a:cubicBezTo>
                    <a:pt x="25" y="0"/>
                    <a:pt x="29" y="2"/>
                    <a:pt x="32" y="5"/>
                  </a:cubicBezTo>
                  <a:cubicBezTo>
                    <a:pt x="36" y="9"/>
                    <a:pt x="38" y="13"/>
                    <a:pt x="38" y="19"/>
                  </a:cubicBezTo>
                  <a:cubicBezTo>
                    <a:pt x="38" y="25"/>
                    <a:pt x="36" y="30"/>
                    <a:pt x="32" y="34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2" y="34"/>
                    <a:pt x="32" y="35"/>
                    <a:pt x="32" y="35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2" y="39"/>
                    <a:pt x="21" y="39"/>
                    <a:pt x="19" y="39"/>
                  </a:cubicBezTo>
                  <a:close/>
                  <a:moveTo>
                    <a:pt x="19" y="7"/>
                  </a:moveTo>
                  <a:cubicBezTo>
                    <a:pt x="16" y="7"/>
                    <a:pt x="14" y="8"/>
                    <a:pt x="12" y="11"/>
                  </a:cubicBezTo>
                  <a:cubicBezTo>
                    <a:pt x="10" y="13"/>
                    <a:pt x="9" y="16"/>
                    <a:pt x="9" y="20"/>
                  </a:cubicBezTo>
                  <a:cubicBezTo>
                    <a:pt x="9" y="23"/>
                    <a:pt x="10" y="26"/>
                    <a:pt x="12" y="29"/>
                  </a:cubicBezTo>
                  <a:cubicBezTo>
                    <a:pt x="13" y="31"/>
                    <a:pt x="16" y="32"/>
                    <a:pt x="19" y="32"/>
                  </a:cubicBezTo>
                  <a:cubicBezTo>
                    <a:pt x="22" y="32"/>
                    <a:pt x="24" y="31"/>
                    <a:pt x="26" y="29"/>
                  </a:cubicBezTo>
                  <a:cubicBezTo>
                    <a:pt x="28" y="27"/>
                    <a:pt x="28" y="24"/>
                    <a:pt x="28" y="20"/>
                  </a:cubicBezTo>
                  <a:cubicBezTo>
                    <a:pt x="28" y="16"/>
                    <a:pt x="28" y="13"/>
                    <a:pt x="26" y="11"/>
                  </a:cubicBezTo>
                  <a:cubicBezTo>
                    <a:pt x="24" y="8"/>
                    <a:pt x="22" y="7"/>
                    <a:pt x="19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168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Segoe UI" charset="0"/>
              </a:endParaRPr>
            </a:p>
          </p:txBody>
        </p:sp>
        <p:sp>
          <p:nvSpPr>
            <p:cNvPr id="52" name="Freeform 126"/>
            <p:cNvSpPr>
              <a:spLocks/>
            </p:cNvSpPr>
            <p:nvPr/>
          </p:nvSpPr>
          <p:spPr bwMode="auto">
            <a:xfrm>
              <a:off x="8739834" y="-981192"/>
              <a:ext cx="46037" cy="79375"/>
            </a:xfrm>
            <a:custGeom>
              <a:avLst/>
              <a:gdLst>
                <a:gd name="T0" fmla="*/ 29 w 29"/>
                <a:gd name="T1" fmla="*/ 50 h 50"/>
                <a:gd name="T2" fmla="*/ 0 w 29"/>
                <a:gd name="T3" fmla="*/ 50 h 50"/>
                <a:gd name="T4" fmla="*/ 0 w 29"/>
                <a:gd name="T5" fmla="*/ 0 h 50"/>
                <a:gd name="T6" fmla="*/ 11 w 29"/>
                <a:gd name="T7" fmla="*/ 0 h 50"/>
                <a:gd name="T8" fmla="*/ 11 w 29"/>
                <a:gd name="T9" fmla="*/ 41 h 50"/>
                <a:gd name="T10" fmla="*/ 29 w 29"/>
                <a:gd name="T11" fmla="*/ 41 h 50"/>
                <a:gd name="T12" fmla="*/ 29 w 29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50">
                  <a:moveTo>
                    <a:pt x="29" y="50"/>
                  </a:moveTo>
                  <a:lnTo>
                    <a:pt x="0" y="50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41"/>
                  </a:lnTo>
                  <a:lnTo>
                    <a:pt x="29" y="41"/>
                  </a:lnTo>
                  <a:lnTo>
                    <a:pt x="29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168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latin typeface="Segoe UI" charset="0"/>
              </a:endParaRPr>
            </a:p>
          </p:txBody>
        </p:sp>
        <p:sp>
          <p:nvSpPr>
            <p:cNvPr id="53" name="Rectangle 52"/>
            <p:cNvSpPr/>
            <p:nvPr/>
          </p:nvSpPr>
          <p:spPr bwMode="auto">
            <a:xfrm>
              <a:off x="9001539" y="-1363460"/>
              <a:ext cx="1090149" cy="541018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34" indent="-342834"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Font typeface="Wingdings 3" panose="05040102010807070707" pitchFamily="18" charset="2"/>
                <a:buChar char="Æ"/>
                <a:defRPr/>
              </a:pPr>
              <a:endParaRPr lang="en-US" sz="2000" b="1" kern="0" dirty="0" err="1">
                <a:solidFill>
                  <a:srgbClr val="FFFFFF"/>
                </a:soli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54" name="Group 53"/>
            <p:cNvGrpSpPr/>
            <p:nvPr/>
          </p:nvGrpSpPr>
          <p:grpSpPr>
            <a:xfrm>
              <a:off x="8985896" y="-1542000"/>
              <a:ext cx="914401" cy="1187440"/>
              <a:chOff x="6586081" y="-1693595"/>
              <a:chExt cx="914401" cy="1187440"/>
            </a:xfrm>
          </p:grpSpPr>
          <p:sp>
            <p:nvSpPr>
              <p:cNvPr id="55" name="Oval 54"/>
              <p:cNvSpPr>
                <a:spLocks noChangeArrowheads="1"/>
              </p:cNvSpPr>
              <p:nvPr/>
            </p:nvSpPr>
            <p:spPr bwMode="auto">
              <a:xfrm>
                <a:off x="6601724" y="-1693595"/>
                <a:ext cx="883114" cy="167806"/>
              </a:xfrm>
              <a:prstGeom prst="ellipse">
                <a:avLst/>
              </a:prstGeom>
              <a:solidFill>
                <a:srgbClr val="1F4E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418">
                  <a:defRPr/>
                </a:pPr>
                <a:endParaRPr lang="en-US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56" name="Freeform 123"/>
              <p:cNvSpPr>
                <a:spLocks noEditPoints="1"/>
              </p:cNvSpPr>
              <p:nvPr/>
            </p:nvSpPr>
            <p:spPr bwMode="auto">
              <a:xfrm>
                <a:off x="6586081" y="-1576981"/>
                <a:ext cx="914401" cy="1070826"/>
              </a:xfrm>
              <a:custGeom>
                <a:avLst/>
                <a:gdLst>
                  <a:gd name="T0" fmla="*/ 480 w 480"/>
                  <a:gd name="T1" fmla="*/ 135 h 562"/>
                  <a:gd name="T2" fmla="*/ 480 w 480"/>
                  <a:gd name="T3" fmla="*/ 0 h 562"/>
                  <a:gd name="T4" fmla="*/ 240 w 480"/>
                  <a:gd name="T5" fmla="*/ 43 h 562"/>
                  <a:gd name="T6" fmla="*/ 0 w 480"/>
                  <a:gd name="T7" fmla="*/ 0 h 562"/>
                  <a:gd name="T8" fmla="*/ 0 w 480"/>
                  <a:gd name="T9" fmla="*/ 135 h 562"/>
                  <a:gd name="T10" fmla="*/ 15 w 480"/>
                  <a:gd name="T11" fmla="*/ 153 h 562"/>
                  <a:gd name="T12" fmla="*/ 0 w 480"/>
                  <a:gd name="T13" fmla="*/ 170 h 562"/>
                  <a:gd name="T14" fmla="*/ 0 w 480"/>
                  <a:gd name="T15" fmla="*/ 322 h 562"/>
                  <a:gd name="T16" fmla="*/ 15 w 480"/>
                  <a:gd name="T17" fmla="*/ 340 h 562"/>
                  <a:gd name="T18" fmla="*/ 0 w 480"/>
                  <a:gd name="T19" fmla="*/ 358 h 562"/>
                  <a:gd name="T20" fmla="*/ 0 w 480"/>
                  <a:gd name="T21" fmla="*/ 510 h 562"/>
                  <a:gd name="T22" fmla="*/ 240 w 480"/>
                  <a:gd name="T23" fmla="*/ 562 h 562"/>
                  <a:gd name="T24" fmla="*/ 480 w 480"/>
                  <a:gd name="T25" fmla="*/ 510 h 562"/>
                  <a:gd name="T26" fmla="*/ 480 w 480"/>
                  <a:gd name="T27" fmla="*/ 358 h 562"/>
                  <a:gd name="T28" fmla="*/ 466 w 480"/>
                  <a:gd name="T29" fmla="*/ 340 h 562"/>
                  <a:gd name="T30" fmla="*/ 480 w 480"/>
                  <a:gd name="T31" fmla="*/ 322 h 562"/>
                  <a:gd name="T32" fmla="*/ 480 w 480"/>
                  <a:gd name="T33" fmla="*/ 170 h 562"/>
                  <a:gd name="T34" fmla="*/ 466 w 480"/>
                  <a:gd name="T35" fmla="*/ 153 h 562"/>
                  <a:gd name="T36" fmla="*/ 480 w 480"/>
                  <a:gd name="T37" fmla="*/ 135 h 562"/>
                  <a:gd name="T38" fmla="*/ 458 w 480"/>
                  <a:gd name="T39" fmla="*/ 352 h 562"/>
                  <a:gd name="T40" fmla="*/ 240 w 480"/>
                  <a:gd name="T41" fmla="*/ 380 h 562"/>
                  <a:gd name="T42" fmla="*/ 23 w 480"/>
                  <a:gd name="T43" fmla="*/ 352 h 562"/>
                  <a:gd name="T44" fmla="*/ 23 w 480"/>
                  <a:gd name="T45" fmla="*/ 333 h 562"/>
                  <a:gd name="T46" fmla="*/ 240 w 480"/>
                  <a:gd name="T47" fmla="*/ 361 h 562"/>
                  <a:gd name="T48" fmla="*/ 458 w 480"/>
                  <a:gd name="T49" fmla="*/ 333 h 562"/>
                  <a:gd name="T50" fmla="*/ 458 w 480"/>
                  <a:gd name="T51" fmla="*/ 352 h 562"/>
                  <a:gd name="T52" fmla="*/ 458 w 480"/>
                  <a:gd name="T53" fmla="*/ 166 h 562"/>
                  <a:gd name="T54" fmla="*/ 240 w 480"/>
                  <a:gd name="T55" fmla="*/ 195 h 562"/>
                  <a:gd name="T56" fmla="*/ 23 w 480"/>
                  <a:gd name="T57" fmla="*/ 166 h 562"/>
                  <a:gd name="T58" fmla="*/ 23 w 480"/>
                  <a:gd name="T59" fmla="*/ 147 h 562"/>
                  <a:gd name="T60" fmla="*/ 240 w 480"/>
                  <a:gd name="T61" fmla="*/ 176 h 562"/>
                  <a:gd name="T62" fmla="*/ 458 w 480"/>
                  <a:gd name="T63" fmla="*/ 147 h 562"/>
                  <a:gd name="T64" fmla="*/ 458 w 480"/>
                  <a:gd name="T65" fmla="*/ 166 h 5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80" h="562">
                    <a:moveTo>
                      <a:pt x="480" y="135"/>
                    </a:moveTo>
                    <a:cubicBezTo>
                      <a:pt x="480" y="0"/>
                      <a:pt x="480" y="0"/>
                      <a:pt x="480" y="0"/>
                    </a:cubicBezTo>
                    <a:cubicBezTo>
                      <a:pt x="448" y="31"/>
                      <a:pt x="326" y="43"/>
                      <a:pt x="240" y="43"/>
                    </a:cubicBezTo>
                    <a:cubicBezTo>
                      <a:pt x="154" y="43"/>
                      <a:pt x="32" y="31"/>
                      <a:pt x="0" y="0"/>
                    </a:cubicBezTo>
                    <a:cubicBezTo>
                      <a:pt x="0" y="135"/>
                      <a:pt x="0" y="135"/>
                      <a:pt x="0" y="135"/>
                    </a:cubicBezTo>
                    <a:cubicBezTo>
                      <a:pt x="0" y="141"/>
                      <a:pt x="5" y="147"/>
                      <a:pt x="15" y="153"/>
                    </a:cubicBezTo>
                    <a:cubicBezTo>
                      <a:pt x="5" y="158"/>
                      <a:pt x="0" y="164"/>
                      <a:pt x="0" y="170"/>
                    </a:cubicBezTo>
                    <a:cubicBezTo>
                      <a:pt x="0" y="322"/>
                      <a:pt x="0" y="322"/>
                      <a:pt x="0" y="322"/>
                    </a:cubicBezTo>
                    <a:cubicBezTo>
                      <a:pt x="0" y="329"/>
                      <a:pt x="5" y="335"/>
                      <a:pt x="15" y="340"/>
                    </a:cubicBezTo>
                    <a:cubicBezTo>
                      <a:pt x="5" y="346"/>
                      <a:pt x="0" y="351"/>
                      <a:pt x="0" y="358"/>
                    </a:cubicBezTo>
                    <a:cubicBezTo>
                      <a:pt x="0" y="510"/>
                      <a:pt x="0" y="510"/>
                      <a:pt x="0" y="510"/>
                    </a:cubicBezTo>
                    <a:cubicBezTo>
                      <a:pt x="0" y="538"/>
                      <a:pt x="108" y="562"/>
                      <a:pt x="240" y="562"/>
                    </a:cubicBezTo>
                    <a:cubicBezTo>
                      <a:pt x="373" y="562"/>
                      <a:pt x="480" y="538"/>
                      <a:pt x="480" y="510"/>
                    </a:cubicBezTo>
                    <a:cubicBezTo>
                      <a:pt x="480" y="358"/>
                      <a:pt x="480" y="358"/>
                      <a:pt x="480" y="358"/>
                    </a:cubicBezTo>
                    <a:cubicBezTo>
                      <a:pt x="480" y="351"/>
                      <a:pt x="475" y="346"/>
                      <a:pt x="466" y="340"/>
                    </a:cubicBezTo>
                    <a:cubicBezTo>
                      <a:pt x="475" y="335"/>
                      <a:pt x="480" y="329"/>
                      <a:pt x="480" y="322"/>
                    </a:cubicBezTo>
                    <a:cubicBezTo>
                      <a:pt x="480" y="170"/>
                      <a:pt x="480" y="170"/>
                      <a:pt x="480" y="170"/>
                    </a:cubicBezTo>
                    <a:cubicBezTo>
                      <a:pt x="480" y="164"/>
                      <a:pt x="475" y="158"/>
                      <a:pt x="466" y="153"/>
                    </a:cubicBezTo>
                    <a:cubicBezTo>
                      <a:pt x="475" y="147"/>
                      <a:pt x="480" y="141"/>
                      <a:pt x="480" y="135"/>
                    </a:cubicBezTo>
                    <a:close/>
                    <a:moveTo>
                      <a:pt x="458" y="352"/>
                    </a:moveTo>
                    <a:cubicBezTo>
                      <a:pt x="458" y="368"/>
                      <a:pt x="361" y="380"/>
                      <a:pt x="240" y="380"/>
                    </a:cubicBezTo>
                    <a:cubicBezTo>
                      <a:pt x="120" y="380"/>
                      <a:pt x="23" y="368"/>
                      <a:pt x="23" y="352"/>
                    </a:cubicBezTo>
                    <a:cubicBezTo>
                      <a:pt x="23" y="333"/>
                      <a:pt x="23" y="333"/>
                      <a:pt x="23" y="333"/>
                    </a:cubicBezTo>
                    <a:cubicBezTo>
                      <a:pt x="23" y="349"/>
                      <a:pt x="120" y="361"/>
                      <a:pt x="240" y="361"/>
                    </a:cubicBezTo>
                    <a:cubicBezTo>
                      <a:pt x="361" y="361"/>
                      <a:pt x="458" y="349"/>
                      <a:pt x="458" y="333"/>
                    </a:cubicBezTo>
                    <a:lnTo>
                      <a:pt x="458" y="352"/>
                    </a:lnTo>
                    <a:close/>
                    <a:moveTo>
                      <a:pt x="458" y="166"/>
                    </a:moveTo>
                    <a:cubicBezTo>
                      <a:pt x="458" y="182"/>
                      <a:pt x="361" y="195"/>
                      <a:pt x="240" y="195"/>
                    </a:cubicBezTo>
                    <a:cubicBezTo>
                      <a:pt x="120" y="195"/>
                      <a:pt x="23" y="182"/>
                      <a:pt x="23" y="166"/>
                    </a:cubicBezTo>
                    <a:cubicBezTo>
                      <a:pt x="23" y="147"/>
                      <a:pt x="23" y="147"/>
                      <a:pt x="23" y="147"/>
                    </a:cubicBezTo>
                    <a:cubicBezTo>
                      <a:pt x="23" y="163"/>
                      <a:pt x="120" y="176"/>
                      <a:pt x="240" y="176"/>
                    </a:cubicBezTo>
                    <a:cubicBezTo>
                      <a:pt x="361" y="176"/>
                      <a:pt x="458" y="163"/>
                      <a:pt x="458" y="147"/>
                    </a:cubicBezTo>
                    <a:lnTo>
                      <a:pt x="458" y="166"/>
                    </a:lnTo>
                    <a:close/>
                  </a:path>
                </a:pathLst>
              </a:custGeom>
              <a:solidFill>
                <a:srgbClr val="007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418">
                  <a:defRPr/>
                </a:pPr>
                <a:endParaRPr lang="en-US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</p:grpSp>
      <p:grpSp>
        <p:nvGrpSpPr>
          <p:cNvPr id="59" name="Group 58"/>
          <p:cNvGrpSpPr/>
          <p:nvPr/>
        </p:nvGrpSpPr>
        <p:grpSpPr>
          <a:xfrm>
            <a:off x="5534042" y="4168789"/>
            <a:ext cx="1217576" cy="924597"/>
            <a:chOff x="7725841" y="4083216"/>
            <a:chExt cx="990690" cy="752305"/>
          </a:xfrm>
        </p:grpSpPr>
        <p:sp>
          <p:nvSpPr>
            <p:cNvPr id="57" name="Freeform 56"/>
            <p:cNvSpPr/>
            <p:nvPr/>
          </p:nvSpPr>
          <p:spPr bwMode="auto">
            <a:xfrm>
              <a:off x="7725841" y="4083216"/>
              <a:ext cx="990690" cy="752305"/>
            </a:xfrm>
            <a:custGeom>
              <a:avLst/>
              <a:gdLst>
                <a:gd name="connsiteX0" fmla="*/ 6673 w 990690"/>
                <a:gd name="connsiteY0" fmla="*/ 147731 h 752305"/>
                <a:gd name="connsiteX1" fmla="*/ 984017 w 990690"/>
                <a:gd name="connsiteY1" fmla="*/ 147731 h 752305"/>
                <a:gd name="connsiteX2" fmla="*/ 990312 w 990690"/>
                <a:gd name="connsiteY2" fmla="*/ 153489 h 752305"/>
                <a:gd name="connsiteX3" fmla="*/ 990357 w 990690"/>
                <a:gd name="connsiteY3" fmla="*/ 153489 h 752305"/>
                <a:gd name="connsiteX4" fmla="*/ 990400 w 990690"/>
                <a:gd name="connsiteY4" fmla="*/ 153702 h 752305"/>
                <a:gd name="connsiteX5" fmla="*/ 990690 w 990690"/>
                <a:gd name="connsiteY5" fmla="*/ 154404 h 752305"/>
                <a:gd name="connsiteX6" fmla="*/ 990690 w 990690"/>
                <a:gd name="connsiteY6" fmla="*/ 155142 h 752305"/>
                <a:gd name="connsiteX7" fmla="*/ 990690 w 990690"/>
                <a:gd name="connsiteY7" fmla="*/ 167750 h 752305"/>
                <a:gd name="connsiteX8" fmla="*/ 990690 w 990690"/>
                <a:gd name="connsiteY8" fmla="*/ 730287 h 752305"/>
                <a:gd name="connsiteX9" fmla="*/ 968672 w 990690"/>
                <a:gd name="connsiteY9" fmla="*/ 752305 h 752305"/>
                <a:gd name="connsiteX10" fmla="*/ 22018 w 990690"/>
                <a:gd name="connsiteY10" fmla="*/ 752305 h 752305"/>
                <a:gd name="connsiteX11" fmla="*/ 0 w 990690"/>
                <a:gd name="connsiteY11" fmla="*/ 730287 h 752305"/>
                <a:gd name="connsiteX12" fmla="*/ 0 w 990690"/>
                <a:gd name="connsiteY12" fmla="*/ 167750 h 752305"/>
                <a:gd name="connsiteX13" fmla="*/ 0 w 990690"/>
                <a:gd name="connsiteY13" fmla="*/ 155142 h 752305"/>
                <a:gd name="connsiteX14" fmla="*/ 0 w 990690"/>
                <a:gd name="connsiteY14" fmla="*/ 154404 h 752305"/>
                <a:gd name="connsiteX15" fmla="*/ 291 w 990690"/>
                <a:gd name="connsiteY15" fmla="*/ 153701 h 752305"/>
                <a:gd name="connsiteX16" fmla="*/ 334 w 990690"/>
                <a:gd name="connsiteY16" fmla="*/ 153489 h 752305"/>
                <a:gd name="connsiteX17" fmla="*/ 379 w 990690"/>
                <a:gd name="connsiteY17" fmla="*/ 153489 h 752305"/>
                <a:gd name="connsiteX18" fmla="*/ 6673 w 990690"/>
                <a:gd name="connsiteY18" fmla="*/ 147731 h 752305"/>
                <a:gd name="connsiteX19" fmla="*/ 109998 w 990690"/>
                <a:gd name="connsiteY19" fmla="*/ 0 h 752305"/>
                <a:gd name="connsiteX20" fmla="*/ 413872 w 990690"/>
                <a:gd name="connsiteY20" fmla="*/ 0 h 752305"/>
                <a:gd name="connsiteX21" fmla="*/ 445368 w 990690"/>
                <a:gd name="connsiteY21" fmla="*/ 31495 h 752305"/>
                <a:gd name="connsiteX22" fmla="*/ 445368 w 990690"/>
                <a:gd name="connsiteY22" fmla="*/ 90138 h 752305"/>
                <a:gd name="connsiteX23" fmla="*/ 937888 w 990690"/>
                <a:gd name="connsiteY23" fmla="*/ 90138 h 752305"/>
                <a:gd name="connsiteX24" fmla="*/ 946904 w 990690"/>
                <a:gd name="connsiteY24" fmla="*/ 99155 h 752305"/>
                <a:gd name="connsiteX25" fmla="*/ 946904 w 990690"/>
                <a:gd name="connsiteY25" fmla="*/ 132850 h 752305"/>
                <a:gd name="connsiteX26" fmla="*/ 44447 w 990690"/>
                <a:gd name="connsiteY26" fmla="*/ 132850 h 752305"/>
                <a:gd name="connsiteX27" fmla="*/ 44447 w 990690"/>
                <a:gd name="connsiteY27" fmla="*/ 99155 h 752305"/>
                <a:gd name="connsiteX28" fmla="*/ 53463 w 990690"/>
                <a:gd name="connsiteY28" fmla="*/ 90138 h 752305"/>
                <a:gd name="connsiteX29" fmla="*/ 78502 w 990690"/>
                <a:gd name="connsiteY29" fmla="*/ 90138 h 752305"/>
                <a:gd name="connsiteX30" fmla="*/ 78502 w 990690"/>
                <a:gd name="connsiteY30" fmla="*/ 31495 h 752305"/>
                <a:gd name="connsiteX31" fmla="*/ 109998 w 990690"/>
                <a:gd name="connsiteY31" fmla="*/ 0 h 752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990690" h="752305">
                  <a:moveTo>
                    <a:pt x="6673" y="147731"/>
                  </a:moveTo>
                  <a:lnTo>
                    <a:pt x="984017" y="147731"/>
                  </a:lnTo>
                  <a:cubicBezTo>
                    <a:pt x="987377" y="147731"/>
                    <a:pt x="990157" y="150214"/>
                    <a:pt x="990312" y="153489"/>
                  </a:cubicBezTo>
                  <a:lnTo>
                    <a:pt x="990357" y="153489"/>
                  </a:lnTo>
                  <a:lnTo>
                    <a:pt x="990400" y="153702"/>
                  </a:lnTo>
                  <a:cubicBezTo>
                    <a:pt x="990677" y="153914"/>
                    <a:pt x="990690" y="154158"/>
                    <a:pt x="990690" y="154404"/>
                  </a:cubicBezTo>
                  <a:lnTo>
                    <a:pt x="990690" y="155142"/>
                  </a:lnTo>
                  <a:lnTo>
                    <a:pt x="990690" y="167750"/>
                  </a:lnTo>
                  <a:lnTo>
                    <a:pt x="990690" y="730287"/>
                  </a:lnTo>
                  <a:cubicBezTo>
                    <a:pt x="990690" y="742447"/>
                    <a:pt x="980832" y="752305"/>
                    <a:pt x="968672" y="752305"/>
                  </a:cubicBezTo>
                  <a:lnTo>
                    <a:pt x="22018" y="752305"/>
                  </a:lnTo>
                  <a:cubicBezTo>
                    <a:pt x="9858" y="752305"/>
                    <a:pt x="0" y="742447"/>
                    <a:pt x="0" y="730287"/>
                  </a:cubicBezTo>
                  <a:lnTo>
                    <a:pt x="0" y="167750"/>
                  </a:lnTo>
                  <a:lnTo>
                    <a:pt x="0" y="155142"/>
                  </a:lnTo>
                  <a:lnTo>
                    <a:pt x="0" y="154404"/>
                  </a:lnTo>
                  <a:lnTo>
                    <a:pt x="291" y="153701"/>
                  </a:lnTo>
                  <a:lnTo>
                    <a:pt x="334" y="153489"/>
                  </a:lnTo>
                  <a:lnTo>
                    <a:pt x="379" y="153489"/>
                  </a:lnTo>
                  <a:cubicBezTo>
                    <a:pt x="533" y="150214"/>
                    <a:pt x="3313" y="147731"/>
                    <a:pt x="6673" y="147731"/>
                  </a:cubicBezTo>
                  <a:close/>
                  <a:moveTo>
                    <a:pt x="109998" y="0"/>
                  </a:moveTo>
                  <a:lnTo>
                    <a:pt x="413872" y="0"/>
                  </a:lnTo>
                  <a:cubicBezTo>
                    <a:pt x="431267" y="0"/>
                    <a:pt x="445368" y="14101"/>
                    <a:pt x="445368" y="31495"/>
                  </a:cubicBezTo>
                  <a:lnTo>
                    <a:pt x="445368" y="90138"/>
                  </a:lnTo>
                  <a:lnTo>
                    <a:pt x="937888" y="90138"/>
                  </a:lnTo>
                  <a:cubicBezTo>
                    <a:pt x="942868" y="90138"/>
                    <a:pt x="946904" y="94175"/>
                    <a:pt x="946904" y="99155"/>
                  </a:cubicBezTo>
                  <a:lnTo>
                    <a:pt x="946904" y="132850"/>
                  </a:lnTo>
                  <a:lnTo>
                    <a:pt x="44447" y="132850"/>
                  </a:lnTo>
                  <a:lnTo>
                    <a:pt x="44447" y="99155"/>
                  </a:lnTo>
                  <a:cubicBezTo>
                    <a:pt x="44447" y="94175"/>
                    <a:pt x="48484" y="90138"/>
                    <a:pt x="53463" y="90138"/>
                  </a:cubicBezTo>
                  <a:lnTo>
                    <a:pt x="78502" y="90138"/>
                  </a:lnTo>
                  <a:lnTo>
                    <a:pt x="78502" y="31495"/>
                  </a:lnTo>
                  <a:cubicBezTo>
                    <a:pt x="78502" y="14101"/>
                    <a:pt x="92603" y="0"/>
                    <a:pt x="109998" y="0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GB" sz="2000" b="1" kern="0" dirty="0">
                <a:solidFill>
                  <a:srgbClr val="FFFFFF"/>
                </a:soli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8" name="Freeform 57"/>
            <p:cNvSpPr/>
            <p:nvPr/>
          </p:nvSpPr>
          <p:spPr bwMode="auto">
            <a:xfrm rot="12373696">
              <a:off x="8080882" y="4237699"/>
              <a:ext cx="237917" cy="552664"/>
            </a:xfrm>
            <a:custGeom>
              <a:avLst/>
              <a:gdLst>
                <a:gd name="connsiteX0" fmla="*/ 200290 w 285509"/>
                <a:gd name="connsiteY0" fmla="*/ 552664 h 552664"/>
                <a:gd name="connsiteX1" fmla="*/ 118129 w 285509"/>
                <a:gd name="connsiteY1" fmla="*/ 360121 h 552664"/>
                <a:gd name="connsiteX2" fmla="*/ 0 w 285509"/>
                <a:gd name="connsiteY2" fmla="*/ 360121 h 552664"/>
                <a:gd name="connsiteX3" fmla="*/ 109094 w 285509"/>
                <a:gd name="connsiteY3" fmla="*/ 0 h 552664"/>
                <a:gd name="connsiteX4" fmla="*/ 167865 w 285509"/>
                <a:gd name="connsiteY4" fmla="*/ 194005 h 552664"/>
                <a:gd name="connsiteX5" fmla="*/ 285509 w 285509"/>
                <a:gd name="connsiteY5" fmla="*/ 183602 h 552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5509" h="552664">
                  <a:moveTo>
                    <a:pt x="200290" y="552664"/>
                  </a:moveTo>
                  <a:lnTo>
                    <a:pt x="118129" y="360121"/>
                  </a:lnTo>
                  <a:lnTo>
                    <a:pt x="0" y="360121"/>
                  </a:lnTo>
                  <a:lnTo>
                    <a:pt x="109094" y="0"/>
                  </a:lnTo>
                  <a:lnTo>
                    <a:pt x="167865" y="194005"/>
                  </a:lnTo>
                  <a:lnTo>
                    <a:pt x="285509" y="183602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GB" sz="2000" b="1" kern="0" dirty="0">
                <a:solidFill>
                  <a:srgbClr val="FFFFFF"/>
                </a:soli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64" name="Group 63"/>
          <p:cNvGrpSpPr/>
          <p:nvPr/>
        </p:nvGrpSpPr>
        <p:grpSpPr>
          <a:xfrm>
            <a:off x="9925920" y="4173582"/>
            <a:ext cx="1141768" cy="961202"/>
            <a:chOff x="10366875" y="4539548"/>
            <a:chExt cx="1006836" cy="847608"/>
          </a:xfrm>
        </p:grpSpPr>
        <p:sp>
          <p:nvSpPr>
            <p:cNvPr id="65" name="Oval 64"/>
            <p:cNvSpPr>
              <a:spLocks noChangeArrowheads="1"/>
            </p:cNvSpPr>
            <p:nvPr/>
          </p:nvSpPr>
          <p:spPr bwMode="auto">
            <a:xfrm>
              <a:off x="10376911" y="4539548"/>
              <a:ext cx="566545" cy="109286"/>
            </a:xfrm>
            <a:prstGeom prst="ellipse">
              <a:avLst/>
            </a:prstGeom>
            <a:solidFill>
              <a:srgbClr val="1F4E79"/>
            </a:solidFill>
            <a:ln>
              <a:noFill/>
            </a:ln>
            <a:extLst/>
          </p:spPr>
          <p:txBody>
            <a:bodyPr vert="horz" wrap="square" lIns="91401" tIns="45700" rIns="91401" bIns="45700" numCol="1" anchor="t" anchorCtr="0" compatLnSpc="1">
              <a:prstTxWarp prst="textNoShape">
                <a:avLst/>
              </a:prstTxWarp>
            </a:bodyPr>
            <a:lstStyle/>
            <a:p>
              <a:pPr defTabSz="932239">
                <a:defRPr/>
              </a:pPr>
              <a:endParaRPr lang="en-US" kern="0" dirty="0">
                <a:solidFill>
                  <a:srgbClr val="FFFFFF"/>
                </a:solidFill>
                <a:latin typeface="Segoe UI"/>
              </a:endParaRPr>
            </a:p>
          </p:txBody>
        </p:sp>
        <p:grpSp>
          <p:nvGrpSpPr>
            <p:cNvPr id="66" name="Group 65"/>
            <p:cNvGrpSpPr/>
            <p:nvPr/>
          </p:nvGrpSpPr>
          <p:grpSpPr>
            <a:xfrm>
              <a:off x="10366875" y="4615494"/>
              <a:ext cx="1006836" cy="771662"/>
              <a:chOff x="10366875" y="4615494"/>
              <a:chExt cx="1006836" cy="771662"/>
            </a:xfrm>
          </p:grpSpPr>
          <p:sp>
            <p:nvSpPr>
              <p:cNvPr id="67" name="Freeform 123"/>
              <p:cNvSpPr>
                <a:spLocks noEditPoints="1"/>
              </p:cNvSpPr>
              <p:nvPr/>
            </p:nvSpPr>
            <p:spPr bwMode="auto">
              <a:xfrm>
                <a:off x="10366875" y="4615494"/>
                <a:ext cx="586616" cy="697391"/>
              </a:xfrm>
              <a:custGeom>
                <a:avLst/>
                <a:gdLst>
                  <a:gd name="T0" fmla="*/ 480 w 480"/>
                  <a:gd name="T1" fmla="*/ 135 h 562"/>
                  <a:gd name="T2" fmla="*/ 480 w 480"/>
                  <a:gd name="T3" fmla="*/ 0 h 562"/>
                  <a:gd name="T4" fmla="*/ 240 w 480"/>
                  <a:gd name="T5" fmla="*/ 43 h 562"/>
                  <a:gd name="T6" fmla="*/ 0 w 480"/>
                  <a:gd name="T7" fmla="*/ 0 h 562"/>
                  <a:gd name="T8" fmla="*/ 0 w 480"/>
                  <a:gd name="T9" fmla="*/ 135 h 562"/>
                  <a:gd name="T10" fmla="*/ 15 w 480"/>
                  <a:gd name="T11" fmla="*/ 153 h 562"/>
                  <a:gd name="T12" fmla="*/ 0 w 480"/>
                  <a:gd name="T13" fmla="*/ 170 h 562"/>
                  <a:gd name="T14" fmla="*/ 0 w 480"/>
                  <a:gd name="T15" fmla="*/ 322 h 562"/>
                  <a:gd name="T16" fmla="*/ 15 w 480"/>
                  <a:gd name="T17" fmla="*/ 340 h 562"/>
                  <a:gd name="T18" fmla="*/ 0 w 480"/>
                  <a:gd name="T19" fmla="*/ 358 h 562"/>
                  <a:gd name="T20" fmla="*/ 0 w 480"/>
                  <a:gd name="T21" fmla="*/ 510 h 562"/>
                  <a:gd name="T22" fmla="*/ 240 w 480"/>
                  <a:gd name="T23" fmla="*/ 562 h 562"/>
                  <a:gd name="T24" fmla="*/ 480 w 480"/>
                  <a:gd name="T25" fmla="*/ 510 h 562"/>
                  <a:gd name="T26" fmla="*/ 480 w 480"/>
                  <a:gd name="T27" fmla="*/ 358 h 562"/>
                  <a:gd name="T28" fmla="*/ 466 w 480"/>
                  <a:gd name="T29" fmla="*/ 340 h 562"/>
                  <a:gd name="T30" fmla="*/ 480 w 480"/>
                  <a:gd name="T31" fmla="*/ 322 h 562"/>
                  <a:gd name="T32" fmla="*/ 480 w 480"/>
                  <a:gd name="T33" fmla="*/ 170 h 562"/>
                  <a:gd name="T34" fmla="*/ 466 w 480"/>
                  <a:gd name="T35" fmla="*/ 153 h 562"/>
                  <a:gd name="T36" fmla="*/ 480 w 480"/>
                  <a:gd name="T37" fmla="*/ 135 h 562"/>
                  <a:gd name="T38" fmla="*/ 458 w 480"/>
                  <a:gd name="T39" fmla="*/ 352 h 562"/>
                  <a:gd name="T40" fmla="*/ 240 w 480"/>
                  <a:gd name="T41" fmla="*/ 380 h 562"/>
                  <a:gd name="T42" fmla="*/ 23 w 480"/>
                  <a:gd name="T43" fmla="*/ 352 h 562"/>
                  <a:gd name="T44" fmla="*/ 23 w 480"/>
                  <a:gd name="T45" fmla="*/ 333 h 562"/>
                  <a:gd name="T46" fmla="*/ 240 w 480"/>
                  <a:gd name="T47" fmla="*/ 361 h 562"/>
                  <a:gd name="T48" fmla="*/ 458 w 480"/>
                  <a:gd name="T49" fmla="*/ 333 h 562"/>
                  <a:gd name="T50" fmla="*/ 458 w 480"/>
                  <a:gd name="T51" fmla="*/ 352 h 562"/>
                  <a:gd name="T52" fmla="*/ 458 w 480"/>
                  <a:gd name="T53" fmla="*/ 166 h 562"/>
                  <a:gd name="T54" fmla="*/ 240 w 480"/>
                  <a:gd name="T55" fmla="*/ 195 h 562"/>
                  <a:gd name="T56" fmla="*/ 23 w 480"/>
                  <a:gd name="T57" fmla="*/ 166 h 562"/>
                  <a:gd name="T58" fmla="*/ 23 w 480"/>
                  <a:gd name="T59" fmla="*/ 147 h 562"/>
                  <a:gd name="T60" fmla="*/ 240 w 480"/>
                  <a:gd name="T61" fmla="*/ 176 h 562"/>
                  <a:gd name="T62" fmla="*/ 458 w 480"/>
                  <a:gd name="T63" fmla="*/ 147 h 562"/>
                  <a:gd name="T64" fmla="*/ 458 w 480"/>
                  <a:gd name="T65" fmla="*/ 166 h 5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80" h="562">
                    <a:moveTo>
                      <a:pt x="480" y="135"/>
                    </a:moveTo>
                    <a:cubicBezTo>
                      <a:pt x="480" y="0"/>
                      <a:pt x="480" y="0"/>
                      <a:pt x="480" y="0"/>
                    </a:cubicBezTo>
                    <a:cubicBezTo>
                      <a:pt x="448" y="31"/>
                      <a:pt x="326" y="43"/>
                      <a:pt x="240" y="43"/>
                    </a:cubicBezTo>
                    <a:cubicBezTo>
                      <a:pt x="154" y="43"/>
                      <a:pt x="32" y="31"/>
                      <a:pt x="0" y="0"/>
                    </a:cubicBezTo>
                    <a:cubicBezTo>
                      <a:pt x="0" y="135"/>
                      <a:pt x="0" y="135"/>
                      <a:pt x="0" y="135"/>
                    </a:cubicBezTo>
                    <a:cubicBezTo>
                      <a:pt x="0" y="141"/>
                      <a:pt x="5" y="147"/>
                      <a:pt x="15" y="153"/>
                    </a:cubicBezTo>
                    <a:cubicBezTo>
                      <a:pt x="5" y="158"/>
                      <a:pt x="0" y="164"/>
                      <a:pt x="0" y="170"/>
                    </a:cubicBezTo>
                    <a:cubicBezTo>
                      <a:pt x="0" y="322"/>
                      <a:pt x="0" y="322"/>
                      <a:pt x="0" y="322"/>
                    </a:cubicBezTo>
                    <a:cubicBezTo>
                      <a:pt x="0" y="329"/>
                      <a:pt x="5" y="335"/>
                      <a:pt x="15" y="340"/>
                    </a:cubicBezTo>
                    <a:cubicBezTo>
                      <a:pt x="5" y="346"/>
                      <a:pt x="0" y="351"/>
                      <a:pt x="0" y="358"/>
                    </a:cubicBezTo>
                    <a:cubicBezTo>
                      <a:pt x="0" y="510"/>
                      <a:pt x="0" y="510"/>
                      <a:pt x="0" y="510"/>
                    </a:cubicBezTo>
                    <a:cubicBezTo>
                      <a:pt x="0" y="538"/>
                      <a:pt x="108" y="562"/>
                      <a:pt x="240" y="562"/>
                    </a:cubicBezTo>
                    <a:cubicBezTo>
                      <a:pt x="373" y="562"/>
                      <a:pt x="480" y="538"/>
                      <a:pt x="480" y="510"/>
                    </a:cubicBezTo>
                    <a:cubicBezTo>
                      <a:pt x="480" y="358"/>
                      <a:pt x="480" y="358"/>
                      <a:pt x="480" y="358"/>
                    </a:cubicBezTo>
                    <a:cubicBezTo>
                      <a:pt x="480" y="351"/>
                      <a:pt x="475" y="346"/>
                      <a:pt x="466" y="340"/>
                    </a:cubicBezTo>
                    <a:cubicBezTo>
                      <a:pt x="475" y="335"/>
                      <a:pt x="480" y="329"/>
                      <a:pt x="480" y="322"/>
                    </a:cubicBezTo>
                    <a:cubicBezTo>
                      <a:pt x="480" y="170"/>
                      <a:pt x="480" y="170"/>
                      <a:pt x="480" y="170"/>
                    </a:cubicBezTo>
                    <a:cubicBezTo>
                      <a:pt x="480" y="164"/>
                      <a:pt x="475" y="158"/>
                      <a:pt x="466" y="153"/>
                    </a:cubicBezTo>
                    <a:cubicBezTo>
                      <a:pt x="475" y="147"/>
                      <a:pt x="480" y="141"/>
                      <a:pt x="480" y="135"/>
                    </a:cubicBezTo>
                    <a:close/>
                    <a:moveTo>
                      <a:pt x="458" y="352"/>
                    </a:moveTo>
                    <a:cubicBezTo>
                      <a:pt x="458" y="368"/>
                      <a:pt x="361" y="380"/>
                      <a:pt x="240" y="380"/>
                    </a:cubicBezTo>
                    <a:cubicBezTo>
                      <a:pt x="120" y="380"/>
                      <a:pt x="23" y="368"/>
                      <a:pt x="23" y="352"/>
                    </a:cubicBezTo>
                    <a:cubicBezTo>
                      <a:pt x="23" y="333"/>
                      <a:pt x="23" y="333"/>
                      <a:pt x="23" y="333"/>
                    </a:cubicBezTo>
                    <a:cubicBezTo>
                      <a:pt x="23" y="349"/>
                      <a:pt x="120" y="361"/>
                      <a:pt x="240" y="361"/>
                    </a:cubicBezTo>
                    <a:cubicBezTo>
                      <a:pt x="361" y="361"/>
                      <a:pt x="458" y="349"/>
                      <a:pt x="458" y="333"/>
                    </a:cubicBezTo>
                    <a:lnTo>
                      <a:pt x="458" y="352"/>
                    </a:lnTo>
                    <a:close/>
                    <a:moveTo>
                      <a:pt x="458" y="166"/>
                    </a:moveTo>
                    <a:cubicBezTo>
                      <a:pt x="458" y="182"/>
                      <a:pt x="361" y="195"/>
                      <a:pt x="240" y="195"/>
                    </a:cubicBezTo>
                    <a:cubicBezTo>
                      <a:pt x="120" y="195"/>
                      <a:pt x="23" y="182"/>
                      <a:pt x="23" y="166"/>
                    </a:cubicBezTo>
                    <a:cubicBezTo>
                      <a:pt x="23" y="147"/>
                      <a:pt x="23" y="147"/>
                      <a:pt x="23" y="147"/>
                    </a:cubicBezTo>
                    <a:cubicBezTo>
                      <a:pt x="23" y="163"/>
                      <a:pt x="120" y="176"/>
                      <a:pt x="240" y="176"/>
                    </a:cubicBezTo>
                    <a:cubicBezTo>
                      <a:pt x="361" y="176"/>
                      <a:pt x="458" y="163"/>
                      <a:pt x="458" y="147"/>
                    </a:cubicBezTo>
                    <a:lnTo>
                      <a:pt x="458" y="166"/>
                    </a:lnTo>
                    <a:close/>
                  </a:path>
                </a:pathLst>
              </a:custGeom>
              <a:solidFill>
                <a:srgbClr val="0070C0"/>
              </a:solidFill>
              <a:ln>
                <a:noFill/>
              </a:ln>
              <a:extLst/>
            </p:spPr>
            <p:txBody>
              <a:bodyPr vert="horz" wrap="square" lIns="91401" tIns="45700" rIns="91401" bIns="45700" numCol="1" anchor="t" anchorCtr="0" compatLnSpc="1">
                <a:prstTxWarp prst="textNoShape">
                  <a:avLst/>
                </a:prstTxWarp>
              </a:bodyPr>
              <a:lstStyle/>
              <a:p>
                <a:pPr defTabSz="932239">
                  <a:defRPr/>
                </a:pPr>
                <a:endParaRPr lang="en-US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68" name="Freeform 67"/>
              <p:cNvSpPr/>
              <p:nvPr/>
            </p:nvSpPr>
            <p:spPr bwMode="auto">
              <a:xfrm>
                <a:off x="10600423" y="4901967"/>
                <a:ext cx="773288" cy="485189"/>
              </a:xfrm>
              <a:custGeom>
                <a:avLst/>
                <a:gdLst>
                  <a:gd name="connsiteX0" fmla="*/ 490507 w 878349"/>
                  <a:gd name="connsiteY0" fmla="*/ 0 h 545581"/>
                  <a:gd name="connsiteX1" fmla="*/ 755129 w 878349"/>
                  <a:gd name="connsiteY1" fmla="*/ 264622 h 545581"/>
                  <a:gd name="connsiteX2" fmla="*/ 753041 w 878349"/>
                  <a:gd name="connsiteY2" fmla="*/ 285331 h 545581"/>
                  <a:gd name="connsiteX3" fmla="*/ 798544 w 878349"/>
                  <a:gd name="connsiteY3" fmla="*/ 294518 h 545581"/>
                  <a:gd name="connsiteX4" fmla="*/ 878349 w 878349"/>
                  <a:gd name="connsiteY4" fmla="*/ 414915 h 545581"/>
                  <a:gd name="connsiteX5" fmla="*/ 798544 w 878349"/>
                  <a:gd name="connsiteY5" fmla="*/ 535313 h 545581"/>
                  <a:gd name="connsiteX6" fmla="*/ 759827 w 878349"/>
                  <a:gd name="connsiteY6" fmla="*/ 543129 h 545581"/>
                  <a:gd name="connsiteX7" fmla="*/ 753908 w 878349"/>
                  <a:gd name="connsiteY7" fmla="*/ 545581 h 545581"/>
                  <a:gd name="connsiteX8" fmla="*/ 747683 w 878349"/>
                  <a:gd name="connsiteY8" fmla="*/ 545581 h 545581"/>
                  <a:gd name="connsiteX9" fmla="*/ 190471 w 878349"/>
                  <a:gd name="connsiteY9" fmla="*/ 545581 h 545581"/>
                  <a:gd name="connsiteX10" fmla="*/ 166602 w 878349"/>
                  <a:gd name="connsiteY10" fmla="*/ 545581 h 545581"/>
                  <a:gd name="connsiteX11" fmla="*/ 158924 w 878349"/>
                  <a:gd name="connsiteY11" fmla="*/ 542401 h 545581"/>
                  <a:gd name="connsiteX12" fmla="*/ 152084 w 878349"/>
                  <a:gd name="connsiteY12" fmla="*/ 541712 h 545581"/>
                  <a:gd name="connsiteX13" fmla="*/ 0 w 878349"/>
                  <a:gd name="connsiteY13" fmla="*/ 355110 h 545581"/>
                  <a:gd name="connsiteX14" fmla="*/ 190471 w 878349"/>
                  <a:gd name="connsiteY14" fmla="*/ 164639 h 545581"/>
                  <a:gd name="connsiteX15" fmla="*/ 228858 w 878349"/>
                  <a:gd name="connsiteY15" fmla="*/ 168509 h 545581"/>
                  <a:gd name="connsiteX16" fmla="*/ 244320 w 878349"/>
                  <a:gd name="connsiteY16" fmla="*/ 173309 h 545581"/>
                  <a:gd name="connsiteX17" fmla="*/ 246680 w 878349"/>
                  <a:gd name="connsiteY17" fmla="*/ 161619 h 545581"/>
                  <a:gd name="connsiteX18" fmla="*/ 490507 w 878349"/>
                  <a:gd name="connsiteY18" fmla="*/ 0 h 545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878349" h="545581">
                    <a:moveTo>
                      <a:pt x="490507" y="0"/>
                    </a:moveTo>
                    <a:cubicBezTo>
                      <a:pt x="636654" y="0"/>
                      <a:pt x="755129" y="118475"/>
                      <a:pt x="755129" y="264622"/>
                    </a:cubicBezTo>
                    <a:lnTo>
                      <a:pt x="753041" y="285331"/>
                    </a:lnTo>
                    <a:lnTo>
                      <a:pt x="798544" y="294518"/>
                    </a:lnTo>
                    <a:cubicBezTo>
                      <a:pt x="845442" y="314354"/>
                      <a:pt x="878349" y="360792"/>
                      <a:pt x="878349" y="414915"/>
                    </a:cubicBezTo>
                    <a:cubicBezTo>
                      <a:pt x="878349" y="469039"/>
                      <a:pt x="845442" y="515477"/>
                      <a:pt x="798544" y="535313"/>
                    </a:cubicBezTo>
                    <a:lnTo>
                      <a:pt x="759827" y="543129"/>
                    </a:lnTo>
                    <a:lnTo>
                      <a:pt x="753908" y="545581"/>
                    </a:lnTo>
                    <a:lnTo>
                      <a:pt x="747683" y="545581"/>
                    </a:lnTo>
                    <a:lnTo>
                      <a:pt x="190471" y="545581"/>
                    </a:lnTo>
                    <a:lnTo>
                      <a:pt x="166602" y="545581"/>
                    </a:lnTo>
                    <a:lnTo>
                      <a:pt x="158924" y="542401"/>
                    </a:lnTo>
                    <a:lnTo>
                      <a:pt x="152084" y="541712"/>
                    </a:lnTo>
                    <a:cubicBezTo>
                      <a:pt x="65290" y="523951"/>
                      <a:pt x="0" y="447155"/>
                      <a:pt x="0" y="355110"/>
                    </a:cubicBezTo>
                    <a:cubicBezTo>
                      <a:pt x="0" y="249916"/>
                      <a:pt x="85277" y="164639"/>
                      <a:pt x="190471" y="164639"/>
                    </a:cubicBezTo>
                    <a:cubicBezTo>
                      <a:pt x="203620" y="164639"/>
                      <a:pt x="216458" y="165972"/>
                      <a:pt x="228858" y="168509"/>
                    </a:cubicBezTo>
                    <a:lnTo>
                      <a:pt x="244320" y="173309"/>
                    </a:lnTo>
                    <a:lnTo>
                      <a:pt x="246680" y="161619"/>
                    </a:lnTo>
                    <a:cubicBezTo>
                      <a:pt x="286852" y="66642"/>
                      <a:pt x="380897" y="0"/>
                      <a:pt x="49050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 cmpd="sng" algn="ctr">
                <a:solidFill>
                  <a:srgbClr val="2E75B6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751">
                  <a:lnSpc>
                    <a:spcPct val="90000"/>
                  </a:lnSpc>
                  <a:defRPr/>
                </a:pPr>
                <a:endParaRPr lang="en-IN" sz="1961" b="1" kern="0" dirty="0">
                  <a:solidFill>
                    <a:srgbClr val="0072C6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sp>
        <p:nvSpPr>
          <p:cNvPr id="63" name="Title 1"/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rm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0" baseline="0">
                <a:ln w="3175"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GB" dirty="0">
                <a:solidFill>
                  <a:srgbClr val="00B0F0"/>
                </a:solidFill>
              </a:rPr>
              <a:t>Work across multiple data stores</a:t>
            </a:r>
          </a:p>
        </p:txBody>
      </p:sp>
    </p:spTree>
    <p:extLst>
      <p:ext uri="{BB962C8B-B14F-4D97-AF65-F5344CB8AC3E}">
        <p14:creationId xmlns:p14="http://schemas.microsoft.com/office/powerpoint/2010/main" val="2524774878"/>
      </p:ext>
    </p:extLst>
  </p:cSld>
  <p:clrMapOvr>
    <a:masterClrMapping/>
  </p:clrMapOvr>
  <p:transition spd="med"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GB" dirty="0">
                <a:solidFill>
                  <a:srgbClr val="00B0F0"/>
                </a:solidFill>
              </a:rPr>
              <a:t>U-SQL Example</a:t>
            </a:r>
          </a:p>
        </p:txBody>
      </p:sp>
      <p:sp>
        <p:nvSpPr>
          <p:cNvPr id="5" name="Rectangle 4"/>
          <p:cNvSpPr/>
          <p:nvPr/>
        </p:nvSpPr>
        <p:spPr>
          <a:xfrm>
            <a:off x="269241" y="1189494"/>
            <a:ext cx="9605440" cy="452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353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</a:rPr>
              <a:t>A managed cloud service for building and operating data pipeline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864" y="1501485"/>
            <a:ext cx="5776953" cy="4890465"/>
          </a:xfrm>
          <a:prstGeom prst="rect">
            <a:avLst/>
          </a:prstGeom>
        </p:spPr>
      </p:pic>
      <p:sp>
        <p:nvSpPr>
          <p:cNvPr id="9" name="Text Placeholder 3"/>
          <p:cNvSpPr txBox="1">
            <a:spLocks/>
          </p:cNvSpPr>
          <p:nvPr/>
        </p:nvSpPr>
        <p:spPr>
          <a:xfrm>
            <a:off x="390891" y="1805405"/>
            <a:ext cx="5305092" cy="405656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36145" marR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2800" kern="1200" spc="0" baseline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572691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6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784338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4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008435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2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32531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2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1" indent="-342900" defTabSz="914400" fontAlgn="auto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SzPct val="90000"/>
              <a:buFont typeface="Wingdings" panose="05000000000000000000" pitchFamily="2" charset="2"/>
              <a:buChar char="Ø"/>
              <a:tabLst/>
              <a:defRPr/>
            </a:pPr>
            <a:r>
              <a:rPr lang="en-US" sz="1961" dirty="0">
                <a:solidFill>
                  <a:schemeClr val="tx1"/>
                </a:solidFill>
              </a:rPr>
              <a:t>U-SQL: a simple </a:t>
            </a:r>
            <a:br>
              <a:rPr lang="en-US" sz="1961" dirty="0">
                <a:solidFill>
                  <a:schemeClr val="tx1"/>
                </a:solidFill>
              </a:rPr>
            </a:br>
            <a:r>
              <a:rPr lang="en-US" sz="1961" dirty="0">
                <a:solidFill>
                  <a:schemeClr val="tx1"/>
                </a:solidFill>
              </a:rPr>
              <a:t>and powerful language that’s familiar and easily extensible</a:t>
            </a:r>
          </a:p>
          <a:p>
            <a:pPr marL="342900" marR="0" lvl="1" indent="-342900" defTabSz="914400" fontAlgn="auto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SzPct val="90000"/>
              <a:buFont typeface="Wingdings" panose="05000000000000000000" pitchFamily="2" charset="2"/>
              <a:buChar char="Ø"/>
              <a:tabLst/>
              <a:defRPr/>
            </a:pPr>
            <a:r>
              <a:rPr lang="en-US" sz="1961" dirty="0">
                <a:solidFill>
                  <a:schemeClr val="tx1"/>
                </a:solidFill>
              </a:rPr>
              <a:t>Unifies the declarative </a:t>
            </a:r>
            <a:br>
              <a:rPr lang="en-US" sz="1961" dirty="0">
                <a:solidFill>
                  <a:schemeClr val="tx1"/>
                </a:solidFill>
              </a:rPr>
            </a:br>
            <a:r>
              <a:rPr lang="en-US" sz="1961" dirty="0">
                <a:solidFill>
                  <a:schemeClr val="tx1"/>
                </a:solidFill>
              </a:rPr>
              <a:t>nature of SQL with expressive </a:t>
            </a:r>
            <a:br>
              <a:rPr lang="en-US" sz="1961" dirty="0">
                <a:solidFill>
                  <a:schemeClr val="tx1"/>
                </a:solidFill>
              </a:rPr>
            </a:br>
            <a:r>
              <a:rPr lang="en-US" sz="1961" dirty="0">
                <a:solidFill>
                  <a:schemeClr val="tx1"/>
                </a:solidFill>
              </a:rPr>
              <a:t>power of C#</a:t>
            </a:r>
          </a:p>
          <a:p>
            <a:pPr marL="342900" marR="0" lvl="1" indent="-342900" defTabSz="914400" fontAlgn="auto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SzPct val="90000"/>
              <a:buFont typeface="Wingdings" panose="05000000000000000000" pitchFamily="2" charset="2"/>
              <a:buChar char="Ø"/>
              <a:tabLst/>
              <a:defRPr/>
            </a:pPr>
            <a:r>
              <a:rPr lang="en-US" sz="1961" dirty="0">
                <a:solidFill>
                  <a:schemeClr val="tx1"/>
                </a:solidFill>
              </a:rPr>
              <a:t>Leverage existing libraries in .NET languages, R and Python</a:t>
            </a:r>
          </a:p>
          <a:p>
            <a:pPr marL="342900" marR="0" lvl="1" indent="-342900" defTabSz="914400" fontAlgn="auto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SzPct val="90000"/>
              <a:buFont typeface="Wingdings" panose="05000000000000000000" pitchFamily="2" charset="2"/>
              <a:buChar char="Ø"/>
              <a:tabLst/>
              <a:defRPr/>
            </a:pPr>
            <a:r>
              <a:rPr lang="en-US" sz="1961" dirty="0">
                <a:solidFill>
                  <a:schemeClr val="tx1"/>
                </a:solidFill>
              </a:rPr>
              <a:t>Massively parallelize code on diverse workloads (ETL, ML, image tagging, facial detection)</a:t>
            </a:r>
          </a:p>
        </p:txBody>
      </p:sp>
    </p:spTree>
    <p:extLst>
      <p:ext uri="{BB962C8B-B14F-4D97-AF65-F5344CB8AC3E}">
        <p14:creationId xmlns:p14="http://schemas.microsoft.com/office/powerpoint/2010/main" val="3076955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</p:sp>
      <p:sp>
        <p:nvSpPr>
          <p:cNvPr id="7" name="Rectangle 6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21564" y="320040"/>
            <a:ext cx="11548872" cy="6217920"/>
          </a:xfrm>
          <a:prstGeom prst="rect">
            <a:avLst/>
          </a:prstGeom>
          <a:solidFill>
            <a:schemeClr val="tx1">
              <a:alpha val="8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cxnSp>
        <p:nvCxnSpPr>
          <p:cNvPr id="14" name="Straight Connector 7"/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055891" y="2057399"/>
            <a:ext cx="0" cy="27432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380588" y="965199"/>
            <a:ext cx="7193946" cy="4975451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5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emo – Data Lake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177415" y="5998192"/>
            <a:ext cx="106930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hlinkClick r:id="rId3"/>
              </a:rPr>
              <a:t>https://docs.microsoft.com/en-us/azure/data-lake-analytics/data-lake-analytics-use-interactive-tutorials</a:t>
            </a:r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8580097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</p:sp>
      <p:sp>
        <p:nvSpPr>
          <p:cNvPr id="7" name="Rectangle 6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21564" y="320040"/>
            <a:ext cx="11548872" cy="6217920"/>
          </a:xfrm>
          <a:prstGeom prst="rect">
            <a:avLst/>
          </a:prstGeom>
          <a:solidFill>
            <a:schemeClr val="tx1">
              <a:alpha val="8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cxnSp>
        <p:nvCxnSpPr>
          <p:cNvPr id="14" name="Straight Connector 7"/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055891" y="2057399"/>
            <a:ext cx="0" cy="27432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380588" y="965199"/>
            <a:ext cx="6766078" cy="4927601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5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ambda Architecture</a:t>
            </a:r>
          </a:p>
        </p:txBody>
      </p:sp>
    </p:spTree>
    <p:extLst>
      <p:ext uri="{BB962C8B-B14F-4D97-AF65-F5344CB8AC3E}">
        <p14:creationId xmlns:p14="http://schemas.microsoft.com/office/powerpoint/2010/main" val="26531917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 defTabSz="914400"/>
            <a:r>
              <a:rPr lang="en-US" dirty="0">
                <a:solidFill>
                  <a:srgbClr val="0070C0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Big Data On Azure</a:t>
            </a:r>
          </a:p>
        </p:txBody>
      </p:sp>
      <p:sp>
        <p:nvSpPr>
          <p:cNvPr id="66" name="Oval 65"/>
          <p:cNvSpPr/>
          <p:nvPr/>
        </p:nvSpPr>
        <p:spPr>
          <a:xfrm>
            <a:off x="4312138" y="1577747"/>
            <a:ext cx="3520440" cy="3520440"/>
          </a:xfrm>
          <a:prstGeom prst="ellipse">
            <a:avLst/>
          </a:prstGeom>
          <a:solidFill>
            <a:srgbClr val="004A82"/>
          </a:solidFill>
          <a:ln w="1714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7" name="Oval 66"/>
          <p:cNvSpPr/>
          <p:nvPr/>
        </p:nvSpPr>
        <p:spPr>
          <a:xfrm>
            <a:off x="8141235" y="1498662"/>
            <a:ext cx="3638318" cy="3520440"/>
          </a:xfrm>
          <a:prstGeom prst="ellipse">
            <a:avLst/>
          </a:prstGeom>
          <a:solidFill>
            <a:srgbClr val="004A82"/>
          </a:solidFill>
          <a:ln w="1714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8" name="Oval 67"/>
          <p:cNvSpPr/>
          <p:nvPr/>
        </p:nvSpPr>
        <p:spPr>
          <a:xfrm>
            <a:off x="472640" y="1580004"/>
            <a:ext cx="3520440" cy="3520440"/>
          </a:xfrm>
          <a:prstGeom prst="ellipse">
            <a:avLst/>
          </a:prstGeom>
          <a:solidFill>
            <a:srgbClr val="004A82"/>
          </a:solidFill>
          <a:ln w="1714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9" name="Oval 68"/>
          <p:cNvSpPr/>
          <p:nvPr/>
        </p:nvSpPr>
        <p:spPr>
          <a:xfrm>
            <a:off x="4472158" y="1742373"/>
            <a:ext cx="3200400" cy="3200400"/>
          </a:xfrm>
          <a:prstGeom prst="ellipse">
            <a:avLst/>
          </a:prstGeom>
          <a:solidFill>
            <a:srgbClr val="0070C0"/>
          </a:solidFill>
          <a:ln w="1714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Data Lake Analytics</a:t>
            </a:r>
          </a:p>
        </p:txBody>
      </p:sp>
      <p:sp>
        <p:nvSpPr>
          <p:cNvPr id="70" name="Oval 69"/>
          <p:cNvSpPr/>
          <p:nvPr/>
        </p:nvSpPr>
        <p:spPr>
          <a:xfrm>
            <a:off x="8306613" y="1663288"/>
            <a:ext cx="3307562" cy="3200400"/>
          </a:xfrm>
          <a:prstGeom prst="ellipse">
            <a:avLst/>
          </a:prstGeom>
          <a:solidFill>
            <a:srgbClr val="0070C0"/>
          </a:solidFill>
          <a:ln w="1714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HDInsight</a:t>
            </a:r>
          </a:p>
        </p:txBody>
      </p:sp>
      <p:sp>
        <p:nvSpPr>
          <p:cNvPr id="71" name="Oval 70"/>
          <p:cNvSpPr/>
          <p:nvPr/>
        </p:nvSpPr>
        <p:spPr>
          <a:xfrm>
            <a:off x="632660" y="1744630"/>
            <a:ext cx="3200400" cy="3200400"/>
          </a:xfrm>
          <a:prstGeom prst="ellipse">
            <a:avLst/>
          </a:prstGeom>
          <a:solidFill>
            <a:srgbClr val="0070C0"/>
          </a:solidFill>
          <a:ln w="1714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Data Lake Store</a:t>
            </a:r>
          </a:p>
        </p:txBody>
      </p:sp>
      <p:grpSp>
        <p:nvGrpSpPr>
          <p:cNvPr id="72" name="Group 71"/>
          <p:cNvGrpSpPr/>
          <p:nvPr/>
        </p:nvGrpSpPr>
        <p:grpSpPr>
          <a:xfrm>
            <a:off x="8828798" y="2526669"/>
            <a:ext cx="2339424" cy="2342775"/>
            <a:chOff x="9132967" y="3602628"/>
            <a:chExt cx="1800627" cy="1803206"/>
          </a:xfrm>
        </p:grpSpPr>
        <p:pic>
          <p:nvPicPr>
            <p:cNvPr id="73" name="Picture 4" descr="\\MAGNUM\Projects\Microsoft\Cloud Power FY12\Design\ICONS_PNG\IIS-MULTI-TENANCY.png"/>
            <p:cNvPicPr>
              <a:picLocks noChangeAspect="1" noChangeArrowheads="1"/>
            </p:cNvPicPr>
            <p:nvPr/>
          </p:nvPicPr>
          <p:blipFill>
            <a:blip r:embed="rId2" cstate="print">
              <a:lum bright="100000"/>
            </a:blip>
            <a:srcRect/>
            <a:stretch>
              <a:fillRect/>
            </a:stretch>
          </p:blipFill>
          <p:spPr bwMode="auto">
            <a:xfrm>
              <a:off x="9132967" y="3602628"/>
              <a:ext cx="1800627" cy="1803206"/>
            </a:xfrm>
            <a:prstGeom prst="rect">
              <a:avLst/>
            </a:prstGeom>
            <a:noFill/>
          </p:spPr>
        </p:pic>
        <p:sp>
          <p:nvSpPr>
            <p:cNvPr id="74" name="Rectangle 73"/>
            <p:cNvSpPr/>
            <p:nvPr/>
          </p:nvSpPr>
          <p:spPr>
            <a:xfrm>
              <a:off x="9582564" y="4480710"/>
              <a:ext cx="664754" cy="427575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pic>
          <p:nvPicPr>
            <p:cNvPr id="75" name="Picture 7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52474" y="4478829"/>
              <a:ext cx="767674" cy="181943"/>
            </a:xfrm>
            <a:prstGeom prst="rect">
              <a:avLst/>
            </a:prstGeom>
          </p:spPr>
        </p:pic>
        <p:pic>
          <p:nvPicPr>
            <p:cNvPr id="76" name="Picture 75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31061" y="4656025"/>
              <a:ext cx="567759" cy="281624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7" name="TextBox 76"/>
          <p:cNvSpPr txBox="1"/>
          <p:nvPr/>
        </p:nvSpPr>
        <p:spPr>
          <a:xfrm>
            <a:off x="4326982" y="5556877"/>
            <a:ext cx="34561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Analytics job service</a:t>
            </a:r>
          </a:p>
        </p:txBody>
      </p:sp>
      <p:sp>
        <p:nvSpPr>
          <p:cNvPr id="78" name="Freeform 5"/>
          <p:cNvSpPr>
            <a:spLocks noEditPoints="1"/>
          </p:cNvSpPr>
          <p:nvPr/>
        </p:nvSpPr>
        <p:spPr bwMode="auto">
          <a:xfrm>
            <a:off x="1085393" y="3193823"/>
            <a:ext cx="327276" cy="285935"/>
          </a:xfrm>
          <a:custGeom>
            <a:avLst/>
            <a:gdLst>
              <a:gd name="T0" fmla="*/ 290 w 360"/>
              <a:gd name="T1" fmla="*/ 23 h 302"/>
              <a:gd name="T2" fmla="*/ 265 w 360"/>
              <a:gd name="T3" fmla="*/ 6 h 302"/>
              <a:gd name="T4" fmla="*/ 226 w 360"/>
              <a:gd name="T5" fmla="*/ 2 h 302"/>
              <a:gd name="T6" fmla="*/ 188 w 360"/>
              <a:gd name="T7" fmla="*/ 25 h 302"/>
              <a:gd name="T8" fmla="*/ 148 w 360"/>
              <a:gd name="T9" fmla="*/ 78 h 302"/>
              <a:gd name="T10" fmla="*/ 104 w 360"/>
              <a:gd name="T11" fmla="*/ 122 h 302"/>
              <a:gd name="T12" fmla="*/ 58 w 360"/>
              <a:gd name="T13" fmla="*/ 147 h 302"/>
              <a:gd name="T14" fmla="*/ 12 w 360"/>
              <a:gd name="T15" fmla="*/ 149 h 302"/>
              <a:gd name="T16" fmla="*/ 2 w 360"/>
              <a:gd name="T17" fmla="*/ 151 h 302"/>
              <a:gd name="T18" fmla="*/ 19 w 360"/>
              <a:gd name="T19" fmla="*/ 176 h 302"/>
              <a:gd name="T20" fmla="*/ 52 w 360"/>
              <a:gd name="T21" fmla="*/ 209 h 302"/>
              <a:gd name="T22" fmla="*/ 106 w 360"/>
              <a:gd name="T23" fmla="*/ 233 h 302"/>
              <a:gd name="T24" fmla="*/ 138 w 360"/>
              <a:gd name="T25" fmla="*/ 237 h 302"/>
              <a:gd name="T26" fmla="*/ 140 w 360"/>
              <a:gd name="T27" fmla="*/ 258 h 302"/>
              <a:gd name="T28" fmla="*/ 140 w 360"/>
              <a:gd name="T29" fmla="*/ 276 h 302"/>
              <a:gd name="T30" fmla="*/ 140 w 360"/>
              <a:gd name="T31" fmla="*/ 283 h 302"/>
              <a:gd name="T32" fmla="*/ 127 w 360"/>
              <a:gd name="T33" fmla="*/ 285 h 302"/>
              <a:gd name="T34" fmla="*/ 111 w 360"/>
              <a:gd name="T35" fmla="*/ 293 h 302"/>
              <a:gd name="T36" fmla="*/ 115 w 360"/>
              <a:gd name="T37" fmla="*/ 300 h 302"/>
              <a:gd name="T38" fmla="*/ 127 w 360"/>
              <a:gd name="T39" fmla="*/ 299 h 302"/>
              <a:gd name="T40" fmla="*/ 163 w 360"/>
              <a:gd name="T41" fmla="*/ 297 h 302"/>
              <a:gd name="T42" fmla="*/ 190 w 360"/>
              <a:gd name="T43" fmla="*/ 300 h 302"/>
              <a:gd name="T44" fmla="*/ 196 w 360"/>
              <a:gd name="T45" fmla="*/ 297 h 302"/>
              <a:gd name="T46" fmla="*/ 217 w 360"/>
              <a:gd name="T47" fmla="*/ 300 h 302"/>
              <a:gd name="T48" fmla="*/ 222 w 360"/>
              <a:gd name="T49" fmla="*/ 297 h 302"/>
              <a:gd name="T50" fmla="*/ 219 w 360"/>
              <a:gd name="T51" fmla="*/ 289 h 302"/>
              <a:gd name="T52" fmla="*/ 180 w 360"/>
              <a:gd name="T53" fmla="*/ 283 h 302"/>
              <a:gd name="T54" fmla="*/ 180 w 360"/>
              <a:gd name="T55" fmla="*/ 253 h 302"/>
              <a:gd name="T56" fmla="*/ 180 w 360"/>
              <a:gd name="T57" fmla="*/ 237 h 302"/>
              <a:gd name="T58" fmla="*/ 180 w 360"/>
              <a:gd name="T59" fmla="*/ 232 h 302"/>
              <a:gd name="T60" fmla="*/ 215 w 360"/>
              <a:gd name="T61" fmla="*/ 216 h 302"/>
              <a:gd name="T62" fmla="*/ 251 w 360"/>
              <a:gd name="T63" fmla="*/ 188 h 302"/>
              <a:gd name="T64" fmla="*/ 276 w 360"/>
              <a:gd name="T65" fmla="*/ 149 h 302"/>
              <a:gd name="T66" fmla="*/ 299 w 360"/>
              <a:gd name="T67" fmla="*/ 94 h 302"/>
              <a:gd name="T68" fmla="*/ 334 w 360"/>
              <a:gd name="T69" fmla="*/ 78 h 302"/>
              <a:gd name="T70" fmla="*/ 353 w 360"/>
              <a:gd name="T71" fmla="*/ 71 h 302"/>
              <a:gd name="T72" fmla="*/ 360 w 360"/>
              <a:gd name="T73" fmla="*/ 69 h 302"/>
              <a:gd name="T74" fmla="*/ 299 w 360"/>
              <a:gd name="T75" fmla="*/ 44 h 302"/>
              <a:gd name="T76" fmla="*/ 167 w 360"/>
              <a:gd name="T77" fmla="*/ 283 h 302"/>
              <a:gd name="T78" fmla="*/ 153 w 360"/>
              <a:gd name="T79" fmla="*/ 283 h 302"/>
              <a:gd name="T80" fmla="*/ 152 w 360"/>
              <a:gd name="T81" fmla="*/ 262 h 302"/>
              <a:gd name="T82" fmla="*/ 152 w 360"/>
              <a:gd name="T83" fmla="*/ 245 h 302"/>
              <a:gd name="T84" fmla="*/ 152 w 360"/>
              <a:gd name="T85" fmla="*/ 237 h 302"/>
              <a:gd name="T86" fmla="*/ 167 w 360"/>
              <a:gd name="T87" fmla="*/ 233 h 302"/>
              <a:gd name="T88" fmla="*/ 247 w 360"/>
              <a:gd name="T89" fmla="*/ 67 h 302"/>
              <a:gd name="T90" fmla="*/ 236 w 360"/>
              <a:gd name="T91" fmla="*/ 55 h 302"/>
              <a:gd name="T92" fmla="*/ 240 w 360"/>
              <a:gd name="T93" fmla="*/ 44 h 302"/>
              <a:gd name="T94" fmla="*/ 251 w 360"/>
              <a:gd name="T95" fmla="*/ 40 h 302"/>
              <a:gd name="T96" fmla="*/ 263 w 360"/>
              <a:gd name="T97" fmla="*/ 52 h 302"/>
              <a:gd name="T98" fmla="*/ 259 w 360"/>
              <a:gd name="T99" fmla="*/ 63 h 302"/>
              <a:gd name="T100" fmla="*/ 249 w 360"/>
              <a:gd name="T101" fmla="*/ 67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60" h="302">
                <a:moveTo>
                  <a:pt x="299" y="44"/>
                </a:moveTo>
                <a:lnTo>
                  <a:pt x="297" y="36"/>
                </a:lnTo>
                <a:lnTo>
                  <a:pt x="293" y="31"/>
                </a:lnTo>
                <a:lnTo>
                  <a:pt x="290" y="23"/>
                </a:lnTo>
                <a:lnTo>
                  <a:pt x="284" y="19"/>
                </a:lnTo>
                <a:lnTo>
                  <a:pt x="278" y="13"/>
                </a:lnTo>
                <a:lnTo>
                  <a:pt x="272" y="10"/>
                </a:lnTo>
                <a:lnTo>
                  <a:pt x="265" y="6"/>
                </a:lnTo>
                <a:lnTo>
                  <a:pt x="257" y="4"/>
                </a:lnTo>
                <a:lnTo>
                  <a:pt x="247" y="2"/>
                </a:lnTo>
                <a:lnTo>
                  <a:pt x="236" y="0"/>
                </a:lnTo>
                <a:lnTo>
                  <a:pt x="226" y="2"/>
                </a:lnTo>
                <a:lnTo>
                  <a:pt x="215" y="6"/>
                </a:lnTo>
                <a:lnTo>
                  <a:pt x="205" y="10"/>
                </a:lnTo>
                <a:lnTo>
                  <a:pt x="196" y="15"/>
                </a:lnTo>
                <a:lnTo>
                  <a:pt x="188" y="25"/>
                </a:lnTo>
                <a:lnTo>
                  <a:pt x="180" y="34"/>
                </a:lnTo>
                <a:lnTo>
                  <a:pt x="169" y="50"/>
                </a:lnTo>
                <a:lnTo>
                  <a:pt x="159" y="63"/>
                </a:lnTo>
                <a:lnTo>
                  <a:pt x="148" y="78"/>
                </a:lnTo>
                <a:lnTo>
                  <a:pt x="138" y="90"/>
                </a:lnTo>
                <a:lnTo>
                  <a:pt x="127" y="101"/>
                </a:lnTo>
                <a:lnTo>
                  <a:pt x="115" y="113"/>
                </a:lnTo>
                <a:lnTo>
                  <a:pt x="104" y="122"/>
                </a:lnTo>
                <a:lnTo>
                  <a:pt x="92" y="130"/>
                </a:lnTo>
                <a:lnTo>
                  <a:pt x="81" y="138"/>
                </a:lnTo>
                <a:lnTo>
                  <a:pt x="69" y="144"/>
                </a:lnTo>
                <a:lnTo>
                  <a:pt x="58" y="147"/>
                </a:lnTo>
                <a:lnTo>
                  <a:pt x="46" y="151"/>
                </a:lnTo>
                <a:lnTo>
                  <a:pt x="35" y="151"/>
                </a:lnTo>
                <a:lnTo>
                  <a:pt x="23" y="151"/>
                </a:lnTo>
                <a:lnTo>
                  <a:pt x="12" y="149"/>
                </a:lnTo>
                <a:lnTo>
                  <a:pt x="0" y="147"/>
                </a:lnTo>
                <a:lnTo>
                  <a:pt x="0" y="147"/>
                </a:lnTo>
                <a:lnTo>
                  <a:pt x="0" y="147"/>
                </a:lnTo>
                <a:lnTo>
                  <a:pt x="2" y="151"/>
                </a:lnTo>
                <a:lnTo>
                  <a:pt x="4" y="155"/>
                </a:lnTo>
                <a:lnTo>
                  <a:pt x="8" y="161"/>
                </a:lnTo>
                <a:lnTo>
                  <a:pt x="14" y="168"/>
                </a:lnTo>
                <a:lnTo>
                  <a:pt x="19" y="176"/>
                </a:lnTo>
                <a:lnTo>
                  <a:pt x="25" y="184"/>
                </a:lnTo>
                <a:lnTo>
                  <a:pt x="33" y="191"/>
                </a:lnTo>
                <a:lnTo>
                  <a:pt x="42" y="201"/>
                </a:lnTo>
                <a:lnTo>
                  <a:pt x="52" y="209"/>
                </a:lnTo>
                <a:lnTo>
                  <a:pt x="63" y="216"/>
                </a:lnTo>
                <a:lnTo>
                  <a:pt x="77" y="222"/>
                </a:lnTo>
                <a:lnTo>
                  <a:pt x="90" y="228"/>
                </a:lnTo>
                <a:lnTo>
                  <a:pt x="106" y="233"/>
                </a:lnTo>
                <a:lnTo>
                  <a:pt x="121" y="235"/>
                </a:lnTo>
                <a:lnTo>
                  <a:pt x="129" y="237"/>
                </a:lnTo>
                <a:lnTo>
                  <a:pt x="138" y="237"/>
                </a:lnTo>
                <a:lnTo>
                  <a:pt x="138" y="237"/>
                </a:lnTo>
                <a:lnTo>
                  <a:pt x="140" y="237"/>
                </a:lnTo>
                <a:lnTo>
                  <a:pt x="140" y="245"/>
                </a:lnTo>
                <a:lnTo>
                  <a:pt x="140" y="253"/>
                </a:lnTo>
                <a:lnTo>
                  <a:pt x="140" y="258"/>
                </a:lnTo>
                <a:lnTo>
                  <a:pt x="140" y="264"/>
                </a:lnTo>
                <a:lnTo>
                  <a:pt x="140" y="268"/>
                </a:lnTo>
                <a:lnTo>
                  <a:pt x="140" y="272"/>
                </a:lnTo>
                <a:lnTo>
                  <a:pt x="140" y="276"/>
                </a:lnTo>
                <a:lnTo>
                  <a:pt x="140" y="277"/>
                </a:lnTo>
                <a:lnTo>
                  <a:pt x="140" y="279"/>
                </a:lnTo>
                <a:lnTo>
                  <a:pt x="140" y="281"/>
                </a:lnTo>
                <a:lnTo>
                  <a:pt x="140" y="283"/>
                </a:lnTo>
                <a:lnTo>
                  <a:pt x="140" y="283"/>
                </a:lnTo>
                <a:lnTo>
                  <a:pt x="140" y="283"/>
                </a:lnTo>
                <a:lnTo>
                  <a:pt x="132" y="285"/>
                </a:lnTo>
                <a:lnTo>
                  <a:pt x="127" y="285"/>
                </a:lnTo>
                <a:lnTo>
                  <a:pt x="121" y="287"/>
                </a:lnTo>
                <a:lnTo>
                  <a:pt x="115" y="289"/>
                </a:lnTo>
                <a:lnTo>
                  <a:pt x="113" y="289"/>
                </a:lnTo>
                <a:lnTo>
                  <a:pt x="111" y="293"/>
                </a:lnTo>
                <a:lnTo>
                  <a:pt x="111" y="295"/>
                </a:lnTo>
                <a:lnTo>
                  <a:pt x="111" y="297"/>
                </a:lnTo>
                <a:lnTo>
                  <a:pt x="113" y="299"/>
                </a:lnTo>
                <a:lnTo>
                  <a:pt x="115" y="300"/>
                </a:lnTo>
                <a:lnTo>
                  <a:pt x="117" y="302"/>
                </a:lnTo>
                <a:lnTo>
                  <a:pt x="119" y="300"/>
                </a:lnTo>
                <a:lnTo>
                  <a:pt x="119" y="300"/>
                </a:lnTo>
                <a:lnTo>
                  <a:pt x="127" y="299"/>
                </a:lnTo>
                <a:lnTo>
                  <a:pt x="134" y="297"/>
                </a:lnTo>
                <a:lnTo>
                  <a:pt x="144" y="297"/>
                </a:lnTo>
                <a:lnTo>
                  <a:pt x="153" y="297"/>
                </a:lnTo>
                <a:lnTo>
                  <a:pt x="163" y="297"/>
                </a:lnTo>
                <a:lnTo>
                  <a:pt x="173" y="297"/>
                </a:lnTo>
                <a:lnTo>
                  <a:pt x="180" y="299"/>
                </a:lnTo>
                <a:lnTo>
                  <a:pt x="188" y="300"/>
                </a:lnTo>
                <a:lnTo>
                  <a:pt x="190" y="300"/>
                </a:lnTo>
                <a:lnTo>
                  <a:pt x="192" y="300"/>
                </a:lnTo>
                <a:lnTo>
                  <a:pt x="194" y="300"/>
                </a:lnTo>
                <a:lnTo>
                  <a:pt x="194" y="299"/>
                </a:lnTo>
                <a:lnTo>
                  <a:pt x="196" y="297"/>
                </a:lnTo>
                <a:lnTo>
                  <a:pt x="205" y="299"/>
                </a:lnTo>
                <a:lnTo>
                  <a:pt x="209" y="300"/>
                </a:lnTo>
                <a:lnTo>
                  <a:pt x="213" y="300"/>
                </a:lnTo>
                <a:lnTo>
                  <a:pt x="217" y="300"/>
                </a:lnTo>
                <a:lnTo>
                  <a:pt x="219" y="300"/>
                </a:lnTo>
                <a:lnTo>
                  <a:pt x="221" y="300"/>
                </a:lnTo>
                <a:lnTo>
                  <a:pt x="221" y="299"/>
                </a:lnTo>
                <a:lnTo>
                  <a:pt x="222" y="297"/>
                </a:lnTo>
                <a:lnTo>
                  <a:pt x="222" y="295"/>
                </a:lnTo>
                <a:lnTo>
                  <a:pt x="222" y="293"/>
                </a:lnTo>
                <a:lnTo>
                  <a:pt x="221" y="289"/>
                </a:lnTo>
                <a:lnTo>
                  <a:pt x="219" y="289"/>
                </a:lnTo>
                <a:lnTo>
                  <a:pt x="209" y="287"/>
                </a:lnTo>
                <a:lnTo>
                  <a:pt x="201" y="285"/>
                </a:lnTo>
                <a:lnTo>
                  <a:pt x="192" y="283"/>
                </a:lnTo>
                <a:lnTo>
                  <a:pt x="180" y="283"/>
                </a:lnTo>
                <a:lnTo>
                  <a:pt x="180" y="274"/>
                </a:lnTo>
                <a:lnTo>
                  <a:pt x="180" y="266"/>
                </a:lnTo>
                <a:lnTo>
                  <a:pt x="180" y="258"/>
                </a:lnTo>
                <a:lnTo>
                  <a:pt x="180" y="253"/>
                </a:lnTo>
                <a:lnTo>
                  <a:pt x="180" y="249"/>
                </a:lnTo>
                <a:lnTo>
                  <a:pt x="180" y="243"/>
                </a:lnTo>
                <a:lnTo>
                  <a:pt x="180" y="239"/>
                </a:lnTo>
                <a:lnTo>
                  <a:pt x="180" y="237"/>
                </a:lnTo>
                <a:lnTo>
                  <a:pt x="180" y="235"/>
                </a:lnTo>
                <a:lnTo>
                  <a:pt x="180" y="233"/>
                </a:lnTo>
                <a:lnTo>
                  <a:pt x="180" y="232"/>
                </a:lnTo>
                <a:lnTo>
                  <a:pt x="180" y="232"/>
                </a:lnTo>
                <a:lnTo>
                  <a:pt x="180" y="232"/>
                </a:lnTo>
                <a:lnTo>
                  <a:pt x="192" y="228"/>
                </a:lnTo>
                <a:lnTo>
                  <a:pt x="203" y="222"/>
                </a:lnTo>
                <a:lnTo>
                  <a:pt x="215" y="216"/>
                </a:lnTo>
                <a:lnTo>
                  <a:pt x="224" y="210"/>
                </a:lnTo>
                <a:lnTo>
                  <a:pt x="234" y="205"/>
                </a:lnTo>
                <a:lnTo>
                  <a:pt x="242" y="197"/>
                </a:lnTo>
                <a:lnTo>
                  <a:pt x="251" y="188"/>
                </a:lnTo>
                <a:lnTo>
                  <a:pt x="257" y="180"/>
                </a:lnTo>
                <a:lnTo>
                  <a:pt x="265" y="170"/>
                </a:lnTo>
                <a:lnTo>
                  <a:pt x="270" y="161"/>
                </a:lnTo>
                <a:lnTo>
                  <a:pt x="276" y="149"/>
                </a:lnTo>
                <a:lnTo>
                  <a:pt x="282" y="138"/>
                </a:lnTo>
                <a:lnTo>
                  <a:pt x="288" y="128"/>
                </a:lnTo>
                <a:lnTo>
                  <a:pt x="291" y="117"/>
                </a:lnTo>
                <a:lnTo>
                  <a:pt x="299" y="94"/>
                </a:lnTo>
                <a:lnTo>
                  <a:pt x="309" y="88"/>
                </a:lnTo>
                <a:lnTo>
                  <a:pt x="318" y="84"/>
                </a:lnTo>
                <a:lnTo>
                  <a:pt x="328" y="80"/>
                </a:lnTo>
                <a:lnTo>
                  <a:pt x="334" y="78"/>
                </a:lnTo>
                <a:lnTo>
                  <a:pt x="341" y="77"/>
                </a:lnTo>
                <a:lnTo>
                  <a:pt x="345" y="75"/>
                </a:lnTo>
                <a:lnTo>
                  <a:pt x="349" y="73"/>
                </a:lnTo>
                <a:lnTo>
                  <a:pt x="353" y="71"/>
                </a:lnTo>
                <a:lnTo>
                  <a:pt x="355" y="69"/>
                </a:lnTo>
                <a:lnTo>
                  <a:pt x="357" y="69"/>
                </a:lnTo>
                <a:lnTo>
                  <a:pt x="359" y="69"/>
                </a:lnTo>
                <a:lnTo>
                  <a:pt x="360" y="69"/>
                </a:lnTo>
                <a:lnTo>
                  <a:pt x="360" y="67"/>
                </a:lnTo>
                <a:lnTo>
                  <a:pt x="360" y="67"/>
                </a:lnTo>
                <a:lnTo>
                  <a:pt x="299" y="44"/>
                </a:lnTo>
                <a:lnTo>
                  <a:pt x="299" y="44"/>
                </a:lnTo>
                <a:close/>
                <a:moveTo>
                  <a:pt x="167" y="283"/>
                </a:moveTo>
                <a:lnTo>
                  <a:pt x="167" y="283"/>
                </a:lnTo>
                <a:lnTo>
                  <a:pt x="167" y="283"/>
                </a:lnTo>
                <a:lnTo>
                  <a:pt x="167" y="283"/>
                </a:lnTo>
                <a:lnTo>
                  <a:pt x="163" y="283"/>
                </a:lnTo>
                <a:lnTo>
                  <a:pt x="159" y="283"/>
                </a:lnTo>
                <a:lnTo>
                  <a:pt x="153" y="283"/>
                </a:lnTo>
                <a:lnTo>
                  <a:pt x="153" y="283"/>
                </a:lnTo>
                <a:lnTo>
                  <a:pt x="152" y="283"/>
                </a:lnTo>
                <a:lnTo>
                  <a:pt x="152" y="276"/>
                </a:lnTo>
                <a:lnTo>
                  <a:pt x="152" y="268"/>
                </a:lnTo>
                <a:lnTo>
                  <a:pt x="152" y="262"/>
                </a:lnTo>
                <a:lnTo>
                  <a:pt x="152" y="256"/>
                </a:lnTo>
                <a:lnTo>
                  <a:pt x="152" y="251"/>
                </a:lnTo>
                <a:lnTo>
                  <a:pt x="152" y="247"/>
                </a:lnTo>
                <a:lnTo>
                  <a:pt x="152" y="245"/>
                </a:lnTo>
                <a:lnTo>
                  <a:pt x="152" y="241"/>
                </a:lnTo>
                <a:lnTo>
                  <a:pt x="152" y="239"/>
                </a:lnTo>
                <a:lnTo>
                  <a:pt x="152" y="239"/>
                </a:lnTo>
                <a:lnTo>
                  <a:pt x="152" y="237"/>
                </a:lnTo>
                <a:lnTo>
                  <a:pt x="152" y="235"/>
                </a:lnTo>
                <a:lnTo>
                  <a:pt x="152" y="235"/>
                </a:lnTo>
                <a:lnTo>
                  <a:pt x="159" y="235"/>
                </a:lnTo>
                <a:lnTo>
                  <a:pt x="167" y="233"/>
                </a:lnTo>
                <a:lnTo>
                  <a:pt x="167" y="283"/>
                </a:lnTo>
                <a:lnTo>
                  <a:pt x="167" y="283"/>
                </a:lnTo>
                <a:close/>
                <a:moveTo>
                  <a:pt x="249" y="67"/>
                </a:moveTo>
                <a:lnTo>
                  <a:pt x="247" y="67"/>
                </a:lnTo>
                <a:lnTo>
                  <a:pt x="244" y="65"/>
                </a:lnTo>
                <a:lnTo>
                  <a:pt x="240" y="63"/>
                </a:lnTo>
                <a:lnTo>
                  <a:pt x="238" y="59"/>
                </a:lnTo>
                <a:lnTo>
                  <a:pt x="236" y="55"/>
                </a:lnTo>
                <a:lnTo>
                  <a:pt x="236" y="54"/>
                </a:lnTo>
                <a:lnTo>
                  <a:pt x="236" y="52"/>
                </a:lnTo>
                <a:lnTo>
                  <a:pt x="238" y="50"/>
                </a:lnTo>
                <a:lnTo>
                  <a:pt x="240" y="44"/>
                </a:lnTo>
                <a:lnTo>
                  <a:pt x="244" y="42"/>
                </a:lnTo>
                <a:lnTo>
                  <a:pt x="247" y="40"/>
                </a:lnTo>
                <a:lnTo>
                  <a:pt x="249" y="40"/>
                </a:lnTo>
                <a:lnTo>
                  <a:pt x="251" y="40"/>
                </a:lnTo>
                <a:lnTo>
                  <a:pt x="253" y="42"/>
                </a:lnTo>
                <a:lnTo>
                  <a:pt x="259" y="44"/>
                </a:lnTo>
                <a:lnTo>
                  <a:pt x="261" y="50"/>
                </a:lnTo>
                <a:lnTo>
                  <a:pt x="263" y="52"/>
                </a:lnTo>
                <a:lnTo>
                  <a:pt x="263" y="54"/>
                </a:lnTo>
                <a:lnTo>
                  <a:pt x="263" y="55"/>
                </a:lnTo>
                <a:lnTo>
                  <a:pt x="261" y="59"/>
                </a:lnTo>
                <a:lnTo>
                  <a:pt x="259" y="63"/>
                </a:lnTo>
                <a:lnTo>
                  <a:pt x="253" y="65"/>
                </a:lnTo>
                <a:lnTo>
                  <a:pt x="251" y="67"/>
                </a:lnTo>
                <a:lnTo>
                  <a:pt x="249" y="67"/>
                </a:lnTo>
                <a:lnTo>
                  <a:pt x="249" y="6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23341" tIns="23341" rIns="0" bIns="23341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4761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67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79" name="Group 78"/>
          <p:cNvGrpSpPr/>
          <p:nvPr/>
        </p:nvGrpSpPr>
        <p:grpSpPr>
          <a:xfrm>
            <a:off x="1560654" y="3186998"/>
            <a:ext cx="545635" cy="317263"/>
            <a:chOff x="2769908" y="1409697"/>
            <a:chExt cx="1965320" cy="1055586"/>
          </a:xfrm>
          <a:solidFill>
            <a:schemeClr val="tx1"/>
          </a:solidFill>
        </p:grpSpPr>
        <p:sp>
          <p:nvSpPr>
            <p:cNvPr id="80" name="Round Same Side Corner Rectangle 11"/>
            <p:cNvSpPr/>
            <p:nvPr/>
          </p:nvSpPr>
          <p:spPr>
            <a:xfrm>
              <a:off x="3138523" y="1744049"/>
              <a:ext cx="998085" cy="721234"/>
            </a:xfrm>
            <a:custGeom>
              <a:avLst/>
              <a:gdLst/>
              <a:ahLst/>
              <a:cxnLst/>
              <a:rect l="l" t="t" r="r" b="b"/>
              <a:pathLst>
                <a:path w="997825" h="721233">
                  <a:moveTo>
                    <a:pt x="386303" y="632863"/>
                  </a:moveTo>
                  <a:lnTo>
                    <a:pt x="361994" y="673949"/>
                  </a:lnTo>
                  <a:lnTo>
                    <a:pt x="635830" y="673949"/>
                  </a:lnTo>
                  <a:lnTo>
                    <a:pt x="611521" y="632863"/>
                  </a:lnTo>
                  <a:close/>
                  <a:moveTo>
                    <a:pt x="74549" y="554146"/>
                  </a:moveTo>
                  <a:lnTo>
                    <a:pt x="923276" y="554146"/>
                  </a:lnTo>
                  <a:lnTo>
                    <a:pt x="997825" y="680147"/>
                  </a:lnTo>
                  <a:lnTo>
                    <a:pt x="997380" y="680147"/>
                  </a:lnTo>
                  <a:lnTo>
                    <a:pt x="997380" y="721233"/>
                  </a:lnTo>
                  <a:lnTo>
                    <a:pt x="443" y="721233"/>
                  </a:lnTo>
                  <a:lnTo>
                    <a:pt x="443" y="680147"/>
                  </a:lnTo>
                  <a:lnTo>
                    <a:pt x="0" y="680147"/>
                  </a:lnTo>
                  <a:close/>
                  <a:moveTo>
                    <a:pt x="107888" y="28997"/>
                  </a:moveTo>
                  <a:lnTo>
                    <a:pt x="107888" y="517611"/>
                  </a:lnTo>
                  <a:lnTo>
                    <a:pt x="889938" y="517611"/>
                  </a:lnTo>
                  <a:lnTo>
                    <a:pt x="889938" y="28997"/>
                  </a:lnTo>
                  <a:close/>
                  <a:moveTo>
                    <a:pt x="102530" y="0"/>
                  </a:moveTo>
                  <a:lnTo>
                    <a:pt x="895294" y="0"/>
                  </a:lnTo>
                  <a:cubicBezTo>
                    <a:pt x="909799" y="0"/>
                    <a:pt x="921556" y="11760"/>
                    <a:pt x="921556" y="26269"/>
                  </a:cubicBezTo>
                  <a:lnTo>
                    <a:pt x="921556" y="541850"/>
                  </a:lnTo>
                  <a:lnTo>
                    <a:pt x="76268" y="541850"/>
                  </a:lnTo>
                  <a:lnTo>
                    <a:pt x="76268" y="26269"/>
                  </a:lnTo>
                  <a:cubicBezTo>
                    <a:pt x="76268" y="11760"/>
                    <a:pt x="88025" y="0"/>
                    <a:pt x="102530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lIns="23341" rIns="0" rtlCol="0" anchor="ctr"/>
            <a:lstStyle/>
            <a:p>
              <a:pPr marL="0" marR="0" lvl="0" indent="0" defTabSz="46676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67" b="0" i="0" u="none" strike="noStrike" kern="0" cap="none" spc="0" normalizeH="0" baseline="0" noProof="0">
                <a:ln>
                  <a:noFill/>
                </a:ln>
                <a:solidFill>
                  <a:srgbClr val="008272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1" name="Rounded Rectangle 223"/>
            <p:cNvSpPr/>
            <p:nvPr/>
          </p:nvSpPr>
          <p:spPr bwMode="auto">
            <a:xfrm>
              <a:off x="2769908" y="1409697"/>
              <a:ext cx="368615" cy="648352"/>
            </a:xfrm>
            <a:custGeom>
              <a:avLst/>
              <a:gdLst/>
              <a:ahLst/>
              <a:cxnLst/>
              <a:rect l="l" t="t" r="r" b="b"/>
              <a:pathLst>
                <a:path w="3657600" h="6434945">
                  <a:moveTo>
                    <a:pt x="1828801" y="5761924"/>
                  </a:moveTo>
                  <a:cubicBezTo>
                    <a:pt x="1694209" y="5761924"/>
                    <a:pt x="1585101" y="5871032"/>
                    <a:pt x="1585101" y="6005624"/>
                  </a:cubicBezTo>
                  <a:cubicBezTo>
                    <a:pt x="1585101" y="6140216"/>
                    <a:pt x="1694209" y="6249324"/>
                    <a:pt x="1828801" y="6249324"/>
                  </a:cubicBezTo>
                  <a:cubicBezTo>
                    <a:pt x="1963393" y="6249324"/>
                    <a:pt x="2072501" y="6140216"/>
                    <a:pt x="2072501" y="6005624"/>
                  </a:cubicBezTo>
                  <a:cubicBezTo>
                    <a:pt x="2072501" y="5871032"/>
                    <a:pt x="1963393" y="5761924"/>
                    <a:pt x="1828801" y="5761924"/>
                  </a:cubicBezTo>
                  <a:close/>
                  <a:moveTo>
                    <a:pt x="367260" y="607233"/>
                  </a:moveTo>
                  <a:lnTo>
                    <a:pt x="367260" y="5543030"/>
                  </a:lnTo>
                  <a:lnTo>
                    <a:pt x="3290341" y="5543030"/>
                  </a:lnTo>
                  <a:lnTo>
                    <a:pt x="3290341" y="607233"/>
                  </a:lnTo>
                  <a:close/>
                  <a:moveTo>
                    <a:pt x="1097280" y="257182"/>
                  </a:moveTo>
                  <a:cubicBezTo>
                    <a:pt x="1072030" y="257182"/>
                    <a:pt x="1051560" y="277652"/>
                    <a:pt x="1051560" y="302902"/>
                  </a:cubicBezTo>
                  <a:cubicBezTo>
                    <a:pt x="1051560" y="328152"/>
                    <a:pt x="1072030" y="348622"/>
                    <a:pt x="1097280" y="348622"/>
                  </a:cubicBezTo>
                  <a:lnTo>
                    <a:pt x="2560320" y="348622"/>
                  </a:lnTo>
                  <a:cubicBezTo>
                    <a:pt x="2585570" y="348622"/>
                    <a:pt x="2606040" y="328152"/>
                    <a:pt x="2606040" y="302902"/>
                  </a:cubicBezTo>
                  <a:cubicBezTo>
                    <a:pt x="2606040" y="277652"/>
                    <a:pt x="2585570" y="257182"/>
                    <a:pt x="2560320" y="257182"/>
                  </a:cubicBezTo>
                  <a:close/>
                  <a:moveTo>
                    <a:pt x="609612" y="0"/>
                  </a:moveTo>
                  <a:lnTo>
                    <a:pt x="3047988" y="0"/>
                  </a:lnTo>
                  <a:cubicBezTo>
                    <a:pt x="3384667" y="0"/>
                    <a:pt x="3657600" y="272933"/>
                    <a:pt x="3657600" y="609612"/>
                  </a:cubicBezTo>
                  <a:lnTo>
                    <a:pt x="3657600" y="5825333"/>
                  </a:lnTo>
                  <a:cubicBezTo>
                    <a:pt x="3657600" y="6162012"/>
                    <a:pt x="3384667" y="6434945"/>
                    <a:pt x="3047988" y="6434945"/>
                  </a:cubicBezTo>
                  <a:lnTo>
                    <a:pt x="609612" y="6434945"/>
                  </a:lnTo>
                  <a:cubicBezTo>
                    <a:pt x="272933" y="6434945"/>
                    <a:pt x="0" y="6162012"/>
                    <a:pt x="0" y="5825333"/>
                  </a:cubicBezTo>
                  <a:lnTo>
                    <a:pt x="0" y="609612"/>
                  </a:lnTo>
                  <a:cubicBezTo>
                    <a:pt x="0" y="272933"/>
                    <a:pt x="272933" y="0"/>
                    <a:pt x="609612" y="0"/>
                  </a:cubicBez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23341" tIns="23341" rIns="0" bIns="46682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46661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67" b="0" i="0" u="none" strike="noStrike" kern="0" cap="none" spc="-25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2" name="Rounded Rectangle 6"/>
            <p:cNvSpPr/>
            <p:nvPr/>
          </p:nvSpPr>
          <p:spPr bwMode="auto">
            <a:xfrm rot="16200000">
              <a:off x="4229657" y="1440678"/>
              <a:ext cx="404402" cy="606741"/>
            </a:xfrm>
            <a:custGeom>
              <a:avLst/>
              <a:gdLst/>
              <a:ahLst/>
              <a:cxnLst/>
              <a:rect l="l" t="t" r="r" b="b"/>
              <a:pathLst>
                <a:path w="3286897" h="4658497">
                  <a:moveTo>
                    <a:pt x="1600200" y="4382531"/>
                  </a:moveTo>
                  <a:cubicBezTo>
                    <a:pt x="1600200" y="4367744"/>
                    <a:pt x="1588213" y="4355757"/>
                    <a:pt x="1573426" y="4355757"/>
                  </a:cubicBezTo>
                  <a:lnTo>
                    <a:pt x="811428" y="4355757"/>
                  </a:lnTo>
                  <a:cubicBezTo>
                    <a:pt x="796641" y="4355757"/>
                    <a:pt x="784654" y="4367744"/>
                    <a:pt x="784654" y="4382531"/>
                  </a:cubicBezTo>
                  <a:lnTo>
                    <a:pt x="784654" y="4489621"/>
                  </a:lnTo>
                  <a:cubicBezTo>
                    <a:pt x="784654" y="4504408"/>
                    <a:pt x="796641" y="4516395"/>
                    <a:pt x="811428" y="4516395"/>
                  </a:cubicBezTo>
                  <a:lnTo>
                    <a:pt x="1573426" y="4516395"/>
                  </a:lnTo>
                  <a:cubicBezTo>
                    <a:pt x="1588213" y="4516395"/>
                    <a:pt x="1600200" y="4504408"/>
                    <a:pt x="1600200" y="4489621"/>
                  </a:cubicBezTo>
                  <a:close/>
                  <a:moveTo>
                    <a:pt x="2502243" y="4382531"/>
                  </a:moveTo>
                  <a:cubicBezTo>
                    <a:pt x="2502243" y="4367744"/>
                    <a:pt x="2490256" y="4355757"/>
                    <a:pt x="2475469" y="4355757"/>
                  </a:cubicBezTo>
                  <a:lnTo>
                    <a:pt x="1713471" y="4355757"/>
                  </a:lnTo>
                  <a:cubicBezTo>
                    <a:pt x="1698684" y="4355757"/>
                    <a:pt x="1686697" y="4367744"/>
                    <a:pt x="1686697" y="4382531"/>
                  </a:cubicBezTo>
                  <a:lnTo>
                    <a:pt x="1686697" y="4489621"/>
                  </a:lnTo>
                  <a:cubicBezTo>
                    <a:pt x="1686697" y="4504408"/>
                    <a:pt x="1698684" y="4516395"/>
                    <a:pt x="1713471" y="4516395"/>
                  </a:cubicBezTo>
                  <a:lnTo>
                    <a:pt x="2475469" y="4516395"/>
                  </a:lnTo>
                  <a:cubicBezTo>
                    <a:pt x="2490256" y="4516395"/>
                    <a:pt x="2502243" y="4504408"/>
                    <a:pt x="2502243" y="4489621"/>
                  </a:cubicBezTo>
                  <a:close/>
                  <a:moveTo>
                    <a:pt x="3021231" y="480896"/>
                  </a:moveTo>
                  <a:cubicBezTo>
                    <a:pt x="3021231" y="375524"/>
                    <a:pt x="2935811" y="290104"/>
                    <a:pt x="2830439" y="290104"/>
                  </a:cubicBezTo>
                  <a:lnTo>
                    <a:pt x="444108" y="290104"/>
                  </a:lnTo>
                  <a:cubicBezTo>
                    <a:pt x="338736" y="290104"/>
                    <a:pt x="253316" y="375524"/>
                    <a:pt x="253316" y="480896"/>
                  </a:cubicBezTo>
                  <a:lnTo>
                    <a:pt x="253316" y="4029043"/>
                  </a:lnTo>
                  <a:cubicBezTo>
                    <a:pt x="253316" y="4134415"/>
                    <a:pt x="338736" y="4219835"/>
                    <a:pt x="444108" y="4219835"/>
                  </a:cubicBezTo>
                  <a:lnTo>
                    <a:pt x="2830439" y="4219835"/>
                  </a:lnTo>
                  <a:cubicBezTo>
                    <a:pt x="2935811" y="4219835"/>
                    <a:pt x="3021231" y="4134415"/>
                    <a:pt x="3021231" y="4029043"/>
                  </a:cubicBezTo>
                  <a:close/>
                  <a:moveTo>
                    <a:pt x="3286897" y="226566"/>
                  </a:moveTo>
                  <a:lnTo>
                    <a:pt x="3286897" y="4431931"/>
                  </a:lnTo>
                  <a:cubicBezTo>
                    <a:pt x="3286897" y="4557060"/>
                    <a:pt x="3185460" y="4658497"/>
                    <a:pt x="3060331" y="4658497"/>
                  </a:cubicBezTo>
                  <a:lnTo>
                    <a:pt x="226566" y="4658497"/>
                  </a:lnTo>
                  <a:cubicBezTo>
                    <a:pt x="101437" y="4658497"/>
                    <a:pt x="0" y="4557060"/>
                    <a:pt x="0" y="4431931"/>
                  </a:cubicBezTo>
                  <a:lnTo>
                    <a:pt x="0" y="226566"/>
                  </a:lnTo>
                  <a:cubicBezTo>
                    <a:pt x="0" y="101437"/>
                    <a:pt x="101437" y="0"/>
                    <a:pt x="226566" y="0"/>
                  </a:cubicBezTo>
                  <a:lnTo>
                    <a:pt x="3060331" y="0"/>
                  </a:lnTo>
                  <a:cubicBezTo>
                    <a:pt x="3185460" y="0"/>
                    <a:pt x="3286897" y="101437"/>
                    <a:pt x="3286897" y="226566"/>
                  </a:cubicBezTo>
                  <a:close/>
                </a:path>
              </a:pathLst>
            </a:custGeom>
            <a:grpFill/>
            <a:ln w="1079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23341" tIns="23340" rIns="0" bIns="233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4200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67" b="0" i="0" u="none" strike="noStrike" kern="0" cap="none" spc="-7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83" name="Rounded Rectangle 18"/>
          <p:cNvSpPr/>
          <p:nvPr/>
        </p:nvSpPr>
        <p:spPr bwMode="auto">
          <a:xfrm>
            <a:off x="2269582" y="3176858"/>
            <a:ext cx="356887" cy="342810"/>
          </a:xfrm>
          <a:custGeom>
            <a:avLst/>
            <a:gdLst/>
            <a:ahLst/>
            <a:cxnLst/>
            <a:rect l="l" t="t" r="r" b="b"/>
            <a:pathLst>
              <a:path w="759909" h="783113">
                <a:moveTo>
                  <a:pt x="428313" y="198314"/>
                </a:moveTo>
                <a:cubicBezTo>
                  <a:pt x="508468" y="198313"/>
                  <a:pt x="573445" y="263292"/>
                  <a:pt x="573446" y="343446"/>
                </a:cubicBezTo>
                <a:cubicBezTo>
                  <a:pt x="573445" y="423600"/>
                  <a:pt x="508468" y="488578"/>
                  <a:pt x="428313" y="488578"/>
                </a:cubicBezTo>
                <a:cubicBezTo>
                  <a:pt x="348160" y="488577"/>
                  <a:pt x="283181" y="423600"/>
                  <a:pt x="283181" y="343446"/>
                </a:cubicBezTo>
                <a:cubicBezTo>
                  <a:pt x="283182" y="263291"/>
                  <a:pt x="348159" y="198314"/>
                  <a:pt x="428313" y="198314"/>
                </a:cubicBezTo>
                <a:close/>
                <a:moveTo>
                  <a:pt x="428313" y="131753"/>
                </a:moveTo>
                <a:cubicBezTo>
                  <a:pt x="311398" y="131753"/>
                  <a:pt x="216620" y="226531"/>
                  <a:pt x="216620" y="343446"/>
                </a:cubicBezTo>
                <a:cubicBezTo>
                  <a:pt x="216620" y="384187"/>
                  <a:pt x="228129" y="422239"/>
                  <a:pt x="251266" y="452558"/>
                </a:cubicBezTo>
                <a:lnTo>
                  <a:pt x="128069" y="575549"/>
                </a:lnTo>
                <a:cubicBezTo>
                  <a:pt x="109922" y="593667"/>
                  <a:pt x="109898" y="623064"/>
                  <a:pt x="128015" y="641211"/>
                </a:cubicBezTo>
                <a:cubicBezTo>
                  <a:pt x="146132" y="659359"/>
                  <a:pt x="175529" y="659383"/>
                  <a:pt x="193677" y="641266"/>
                </a:cubicBezTo>
                <a:lnTo>
                  <a:pt x="316485" y="518662"/>
                </a:lnTo>
                <a:cubicBezTo>
                  <a:pt x="347293" y="542946"/>
                  <a:pt x="386379" y="555139"/>
                  <a:pt x="428313" y="555138"/>
                </a:cubicBezTo>
                <a:cubicBezTo>
                  <a:pt x="545229" y="555139"/>
                  <a:pt x="640006" y="460361"/>
                  <a:pt x="640007" y="343445"/>
                </a:cubicBezTo>
                <a:cubicBezTo>
                  <a:pt x="640006" y="226531"/>
                  <a:pt x="545229" y="131753"/>
                  <a:pt x="428313" y="131753"/>
                </a:cubicBezTo>
                <a:close/>
                <a:moveTo>
                  <a:pt x="126654" y="0"/>
                </a:moveTo>
                <a:lnTo>
                  <a:pt x="633255" y="0"/>
                </a:lnTo>
                <a:cubicBezTo>
                  <a:pt x="703204" y="0"/>
                  <a:pt x="759909" y="56705"/>
                  <a:pt x="759909" y="126654"/>
                </a:cubicBezTo>
                <a:lnTo>
                  <a:pt x="759909" y="656459"/>
                </a:lnTo>
                <a:cubicBezTo>
                  <a:pt x="759909" y="726408"/>
                  <a:pt x="703204" y="783113"/>
                  <a:pt x="633255" y="783113"/>
                </a:cubicBezTo>
                <a:lnTo>
                  <a:pt x="126654" y="783113"/>
                </a:lnTo>
                <a:cubicBezTo>
                  <a:pt x="56705" y="783113"/>
                  <a:pt x="0" y="726408"/>
                  <a:pt x="0" y="656459"/>
                </a:cubicBezTo>
                <a:lnTo>
                  <a:pt x="0" y="126654"/>
                </a:lnTo>
                <a:cubicBezTo>
                  <a:pt x="0" y="56705"/>
                  <a:pt x="56705" y="0"/>
                  <a:pt x="126654" y="0"/>
                </a:cubicBezTo>
                <a:close/>
              </a:path>
            </a:pathLst>
          </a:custGeom>
          <a:solidFill>
            <a:schemeClr val="tx1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23341" tIns="23341" rIns="0" bIns="4668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46661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67" b="0" i="0" u="none" strike="noStrike" kern="0" cap="none" spc="-25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sp>
        <p:nvSpPr>
          <p:cNvPr id="84" name="Freeform 49"/>
          <p:cNvSpPr>
            <a:spLocks noChangeAspect="1"/>
          </p:cNvSpPr>
          <p:nvPr/>
        </p:nvSpPr>
        <p:spPr bwMode="auto">
          <a:xfrm>
            <a:off x="2810857" y="3173052"/>
            <a:ext cx="320121" cy="291343"/>
          </a:xfrm>
          <a:custGeom>
            <a:avLst/>
            <a:gdLst>
              <a:gd name="connsiteX0" fmla="*/ 938222 w 2721566"/>
              <a:gd name="connsiteY0" fmla="*/ 1618192 h 2743150"/>
              <a:gd name="connsiteX1" fmla="*/ 920717 w 2721566"/>
              <a:gd name="connsiteY1" fmla="*/ 1627693 h 2743150"/>
              <a:gd name="connsiteX2" fmla="*/ 857026 w 2721566"/>
              <a:gd name="connsiteY2" fmla="*/ 1647464 h 2743150"/>
              <a:gd name="connsiteX3" fmla="*/ 847920 w 2721566"/>
              <a:gd name="connsiteY3" fmla="*/ 1648382 h 2743150"/>
              <a:gd name="connsiteX4" fmla="*/ 837756 w 2721566"/>
              <a:gd name="connsiteY4" fmla="*/ 1715659 h 2743150"/>
              <a:gd name="connsiteX5" fmla="*/ 832560 w 2721566"/>
              <a:gd name="connsiteY5" fmla="*/ 1819620 h 2743150"/>
              <a:gd name="connsiteX6" fmla="*/ 1127348 w 2721566"/>
              <a:gd name="connsiteY6" fmla="*/ 2538605 h 2743150"/>
              <a:gd name="connsiteX7" fmla="*/ 1128948 w 2721566"/>
              <a:gd name="connsiteY7" fmla="*/ 2540074 h 2743150"/>
              <a:gd name="connsiteX8" fmla="*/ 1240036 w 2721566"/>
              <a:gd name="connsiteY8" fmla="*/ 2557183 h 2743150"/>
              <a:gd name="connsiteX9" fmla="*/ 1360783 w 2721566"/>
              <a:gd name="connsiteY9" fmla="*/ 2563336 h 2743150"/>
              <a:gd name="connsiteX10" fmla="*/ 2448946 w 2721566"/>
              <a:gd name="connsiteY10" fmla="*/ 1835462 h 2743150"/>
              <a:gd name="connsiteX11" fmla="*/ 2454283 w 2721566"/>
              <a:gd name="connsiteY11" fmla="*/ 1820747 h 2743150"/>
              <a:gd name="connsiteX12" fmla="*/ 2454163 w 2721566"/>
              <a:gd name="connsiteY12" fmla="*/ 1820820 h 2743150"/>
              <a:gd name="connsiteX13" fmla="*/ 2315755 w 2721566"/>
              <a:gd name="connsiteY13" fmla="*/ 1885930 h 2743150"/>
              <a:gd name="connsiteX14" fmla="*/ 2314668 w 2721566"/>
              <a:gd name="connsiteY14" fmla="*/ 1896707 h 2743150"/>
              <a:gd name="connsiteX15" fmla="*/ 2121262 w 2721566"/>
              <a:gd name="connsiteY15" fmla="*/ 2054337 h 2743150"/>
              <a:gd name="connsiteX16" fmla="*/ 1981667 w 2721566"/>
              <a:gd name="connsiteY16" fmla="*/ 1996515 h 2743150"/>
              <a:gd name="connsiteX17" fmla="*/ 1964402 w 2721566"/>
              <a:gd name="connsiteY17" fmla="*/ 1970907 h 2743150"/>
              <a:gd name="connsiteX18" fmla="*/ 1833472 w 2721566"/>
              <a:gd name="connsiteY18" fmla="*/ 1979231 h 2743150"/>
              <a:gd name="connsiteX19" fmla="*/ 1005171 w 2721566"/>
              <a:gd name="connsiteY19" fmla="*/ 1679521 h 2743150"/>
              <a:gd name="connsiteX20" fmla="*/ 1275943 w 2721566"/>
              <a:gd name="connsiteY20" fmla="*/ 976747 h 2743150"/>
              <a:gd name="connsiteX21" fmla="*/ 1198822 w 2721566"/>
              <a:gd name="connsiteY21" fmla="*/ 1035009 h 2743150"/>
              <a:gd name="connsiteX22" fmla="*/ 1083955 w 2721566"/>
              <a:gd name="connsiteY22" fmla="*/ 1151055 h 2743150"/>
              <a:gd name="connsiteX23" fmla="*/ 1101284 w 2721566"/>
              <a:gd name="connsiteY23" fmla="*/ 1182982 h 2743150"/>
              <a:gd name="connsiteX24" fmla="*/ 1127948 w 2721566"/>
              <a:gd name="connsiteY24" fmla="*/ 1315054 h 2743150"/>
              <a:gd name="connsiteX25" fmla="*/ 1070000 w 2721566"/>
              <a:gd name="connsiteY25" fmla="*/ 1504762 h 2743150"/>
              <a:gd name="connsiteX26" fmla="*/ 1069531 w 2721566"/>
              <a:gd name="connsiteY26" fmla="*/ 1505330 h 2743150"/>
              <a:gd name="connsiteX27" fmla="*/ 1135763 w 2721566"/>
              <a:gd name="connsiteY27" fmla="*/ 1563925 h 2743150"/>
              <a:gd name="connsiteX28" fmla="*/ 1833472 w 2721566"/>
              <a:gd name="connsiteY28" fmla="*/ 1807163 h 2743150"/>
              <a:gd name="connsiteX29" fmla="*/ 1933016 w 2721566"/>
              <a:gd name="connsiteY29" fmla="*/ 1800511 h 2743150"/>
              <a:gd name="connsiteX30" fmla="*/ 1939359 w 2721566"/>
              <a:gd name="connsiteY30" fmla="*/ 1780077 h 2743150"/>
              <a:gd name="connsiteX31" fmla="*/ 2121262 w 2721566"/>
              <a:gd name="connsiteY31" fmla="*/ 1659503 h 2743150"/>
              <a:gd name="connsiteX32" fmla="*/ 2260857 w 2721566"/>
              <a:gd name="connsiteY32" fmla="*/ 1717325 h 2743150"/>
              <a:gd name="connsiteX33" fmla="*/ 2263606 w 2721566"/>
              <a:gd name="connsiteY33" fmla="*/ 1721402 h 2743150"/>
              <a:gd name="connsiteX34" fmla="*/ 2267011 w 2721566"/>
              <a:gd name="connsiteY34" fmla="*/ 1720229 h 2743150"/>
              <a:gd name="connsiteX35" fmla="*/ 2395987 w 2721566"/>
              <a:gd name="connsiteY35" fmla="*/ 1656069 h 2743150"/>
              <a:gd name="connsiteX36" fmla="*/ 2524667 w 2721566"/>
              <a:gd name="connsiteY36" fmla="*/ 1566083 h 2743150"/>
              <a:gd name="connsiteX37" fmla="*/ 2528847 w 2721566"/>
              <a:gd name="connsiteY37" fmla="*/ 1538444 h 2743150"/>
              <a:gd name="connsiteX38" fmla="*/ 2391754 w 2721566"/>
              <a:gd name="connsiteY38" fmla="*/ 1531467 h 2743150"/>
              <a:gd name="connsiteX39" fmla="*/ 2095342 w 2721566"/>
              <a:gd name="connsiteY39" fmla="*/ 1475341 h 2743150"/>
              <a:gd name="connsiteX40" fmla="*/ 1956122 w 2721566"/>
              <a:gd name="connsiteY40" fmla="*/ 1430037 h 2743150"/>
              <a:gd name="connsiteX41" fmla="*/ 1947455 w 2721566"/>
              <a:gd name="connsiteY41" fmla="*/ 1435880 h 2743150"/>
              <a:gd name="connsiteX42" fmla="*/ 1867644 w 2721566"/>
              <a:gd name="connsiteY42" fmla="*/ 1451993 h 2743150"/>
              <a:gd name="connsiteX43" fmla="*/ 1678717 w 2721566"/>
              <a:gd name="connsiteY43" fmla="*/ 1326764 h 2743150"/>
              <a:gd name="connsiteX44" fmla="*/ 1667734 w 2721566"/>
              <a:gd name="connsiteY44" fmla="*/ 1291381 h 2743150"/>
              <a:gd name="connsiteX45" fmla="*/ 1564981 w 2721566"/>
              <a:gd name="connsiteY45" fmla="*/ 1226519 h 2743150"/>
              <a:gd name="connsiteX46" fmla="*/ 1339681 w 2721566"/>
              <a:gd name="connsiteY46" fmla="*/ 1042541 h 2743150"/>
              <a:gd name="connsiteX47" fmla="*/ 1839031 w 2721566"/>
              <a:gd name="connsiteY47" fmla="*/ 802822 h 2743150"/>
              <a:gd name="connsiteX48" fmla="*/ 1539738 w 2721566"/>
              <a:gd name="connsiteY48" fmla="*/ 848536 h 2743150"/>
              <a:gd name="connsiteX49" fmla="*/ 1497492 w 2721566"/>
              <a:gd name="connsiteY49" fmla="*/ 864156 h 2743150"/>
              <a:gd name="connsiteX50" fmla="*/ 1530174 w 2721566"/>
              <a:gd name="connsiteY50" fmla="*/ 896941 h 2743150"/>
              <a:gd name="connsiteX51" fmla="*/ 1723667 w 2721566"/>
              <a:gd name="connsiteY51" fmla="*/ 1048242 h 2743150"/>
              <a:gd name="connsiteX52" fmla="*/ 1765091 w 2721566"/>
              <a:gd name="connsiteY52" fmla="*/ 1073360 h 2743150"/>
              <a:gd name="connsiteX53" fmla="*/ 1787834 w 2721566"/>
              <a:gd name="connsiteY53" fmla="*/ 1058026 h 2743150"/>
              <a:gd name="connsiteX54" fmla="*/ 1867644 w 2721566"/>
              <a:gd name="connsiteY54" fmla="*/ 1041913 h 2743150"/>
              <a:gd name="connsiteX55" fmla="*/ 2068519 w 2721566"/>
              <a:gd name="connsiteY55" fmla="*/ 1205631 h 2743150"/>
              <a:gd name="connsiteX56" fmla="*/ 2069865 w 2721566"/>
              <a:gd name="connsiteY56" fmla="*/ 1218984 h 2743150"/>
              <a:gd name="connsiteX57" fmla="*/ 2174899 w 2721566"/>
              <a:gd name="connsiteY57" fmla="*/ 1251806 h 2743150"/>
              <a:gd name="connsiteX58" fmla="*/ 2425742 w 2721566"/>
              <a:gd name="connsiteY58" fmla="*/ 1297108 h 2743150"/>
              <a:gd name="connsiteX59" fmla="*/ 2538295 w 2721566"/>
              <a:gd name="connsiteY59" fmla="*/ 1302486 h 2743150"/>
              <a:gd name="connsiteX60" fmla="*/ 2535655 w 2721566"/>
              <a:gd name="connsiteY60" fmla="*/ 1249725 h 2743150"/>
              <a:gd name="connsiteX61" fmla="*/ 2517759 w 2721566"/>
              <a:gd name="connsiteY61" fmla="*/ 1131394 h 2743150"/>
              <a:gd name="connsiteX62" fmla="*/ 2497854 w 2721566"/>
              <a:gd name="connsiteY62" fmla="*/ 1053274 h 2743150"/>
              <a:gd name="connsiteX63" fmla="*/ 2371258 w 2721566"/>
              <a:gd name="connsiteY63" fmla="*/ 956458 h 2743150"/>
              <a:gd name="connsiteX64" fmla="*/ 1839031 w 2721566"/>
              <a:gd name="connsiteY64" fmla="*/ 802822 h 2743150"/>
              <a:gd name="connsiteX65" fmla="*/ 540853 w 2721566"/>
              <a:gd name="connsiteY65" fmla="*/ 514986 h 2743150"/>
              <a:gd name="connsiteX66" fmla="*/ 525712 w 2721566"/>
              <a:gd name="connsiteY66" fmla="*/ 528873 h 2743150"/>
              <a:gd name="connsiteX67" fmla="*/ 179814 w 2721566"/>
              <a:gd name="connsiteY67" fmla="*/ 1371575 h 2743150"/>
              <a:gd name="connsiteX68" fmla="*/ 609577 w 2721566"/>
              <a:gd name="connsiteY68" fmla="*/ 2291196 h 2743150"/>
              <a:gd name="connsiteX69" fmla="*/ 629751 w 2721566"/>
              <a:gd name="connsiteY69" fmla="*/ 2306419 h 2743150"/>
              <a:gd name="connsiteX70" fmla="*/ 627186 w 2721566"/>
              <a:gd name="connsiteY70" fmla="*/ 2300879 h 2743150"/>
              <a:gd name="connsiteX71" fmla="*/ 536863 w 2721566"/>
              <a:gd name="connsiteY71" fmla="*/ 1819620 h 2743150"/>
              <a:gd name="connsiteX72" fmla="*/ 543586 w 2721566"/>
              <a:gd name="connsiteY72" fmla="*/ 1685426 h 2743150"/>
              <a:gd name="connsiteX73" fmla="*/ 561714 w 2721566"/>
              <a:gd name="connsiteY73" fmla="*/ 1565698 h 2743150"/>
              <a:gd name="connsiteX74" fmla="*/ 548721 w 2721566"/>
              <a:gd name="connsiteY74" fmla="*/ 1554978 h 2743150"/>
              <a:gd name="connsiteX75" fmla="*/ 449342 w 2721566"/>
              <a:gd name="connsiteY75" fmla="*/ 1315054 h 2743150"/>
              <a:gd name="connsiteX76" fmla="*/ 548721 w 2721566"/>
              <a:gd name="connsiteY76" fmla="*/ 1075131 h 2743150"/>
              <a:gd name="connsiteX77" fmla="*/ 586510 w 2721566"/>
              <a:gd name="connsiteY77" fmla="*/ 1043953 h 2743150"/>
              <a:gd name="connsiteX78" fmla="*/ 557759 w 2721566"/>
              <a:gd name="connsiteY78" fmla="*/ 931249 h 2743150"/>
              <a:gd name="connsiteX79" fmla="*/ 531303 w 2721566"/>
              <a:gd name="connsiteY79" fmla="*/ 666735 h 2743150"/>
              <a:gd name="connsiteX80" fmla="*/ 535100 w 2721566"/>
              <a:gd name="connsiteY80" fmla="*/ 565752 h 2743150"/>
              <a:gd name="connsiteX81" fmla="*/ 870476 w 2721566"/>
              <a:gd name="connsiteY81" fmla="*/ 288355 h 2743150"/>
              <a:gd name="connsiteX82" fmla="*/ 797863 w 2721566"/>
              <a:gd name="connsiteY82" fmla="*/ 323653 h 2743150"/>
              <a:gd name="connsiteX83" fmla="*/ 747285 w 2721566"/>
              <a:gd name="connsiteY83" fmla="*/ 354661 h 2743150"/>
              <a:gd name="connsiteX84" fmla="*/ 726331 w 2721566"/>
              <a:gd name="connsiteY84" fmla="*/ 436900 h 2743150"/>
              <a:gd name="connsiteX85" fmla="*/ 703371 w 2721566"/>
              <a:gd name="connsiteY85" fmla="*/ 666735 h 2743150"/>
              <a:gd name="connsiteX86" fmla="*/ 716392 w 2721566"/>
              <a:gd name="connsiteY86" fmla="*/ 840411 h 2743150"/>
              <a:gd name="connsiteX87" fmla="*/ 748231 w 2721566"/>
              <a:gd name="connsiteY87" fmla="*/ 979825 h 2743150"/>
              <a:gd name="connsiteX88" fmla="*/ 788645 w 2721566"/>
              <a:gd name="connsiteY88" fmla="*/ 975751 h 2743150"/>
              <a:gd name="connsiteX89" fmla="*/ 837858 w 2721566"/>
              <a:gd name="connsiteY89" fmla="*/ 980712 h 2743150"/>
              <a:gd name="connsiteX90" fmla="*/ 918259 w 2721566"/>
              <a:gd name="connsiteY90" fmla="*/ 891546 h 2743150"/>
              <a:gd name="connsiteX91" fmla="*/ 1010731 w 2721566"/>
              <a:gd name="connsiteY91" fmla="*/ 806835 h 2743150"/>
              <a:gd name="connsiteX92" fmla="*/ 1091088 w 2721566"/>
              <a:gd name="connsiteY92" fmla="*/ 746269 h 2743150"/>
              <a:gd name="connsiteX93" fmla="*/ 1090355 w 2721566"/>
              <a:gd name="connsiteY93" fmla="*/ 745257 h 2743150"/>
              <a:gd name="connsiteX94" fmla="*/ 908795 w 2721566"/>
              <a:gd name="connsiteY94" fmla="*/ 398035 h 2743150"/>
              <a:gd name="connsiteX95" fmla="*/ 1360783 w 2721566"/>
              <a:gd name="connsiteY95" fmla="*/ 179814 h 2743150"/>
              <a:gd name="connsiteX96" fmla="*/ 1122777 w 2721566"/>
              <a:gd name="connsiteY96" fmla="*/ 204027 h 2743150"/>
              <a:gd name="connsiteX97" fmla="*/ 1095649 w 2721566"/>
              <a:gd name="connsiteY97" fmla="*/ 211066 h 2743150"/>
              <a:gd name="connsiteX98" fmla="*/ 1107447 w 2721566"/>
              <a:gd name="connsiteY98" fmla="*/ 252895 h 2743150"/>
              <a:gd name="connsiteX99" fmla="*/ 1260905 w 2721566"/>
              <a:gd name="connsiteY99" fmla="*/ 573486 h 2743150"/>
              <a:gd name="connsiteX100" fmla="*/ 1297851 w 2721566"/>
              <a:gd name="connsiteY100" fmla="*/ 626931 h 2743150"/>
              <a:gd name="connsiteX101" fmla="*/ 1332168 w 2721566"/>
              <a:gd name="connsiteY101" fmla="*/ 610267 h 2743150"/>
              <a:gd name="connsiteX102" fmla="*/ 1839031 w 2721566"/>
              <a:gd name="connsiteY102" fmla="*/ 507125 h 2743150"/>
              <a:gd name="connsiteX103" fmla="*/ 2203231 w 2721566"/>
              <a:gd name="connsiteY103" fmla="*/ 559150 h 2743150"/>
              <a:gd name="connsiteX104" fmla="*/ 2233085 w 2721566"/>
              <a:gd name="connsiteY104" fmla="*/ 570212 h 2743150"/>
              <a:gd name="connsiteX105" fmla="*/ 2195854 w 2721566"/>
              <a:gd name="connsiteY105" fmla="*/ 528873 h 2743150"/>
              <a:gd name="connsiteX106" fmla="*/ 1360783 w 2721566"/>
              <a:gd name="connsiteY106" fmla="*/ 179814 h 2743150"/>
              <a:gd name="connsiteX107" fmla="*/ 1360783 w 2721566"/>
              <a:gd name="connsiteY107" fmla="*/ 0 h 2743150"/>
              <a:gd name="connsiteX108" fmla="*/ 2721566 w 2721566"/>
              <a:gd name="connsiteY108" fmla="*/ 1371575 h 2743150"/>
              <a:gd name="connsiteX109" fmla="*/ 1360783 w 2721566"/>
              <a:gd name="connsiteY109" fmla="*/ 2743150 h 2743150"/>
              <a:gd name="connsiteX110" fmla="*/ 0 w 2721566"/>
              <a:gd name="connsiteY110" fmla="*/ 1371575 h 2743150"/>
              <a:gd name="connsiteX111" fmla="*/ 599956 w 2721566"/>
              <a:gd name="connsiteY111" fmla="*/ 234244 h 2743150"/>
              <a:gd name="connsiteX112" fmla="*/ 605849 w 2721566"/>
              <a:gd name="connsiteY112" fmla="*/ 230636 h 2743150"/>
              <a:gd name="connsiteX113" fmla="*/ 664406 w 2721566"/>
              <a:gd name="connsiteY113" fmla="*/ 194779 h 2743150"/>
              <a:gd name="connsiteX114" fmla="*/ 712153 w 2721566"/>
              <a:gd name="connsiteY114" fmla="*/ 165541 h 2743150"/>
              <a:gd name="connsiteX115" fmla="*/ 1360783 w 2721566"/>
              <a:gd name="connsiteY115" fmla="*/ 0 h 2743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</a:cxnLst>
            <a:rect l="l" t="t" r="r" b="b"/>
            <a:pathLst>
              <a:path w="2721566" h="2743150">
                <a:moveTo>
                  <a:pt x="938222" y="1618192"/>
                </a:moveTo>
                <a:lnTo>
                  <a:pt x="920717" y="1627693"/>
                </a:lnTo>
                <a:cubicBezTo>
                  <a:pt x="900420" y="1636278"/>
                  <a:pt x="879114" y="1642944"/>
                  <a:pt x="857026" y="1647464"/>
                </a:cubicBezTo>
                <a:lnTo>
                  <a:pt x="847920" y="1648382"/>
                </a:lnTo>
                <a:lnTo>
                  <a:pt x="837756" y="1715659"/>
                </a:lnTo>
                <a:cubicBezTo>
                  <a:pt x="834320" y="1749840"/>
                  <a:pt x="832560" y="1784523"/>
                  <a:pt x="832560" y="1819620"/>
                </a:cubicBezTo>
                <a:cubicBezTo>
                  <a:pt x="832560" y="2100401"/>
                  <a:pt x="945213" y="2354601"/>
                  <a:pt x="1127348" y="2538605"/>
                </a:cubicBezTo>
                <a:lnTo>
                  <a:pt x="1128948" y="2540074"/>
                </a:lnTo>
                <a:lnTo>
                  <a:pt x="1240036" y="2557183"/>
                </a:lnTo>
                <a:cubicBezTo>
                  <a:pt x="1279737" y="2561252"/>
                  <a:pt x="1320019" y="2563336"/>
                  <a:pt x="1360783" y="2563336"/>
                </a:cubicBezTo>
                <a:cubicBezTo>
                  <a:pt x="1849956" y="2563336"/>
                  <a:pt x="2269665" y="2263203"/>
                  <a:pt x="2448946" y="1835462"/>
                </a:cubicBezTo>
                <a:lnTo>
                  <a:pt x="2454283" y="1820747"/>
                </a:lnTo>
                <a:lnTo>
                  <a:pt x="2454163" y="1820820"/>
                </a:lnTo>
                <a:lnTo>
                  <a:pt x="2315755" y="1885930"/>
                </a:lnTo>
                <a:lnTo>
                  <a:pt x="2314668" y="1896707"/>
                </a:lnTo>
                <a:cubicBezTo>
                  <a:pt x="2296260" y="1986666"/>
                  <a:pt x="2216663" y="2054337"/>
                  <a:pt x="2121262" y="2054337"/>
                </a:cubicBezTo>
                <a:cubicBezTo>
                  <a:pt x="2066747" y="2054337"/>
                  <a:pt x="2017393" y="2032241"/>
                  <a:pt x="1981667" y="1996515"/>
                </a:cubicBezTo>
                <a:lnTo>
                  <a:pt x="1964402" y="1970907"/>
                </a:lnTo>
                <a:lnTo>
                  <a:pt x="1833472" y="1979231"/>
                </a:lnTo>
                <a:cubicBezTo>
                  <a:pt x="1518836" y="1979231"/>
                  <a:pt x="1230263" y="1866756"/>
                  <a:pt x="1005171" y="1679521"/>
                </a:cubicBezTo>
                <a:close/>
                <a:moveTo>
                  <a:pt x="1275943" y="976747"/>
                </a:moveTo>
                <a:lnTo>
                  <a:pt x="1198822" y="1035009"/>
                </a:lnTo>
                <a:lnTo>
                  <a:pt x="1083955" y="1151055"/>
                </a:lnTo>
                <a:lnTo>
                  <a:pt x="1101284" y="1182982"/>
                </a:lnTo>
                <a:cubicBezTo>
                  <a:pt x="1118453" y="1223576"/>
                  <a:pt x="1127948" y="1268206"/>
                  <a:pt x="1127948" y="1315054"/>
                </a:cubicBezTo>
                <a:cubicBezTo>
                  <a:pt x="1127948" y="1385326"/>
                  <a:pt x="1106585" y="1450609"/>
                  <a:pt x="1070000" y="1504762"/>
                </a:cubicBezTo>
                <a:lnTo>
                  <a:pt x="1069531" y="1505330"/>
                </a:lnTo>
                <a:lnTo>
                  <a:pt x="1135763" y="1563925"/>
                </a:lnTo>
                <a:cubicBezTo>
                  <a:pt x="1327889" y="1716289"/>
                  <a:pt x="1570164" y="1807163"/>
                  <a:pt x="1833472" y="1807163"/>
                </a:cubicBezTo>
                <a:lnTo>
                  <a:pt x="1933016" y="1800511"/>
                </a:lnTo>
                <a:lnTo>
                  <a:pt x="1939359" y="1780077"/>
                </a:lnTo>
                <a:cubicBezTo>
                  <a:pt x="1969329" y="1709221"/>
                  <a:pt x="2039490" y="1659503"/>
                  <a:pt x="2121262" y="1659503"/>
                </a:cubicBezTo>
                <a:cubicBezTo>
                  <a:pt x="2175777" y="1659503"/>
                  <a:pt x="2225132" y="1681600"/>
                  <a:pt x="2260857" y="1717325"/>
                </a:cubicBezTo>
                <a:lnTo>
                  <a:pt x="2263606" y="1721402"/>
                </a:lnTo>
                <a:lnTo>
                  <a:pt x="2267011" y="1720229"/>
                </a:lnTo>
                <a:cubicBezTo>
                  <a:pt x="2311512" y="1701558"/>
                  <a:pt x="2354575" y="1680099"/>
                  <a:pt x="2395987" y="1656069"/>
                </a:cubicBezTo>
                <a:lnTo>
                  <a:pt x="2524667" y="1566083"/>
                </a:lnTo>
                <a:lnTo>
                  <a:pt x="2528847" y="1538444"/>
                </a:lnTo>
                <a:lnTo>
                  <a:pt x="2391754" y="1531467"/>
                </a:lnTo>
                <a:cubicBezTo>
                  <a:pt x="2290200" y="1521072"/>
                  <a:pt x="2191156" y="1502121"/>
                  <a:pt x="2095342" y="1475341"/>
                </a:cubicBezTo>
                <a:lnTo>
                  <a:pt x="1956122" y="1430037"/>
                </a:lnTo>
                <a:lnTo>
                  <a:pt x="1947455" y="1435880"/>
                </a:lnTo>
                <a:cubicBezTo>
                  <a:pt x="1922924" y="1446256"/>
                  <a:pt x="1895954" y="1451993"/>
                  <a:pt x="1867644" y="1451993"/>
                </a:cubicBezTo>
                <a:cubicBezTo>
                  <a:pt x="1782714" y="1451993"/>
                  <a:pt x="1709844" y="1400356"/>
                  <a:pt x="1678717" y="1326764"/>
                </a:cubicBezTo>
                <a:lnTo>
                  <a:pt x="1667734" y="1291381"/>
                </a:lnTo>
                <a:lnTo>
                  <a:pt x="1564981" y="1226519"/>
                </a:lnTo>
                <a:cubicBezTo>
                  <a:pt x="1484969" y="1171328"/>
                  <a:pt x="1409629" y="1109760"/>
                  <a:pt x="1339681" y="1042541"/>
                </a:cubicBezTo>
                <a:close/>
                <a:moveTo>
                  <a:pt x="1839031" y="802822"/>
                </a:moveTo>
                <a:cubicBezTo>
                  <a:pt x="1734808" y="802822"/>
                  <a:pt x="1634285" y="818826"/>
                  <a:pt x="1539738" y="848536"/>
                </a:cubicBezTo>
                <a:lnTo>
                  <a:pt x="1497492" y="864156"/>
                </a:lnTo>
                <a:lnTo>
                  <a:pt x="1530174" y="896941"/>
                </a:lnTo>
                <a:cubicBezTo>
                  <a:pt x="1590527" y="952297"/>
                  <a:pt x="1655217" y="1002924"/>
                  <a:pt x="1723667" y="1048242"/>
                </a:cubicBezTo>
                <a:lnTo>
                  <a:pt x="1765091" y="1073360"/>
                </a:lnTo>
                <a:lnTo>
                  <a:pt x="1787834" y="1058026"/>
                </a:lnTo>
                <a:cubicBezTo>
                  <a:pt x="1812364" y="1047651"/>
                  <a:pt x="1839334" y="1041913"/>
                  <a:pt x="1867644" y="1041913"/>
                </a:cubicBezTo>
                <a:cubicBezTo>
                  <a:pt x="1966729" y="1041913"/>
                  <a:pt x="2049399" y="1112198"/>
                  <a:pt x="2068519" y="1205631"/>
                </a:cubicBezTo>
                <a:lnTo>
                  <a:pt x="2069865" y="1218984"/>
                </a:lnTo>
                <a:lnTo>
                  <a:pt x="2174899" y="1251806"/>
                </a:lnTo>
                <a:cubicBezTo>
                  <a:pt x="2256094" y="1273569"/>
                  <a:pt x="2339900" y="1288863"/>
                  <a:pt x="2425742" y="1297108"/>
                </a:cubicBezTo>
                <a:lnTo>
                  <a:pt x="2538295" y="1302486"/>
                </a:lnTo>
                <a:lnTo>
                  <a:pt x="2535655" y="1249725"/>
                </a:lnTo>
                <a:cubicBezTo>
                  <a:pt x="2531623" y="1209661"/>
                  <a:pt x="2525625" y="1170184"/>
                  <a:pt x="2517759" y="1131394"/>
                </a:cubicBezTo>
                <a:lnTo>
                  <a:pt x="2497854" y="1053274"/>
                </a:lnTo>
                <a:lnTo>
                  <a:pt x="2371258" y="956458"/>
                </a:lnTo>
                <a:cubicBezTo>
                  <a:pt x="2216862" y="859087"/>
                  <a:pt x="2034451" y="802822"/>
                  <a:pt x="1839031" y="802822"/>
                </a:cubicBezTo>
                <a:close/>
                <a:moveTo>
                  <a:pt x="540853" y="514986"/>
                </a:moveTo>
                <a:lnTo>
                  <a:pt x="525712" y="528873"/>
                </a:lnTo>
                <a:cubicBezTo>
                  <a:pt x="311998" y="744539"/>
                  <a:pt x="179814" y="1042480"/>
                  <a:pt x="179814" y="1371575"/>
                </a:cubicBezTo>
                <a:cubicBezTo>
                  <a:pt x="179814" y="1741808"/>
                  <a:pt x="347110" y="2072609"/>
                  <a:pt x="609577" y="2291196"/>
                </a:cubicBezTo>
                <a:lnTo>
                  <a:pt x="629751" y="2306419"/>
                </a:lnTo>
                <a:lnTo>
                  <a:pt x="627186" y="2300879"/>
                </a:lnTo>
                <a:cubicBezTo>
                  <a:pt x="568888" y="2151864"/>
                  <a:pt x="536863" y="1989512"/>
                  <a:pt x="536863" y="1819620"/>
                </a:cubicBezTo>
                <a:cubicBezTo>
                  <a:pt x="536863" y="1774316"/>
                  <a:pt x="539140" y="1729548"/>
                  <a:pt x="543586" y="1685426"/>
                </a:cubicBezTo>
                <a:lnTo>
                  <a:pt x="561714" y="1565698"/>
                </a:lnTo>
                <a:lnTo>
                  <a:pt x="548721" y="1554978"/>
                </a:lnTo>
                <a:cubicBezTo>
                  <a:pt x="487320" y="1493576"/>
                  <a:pt x="449342" y="1408750"/>
                  <a:pt x="449342" y="1315054"/>
                </a:cubicBezTo>
                <a:cubicBezTo>
                  <a:pt x="449342" y="1221358"/>
                  <a:pt x="487320" y="1136533"/>
                  <a:pt x="548721" y="1075131"/>
                </a:cubicBezTo>
                <a:lnTo>
                  <a:pt x="586510" y="1043953"/>
                </a:lnTo>
                <a:lnTo>
                  <a:pt x="557759" y="931249"/>
                </a:lnTo>
                <a:cubicBezTo>
                  <a:pt x="540412" y="845808"/>
                  <a:pt x="531303" y="757344"/>
                  <a:pt x="531303" y="666735"/>
                </a:cubicBezTo>
                <a:cubicBezTo>
                  <a:pt x="531303" y="632757"/>
                  <a:pt x="532584" y="599081"/>
                  <a:pt x="535100" y="565752"/>
                </a:cubicBezTo>
                <a:close/>
                <a:moveTo>
                  <a:pt x="870476" y="288355"/>
                </a:moveTo>
                <a:lnTo>
                  <a:pt x="797863" y="323653"/>
                </a:lnTo>
                <a:lnTo>
                  <a:pt x="747285" y="354661"/>
                </a:lnTo>
                <a:lnTo>
                  <a:pt x="726331" y="436900"/>
                </a:lnTo>
                <a:cubicBezTo>
                  <a:pt x="711277" y="511139"/>
                  <a:pt x="703371" y="588006"/>
                  <a:pt x="703371" y="666735"/>
                </a:cubicBezTo>
                <a:cubicBezTo>
                  <a:pt x="703371" y="725782"/>
                  <a:pt x="707818" y="783782"/>
                  <a:pt x="716392" y="840411"/>
                </a:cubicBezTo>
                <a:lnTo>
                  <a:pt x="748231" y="979825"/>
                </a:lnTo>
                <a:lnTo>
                  <a:pt x="788645" y="975751"/>
                </a:lnTo>
                <a:lnTo>
                  <a:pt x="837858" y="980712"/>
                </a:lnTo>
                <a:lnTo>
                  <a:pt x="918259" y="891546"/>
                </a:lnTo>
                <a:cubicBezTo>
                  <a:pt x="947715" y="861857"/>
                  <a:pt x="978575" y="833583"/>
                  <a:pt x="1010731" y="806835"/>
                </a:cubicBezTo>
                <a:lnTo>
                  <a:pt x="1091088" y="746269"/>
                </a:lnTo>
                <a:lnTo>
                  <a:pt x="1090355" y="745257"/>
                </a:lnTo>
                <a:cubicBezTo>
                  <a:pt x="1017972" y="637265"/>
                  <a:pt x="956882" y="520950"/>
                  <a:pt x="908795" y="398035"/>
                </a:cubicBezTo>
                <a:close/>
                <a:moveTo>
                  <a:pt x="1360783" y="179814"/>
                </a:moveTo>
                <a:cubicBezTo>
                  <a:pt x="1279254" y="179814"/>
                  <a:pt x="1199655" y="188151"/>
                  <a:pt x="1122777" y="204027"/>
                </a:cubicBezTo>
                <a:lnTo>
                  <a:pt x="1095649" y="211066"/>
                </a:lnTo>
                <a:lnTo>
                  <a:pt x="1107447" y="252895"/>
                </a:lnTo>
                <a:cubicBezTo>
                  <a:pt x="1146623" y="366253"/>
                  <a:pt x="1198334" y="473680"/>
                  <a:pt x="1260905" y="573486"/>
                </a:cubicBezTo>
                <a:lnTo>
                  <a:pt x="1297851" y="626931"/>
                </a:lnTo>
                <a:lnTo>
                  <a:pt x="1332168" y="610267"/>
                </a:lnTo>
                <a:cubicBezTo>
                  <a:pt x="1487958" y="543852"/>
                  <a:pt x="1659240" y="507125"/>
                  <a:pt x="1839031" y="507125"/>
                </a:cubicBezTo>
                <a:cubicBezTo>
                  <a:pt x="1965448" y="507125"/>
                  <a:pt x="2087657" y="525282"/>
                  <a:pt x="2203231" y="559150"/>
                </a:cubicBezTo>
                <a:lnTo>
                  <a:pt x="2233085" y="570212"/>
                </a:lnTo>
                <a:lnTo>
                  <a:pt x="2195854" y="528873"/>
                </a:lnTo>
                <a:cubicBezTo>
                  <a:pt x="1982141" y="313207"/>
                  <a:pt x="1686899" y="179814"/>
                  <a:pt x="1360783" y="179814"/>
                </a:cubicBezTo>
                <a:close/>
                <a:moveTo>
                  <a:pt x="1360783" y="0"/>
                </a:moveTo>
                <a:cubicBezTo>
                  <a:pt x="2112323" y="0"/>
                  <a:pt x="2721566" y="614075"/>
                  <a:pt x="2721566" y="1371575"/>
                </a:cubicBezTo>
                <a:cubicBezTo>
                  <a:pt x="2721566" y="2129075"/>
                  <a:pt x="2112323" y="2743150"/>
                  <a:pt x="1360783" y="2743150"/>
                </a:cubicBezTo>
                <a:cubicBezTo>
                  <a:pt x="609243" y="2743150"/>
                  <a:pt x="0" y="2129075"/>
                  <a:pt x="0" y="1371575"/>
                </a:cubicBezTo>
                <a:cubicBezTo>
                  <a:pt x="0" y="898138"/>
                  <a:pt x="237985" y="480726"/>
                  <a:pt x="599956" y="234244"/>
                </a:cubicBezTo>
                <a:lnTo>
                  <a:pt x="605849" y="230636"/>
                </a:lnTo>
                <a:lnTo>
                  <a:pt x="664406" y="194779"/>
                </a:lnTo>
                <a:lnTo>
                  <a:pt x="712153" y="165541"/>
                </a:lnTo>
                <a:cubicBezTo>
                  <a:pt x="904967" y="59968"/>
                  <a:pt x="1125927" y="0"/>
                  <a:pt x="1360783" y="0"/>
                </a:cubicBezTo>
                <a:close/>
              </a:path>
            </a:pathLst>
          </a:custGeom>
          <a:solidFill>
            <a:schemeClr val="tx1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23341" tIns="74692" rIns="0" bIns="7469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475994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67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sp>
        <p:nvSpPr>
          <p:cNvPr id="85" name="Freeform 50"/>
          <p:cNvSpPr/>
          <p:nvPr/>
        </p:nvSpPr>
        <p:spPr>
          <a:xfrm>
            <a:off x="3284427" y="3208928"/>
            <a:ext cx="207827" cy="238234"/>
          </a:xfrm>
          <a:custGeom>
            <a:avLst/>
            <a:gdLst>
              <a:gd name="connsiteX0" fmla="*/ 103887 w 207774"/>
              <a:gd name="connsiteY0" fmla="*/ 0 h 257770"/>
              <a:gd name="connsiteX1" fmla="*/ 205663 w 207774"/>
              <a:gd name="connsiteY1" fmla="*/ 24187 h 257770"/>
              <a:gd name="connsiteX2" fmla="*/ 207588 w 207774"/>
              <a:gd name="connsiteY2" fmla="*/ 29753 h 257770"/>
              <a:gd name="connsiteX3" fmla="*/ 207774 w 207774"/>
              <a:gd name="connsiteY3" fmla="*/ 29753 h 257770"/>
              <a:gd name="connsiteX4" fmla="*/ 207774 w 207774"/>
              <a:gd name="connsiteY4" fmla="*/ 30292 h 257770"/>
              <a:gd name="connsiteX5" fmla="*/ 207774 w 207774"/>
              <a:gd name="connsiteY5" fmla="*/ 227478 h 257770"/>
              <a:gd name="connsiteX6" fmla="*/ 103887 w 207774"/>
              <a:gd name="connsiteY6" fmla="*/ 257770 h 257770"/>
              <a:gd name="connsiteX7" fmla="*/ 0 w 207774"/>
              <a:gd name="connsiteY7" fmla="*/ 227478 h 257770"/>
              <a:gd name="connsiteX8" fmla="*/ 0 w 207774"/>
              <a:gd name="connsiteY8" fmla="*/ 30292 h 257770"/>
              <a:gd name="connsiteX9" fmla="*/ 0 w 207774"/>
              <a:gd name="connsiteY9" fmla="*/ 29753 h 257770"/>
              <a:gd name="connsiteX10" fmla="*/ 187 w 207774"/>
              <a:gd name="connsiteY10" fmla="*/ 29753 h 257770"/>
              <a:gd name="connsiteX11" fmla="*/ 2111 w 207774"/>
              <a:gd name="connsiteY11" fmla="*/ 24187 h 257770"/>
              <a:gd name="connsiteX12" fmla="*/ 103887 w 207774"/>
              <a:gd name="connsiteY12" fmla="*/ 0 h 257770"/>
              <a:gd name="connsiteX13" fmla="*/ 101573 w 207774"/>
              <a:gd name="connsiteY13" fmla="*/ 12155 h 257770"/>
              <a:gd name="connsiteX14" fmla="*/ 17226 w 207774"/>
              <a:gd name="connsiteY14" fmla="*/ 37778 h 257770"/>
              <a:gd name="connsiteX15" fmla="*/ 101573 w 207774"/>
              <a:gd name="connsiteY15" fmla="*/ 63401 h 257770"/>
              <a:gd name="connsiteX16" fmla="*/ 185920 w 207774"/>
              <a:gd name="connsiteY16" fmla="*/ 37778 h 257770"/>
              <a:gd name="connsiteX17" fmla="*/ 101573 w 207774"/>
              <a:gd name="connsiteY17" fmla="*/ 12155 h 257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07774" h="257770">
                <a:moveTo>
                  <a:pt x="103887" y="0"/>
                </a:moveTo>
                <a:cubicBezTo>
                  <a:pt x="154090" y="0"/>
                  <a:pt x="195976" y="10384"/>
                  <a:pt x="205663" y="24187"/>
                </a:cubicBezTo>
                <a:lnTo>
                  <a:pt x="207588" y="29753"/>
                </a:lnTo>
                <a:lnTo>
                  <a:pt x="207774" y="29753"/>
                </a:lnTo>
                <a:lnTo>
                  <a:pt x="207774" y="30292"/>
                </a:lnTo>
                <a:lnTo>
                  <a:pt x="207774" y="227478"/>
                </a:lnTo>
                <a:cubicBezTo>
                  <a:pt x="207774" y="244208"/>
                  <a:pt x="161262" y="257770"/>
                  <a:pt x="103887" y="257770"/>
                </a:cubicBezTo>
                <a:cubicBezTo>
                  <a:pt x="46512" y="257770"/>
                  <a:pt x="0" y="244208"/>
                  <a:pt x="0" y="227478"/>
                </a:cubicBezTo>
                <a:lnTo>
                  <a:pt x="0" y="30292"/>
                </a:lnTo>
                <a:lnTo>
                  <a:pt x="0" y="29753"/>
                </a:lnTo>
                <a:lnTo>
                  <a:pt x="187" y="29753"/>
                </a:lnTo>
                <a:lnTo>
                  <a:pt x="2111" y="24187"/>
                </a:lnTo>
                <a:cubicBezTo>
                  <a:pt x="11798" y="10384"/>
                  <a:pt x="53684" y="0"/>
                  <a:pt x="103887" y="0"/>
                </a:cubicBezTo>
                <a:close/>
                <a:moveTo>
                  <a:pt x="101573" y="12155"/>
                </a:moveTo>
                <a:cubicBezTo>
                  <a:pt x="54989" y="12155"/>
                  <a:pt x="17226" y="23627"/>
                  <a:pt x="17226" y="37778"/>
                </a:cubicBezTo>
                <a:cubicBezTo>
                  <a:pt x="17226" y="51929"/>
                  <a:pt x="54989" y="63401"/>
                  <a:pt x="101573" y="63401"/>
                </a:cubicBezTo>
                <a:cubicBezTo>
                  <a:pt x="148157" y="63401"/>
                  <a:pt x="185920" y="51929"/>
                  <a:pt x="185920" y="37778"/>
                </a:cubicBezTo>
                <a:cubicBezTo>
                  <a:pt x="185920" y="23627"/>
                  <a:pt x="148157" y="12155"/>
                  <a:pt x="101573" y="12155"/>
                </a:cubicBezTo>
                <a:close/>
              </a:path>
            </a:pathLst>
          </a:cu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23341" rIns="0" rtlCol="0" anchor="ctr">
            <a:noAutofit/>
          </a:bodyPr>
          <a:lstStyle/>
          <a:p>
            <a:pPr marL="0" marR="0" lvl="0" indent="0" defTabSz="47592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67" b="0" i="0" u="none" strike="noStrike" kern="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6" name="Freeform 7"/>
          <p:cNvSpPr>
            <a:spLocks noEditPoints="1"/>
          </p:cNvSpPr>
          <p:nvPr/>
        </p:nvSpPr>
        <p:spPr bwMode="auto">
          <a:xfrm>
            <a:off x="1696718" y="3700194"/>
            <a:ext cx="241122" cy="269806"/>
          </a:xfrm>
          <a:custGeom>
            <a:avLst/>
            <a:gdLst>
              <a:gd name="T0" fmla="*/ 278 w 306"/>
              <a:gd name="T1" fmla="*/ 15 h 329"/>
              <a:gd name="T2" fmla="*/ 256 w 306"/>
              <a:gd name="T3" fmla="*/ 22 h 329"/>
              <a:gd name="T4" fmla="*/ 248 w 306"/>
              <a:gd name="T5" fmla="*/ 0 h 329"/>
              <a:gd name="T6" fmla="*/ 56 w 306"/>
              <a:gd name="T7" fmla="*/ 15 h 329"/>
              <a:gd name="T8" fmla="*/ 34 w 306"/>
              <a:gd name="T9" fmla="*/ 22 h 329"/>
              <a:gd name="T10" fmla="*/ 26 w 306"/>
              <a:gd name="T11" fmla="*/ 0 h 329"/>
              <a:gd name="T12" fmla="*/ 0 w 306"/>
              <a:gd name="T13" fmla="*/ 329 h 329"/>
              <a:gd name="T14" fmla="*/ 25 w 306"/>
              <a:gd name="T15" fmla="*/ 314 h 329"/>
              <a:gd name="T16" fmla="*/ 48 w 306"/>
              <a:gd name="T17" fmla="*/ 306 h 329"/>
              <a:gd name="T18" fmla="*/ 55 w 306"/>
              <a:gd name="T19" fmla="*/ 329 h 329"/>
              <a:gd name="T20" fmla="*/ 249 w 306"/>
              <a:gd name="T21" fmla="*/ 314 h 329"/>
              <a:gd name="T22" fmla="*/ 271 w 306"/>
              <a:gd name="T23" fmla="*/ 306 h 329"/>
              <a:gd name="T24" fmla="*/ 279 w 306"/>
              <a:gd name="T25" fmla="*/ 329 h 329"/>
              <a:gd name="T26" fmla="*/ 306 w 306"/>
              <a:gd name="T27" fmla="*/ 0 h 329"/>
              <a:gd name="T28" fmla="*/ 56 w 306"/>
              <a:gd name="T29" fmla="*/ 250 h 329"/>
              <a:gd name="T30" fmla="*/ 34 w 306"/>
              <a:gd name="T31" fmla="*/ 258 h 329"/>
              <a:gd name="T32" fmla="*/ 26 w 306"/>
              <a:gd name="T33" fmla="*/ 236 h 329"/>
              <a:gd name="T34" fmla="*/ 49 w 306"/>
              <a:gd name="T35" fmla="*/ 228 h 329"/>
              <a:gd name="T36" fmla="*/ 56 w 306"/>
              <a:gd name="T37" fmla="*/ 250 h 329"/>
              <a:gd name="T38" fmla="*/ 49 w 306"/>
              <a:gd name="T39" fmla="*/ 179 h 329"/>
              <a:gd name="T40" fmla="*/ 26 w 306"/>
              <a:gd name="T41" fmla="*/ 172 h 329"/>
              <a:gd name="T42" fmla="*/ 34 w 306"/>
              <a:gd name="T43" fmla="*/ 150 h 329"/>
              <a:gd name="T44" fmla="*/ 56 w 306"/>
              <a:gd name="T45" fmla="*/ 157 h 329"/>
              <a:gd name="T46" fmla="*/ 56 w 306"/>
              <a:gd name="T47" fmla="*/ 93 h 329"/>
              <a:gd name="T48" fmla="*/ 34 w 306"/>
              <a:gd name="T49" fmla="*/ 101 h 329"/>
              <a:gd name="T50" fmla="*/ 26 w 306"/>
              <a:gd name="T51" fmla="*/ 79 h 329"/>
              <a:gd name="T52" fmla="*/ 49 w 306"/>
              <a:gd name="T53" fmla="*/ 71 h 329"/>
              <a:gd name="T54" fmla="*/ 56 w 306"/>
              <a:gd name="T55" fmla="*/ 93 h 329"/>
              <a:gd name="T56" fmla="*/ 83 w 306"/>
              <a:gd name="T57" fmla="*/ 295 h 329"/>
              <a:gd name="T58" fmla="*/ 222 w 306"/>
              <a:gd name="T59" fmla="*/ 183 h 329"/>
              <a:gd name="T60" fmla="*/ 222 w 306"/>
              <a:gd name="T61" fmla="*/ 146 h 329"/>
              <a:gd name="T62" fmla="*/ 83 w 306"/>
              <a:gd name="T63" fmla="*/ 34 h 329"/>
              <a:gd name="T64" fmla="*/ 222 w 306"/>
              <a:gd name="T65" fmla="*/ 146 h 329"/>
              <a:gd name="T66" fmla="*/ 270 w 306"/>
              <a:gd name="T67" fmla="*/ 258 h 329"/>
              <a:gd name="T68" fmla="*/ 248 w 306"/>
              <a:gd name="T69" fmla="*/ 250 h 329"/>
              <a:gd name="T70" fmla="*/ 256 w 306"/>
              <a:gd name="T71" fmla="*/ 228 h 329"/>
              <a:gd name="T72" fmla="*/ 278 w 306"/>
              <a:gd name="T73" fmla="*/ 236 h 329"/>
              <a:gd name="T74" fmla="*/ 278 w 306"/>
              <a:gd name="T75" fmla="*/ 172 h 329"/>
              <a:gd name="T76" fmla="*/ 256 w 306"/>
              <a:gd name="T77" fmla="*/ 179 h 329"/>
              <a:gd name="T78" fmla="*/ 248 w 306"/>
              <a:gd name="T79" fmla="*/ 157 h 329"/>
              <a:gd name="T80" fmla="*/ 270 w 306"/>
              <a:gd name="T81" fmla="*/ 150 h 329"/>
              <a:gd name="T82" fmla="*/ 278 w 306"/>
              <a:gd name="T83" fmla="*/ 172 h 329"/>
              <a:gd name="T84" fmla="*/ 270 w 306"/>
              <a:gd name="T85" fmla="*/ 101 h 329"/>
              <a:gd name="T86" fmla="*/ 248 w 306"/>
              <a:gd name="T87" fmla="*/ 93 h 329"/>
              <a:gd name="T88" fmla="*/ 256 w 306"/>
              <a:gd name="T89" fmla="*/ 71 h 329"/>
              <a:gd name="T90" fmla="*/ 278 w 306"/>
              <a:gd name="T91" fmla="*/ 79 h 3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6" h="329">
                <a:moveTo>
                  <a:pt x="278" y="0"/>
                </a:moveTo>
                <a:cubicBezTo>
                  <a:pt x="278" y="15"/>
                  <a:pt x="278" y="15"/>
                  <a:pt x="278" y="15"/>
                </a:cubicBezTo>
                <a:cubicBezTo>
                  <a:pt x="278" y="19"/>
                  <a:pt x="275" y="22"/>
                  <a:pt x="270" y="22"/>
                </a:cubicBezTo>
                <a:cubicBezTo>
                  <a:pt x="256" y="22"/>
                  <a:pt x="256" y="22"/>
                  <a:pt x="256" y="22"/>
                </a:cubicBezTo>
                <a:cubicBezTo>
                  <a:pt x="252" y="22"/>
                  <a:pt x="248" y="19"/>
                  <a:pt x="248" y="15"/>
                </a:cubicBezTo>
                <a:cubicBezTo>
                  <a:pt x="248" y="0"/>
                  <a:pt x="248" y="0"/>
                  <a:pt x="248" y="0"/>
                </a:cubicBezTo>
                <a:cubicBezTo>
                  <a:pt x="56" y="0"/>
                  <a:pt x="56" y="0"/>
                  <a:pt x="56" y="0"/>
                </a:cubicBezTo>
                <a:cubicBezTo>
                  <a:pt x="56" y="15"/>
                  <a:pt x="56" y="15"/>
                  <a:pt x="56" y="15"/>
                </a:cubicBezTo>
                <a:cubicBezTo>
                  <a:pt x="56" y="19"/>
                  <a:pt x="53" y="22"/>
                  <a:pt x="49" y="22"/>
                </a:cubicBezTo>
                <a:cubicBezTo>
                  <a:pt x="34" y="22"/>
                  <a:pt x="34" y="22"/>
                  <a:pt x="34" y="22"/>
                </a:cubicBezTo>
                <a:cubicBezTo>
                  <a:pt x="30" y="22"/>
                  <a:pt x="26" y="19"/>
                  <a:pt x="26" y="15"/>
                </a:cubicBezTo>
                <a:cubicBezTo>
                  <a:pt x="26" y="0"/>
                  <a:pt x="26" y="0"/>
                  <a:pt x="26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329"/>
                  <a:pt x="0" y="329"/>
                  <a:pt x="0" y="329"/>
                </a:cubicBezTo>
                <a:cubicBezTo>
                  <a:pt x="25" y="329"/>
                  <a:pt x="25" y="329"/>
                  <a:pt x="25" y="329"/>
                </a:cubicBezTo>
                <a:cubicBezTo>
                  <a:pt x="25" y="314"/>
                  <a:pt x="25" y="314"/>
                  <a:pt x="25" y="314"/>
                </a:cubicBezTo>
                <a:cubicBezTo>
                  <a:pt x="25" y="310"/>
                  <a:pt x="29" y="306"/>
                  <a:pt x="33" y="306"/>
                </a:cubicBezTo>
                <a:cubicBezTo>
                  <a:pt x="48" y="306"/>
                  <a:pt x="48" y="306"/>
                  <a:pt x="48" y="306"/>
                </a:cubicBezTo>
                <a:cubicBezTo>
                  <a:pt x="52" y="306"/>
                  <a:pt x="55" y="310"/>
                  <a:pt x="55" y="314"/>
                </a:cubicBezTo>
                <a:cubicBezTo>
                  <a:pt x="55" y="329"/>
                  <a:pt x="55" y="329"/>
                  <a:pt x="55" y="329"/>
                </a:cubicBezTo>
                <a:cubicBezTo>
                  <a:pt x="249" y="329"/>
                  <a:pt x="249" y="329"/>
                  <a:pt x="249" y="329"/>
                </a:cubicBezTo>
                <a:cubicBezTo>
                  <a:pt x="249" y="314"/>
                  <a:pt x="249" y="314"/>
                  <a:pt x="249" y="314"/>
                </a:cubicBezTo>
                <a:cubicBezTo>
                  <a:pt x="249" y="310"/>
                  <a:pt x="253" y="306"/>
                  <a:pt x="257" y="306"/>
                </a:cubicBezTo>
                <a:cubicBezTo>
                  <a:pt x="271" y="306"/>
                  <a:pt x="271" y="306"/>
                  <a:pt x="271" y="306"/>
                </a:cubicBezTo>
                <a:cubicBezTo>
                  <a:pt x="276" y="306"/>
                  <a:pt x="279" y="310"/>
                  <a:pt x="279" y="314"/>
                </a:cubicBezTo>
                <a:cubicBezTo>
                  <a:pt x="279" y="329"/>
                  <a:pt x="279" y="329"/>
                  <a:pt x="279" y="329"/>
                </a:cubicBezTo>
                <a:cubicBezTo>
                  <a:pt x="306" y="329"/>
                  <a:pt x="306" y="329"/>
                  <a:pt x="306" y="329"/>
                </a:cubicBezTo>
                <a:cubicBezTo>
                  <a:pt x="306" y="0"/>
                  <a:pt x="306" y="0"/>
                  <a:pt x="306" y="0"/>
                </a:cubicBezTo>
                <a:lnTo>
                  <a:pt x="278" y="0"/>
                </a:lnTo>
                <a:close/>
                <a:moveTo>
                  <a:pt x="56" y="250"/>
                </a:moveTo>
                <a:cubicBezTo>
                  <a:pt x="56" y="254"/>
                  <a:pt x="53" y="258"/>
                  <a:pt x="49" y="258"/>
                </a:cubicBezTo>
                <a:cubicBezTo>
                  <a:pt x="34" y="258"/>
                  <a:pt x="34" y="258"/>
                  <a:pt x="34" y="258"/>
                </a:cubicBezTo>
                <a:cubicBezTo>
                  <a:pt x="30" y="258"/>
                  <a:pt x="26" y="254"/>
                  <a:pt x="26" y="250"/>
                </a:cubicBezTo>
                <a:cubicBezTo>
                  <a:pt x="26" y="236"/>
                  <a:pt x="26" y="236"/>
                  <a:pt x="26" y="236"/>
                </a:cubicBezTo>
                <a:cubicBezTo>
                  <a:pt x="26" y="231"/>
                  <a:pt x="30" y="228"/>
                  <a:pt x="34" y="228"/>
                </a:cubicBezTo>
                <a:cubicBezTo>
                  <a:pt x="49" y="228"/>
                  <a:pt x="49" y="228"/>
                  <a:pt x="49" y="228"/>
                </a:cubicBezTo>
                <a:cubicBezTo>
                  <a:pt x="53" y="228"/>
                  <a:pt x="56" y="231"/>
                  <a:pt x="56" y="236"/>
                </a:cubicBezTo>
                <a:lnTo>
                  <a:pt x="56" y="250"/>
                </a:lnTo>
                <a:close/>
                <a:moveTo>
                  <a:pt x="56" y="172"/>
                </a:moveTo>
                <a:cubicBezTo>
                  <a:pt x="56" y="176"/>
                  <a:pt x="53" y="179"/>
                  <a:pt x="49" y="179"/>
                </a:cubicBezTo>
                <a:cubicBezTo>
                  <a:pt x="34" y="179"/>
                  <a:pt x="34" y="179"/>
                  <a:pt x="34" y="179"/>
                </a:cubicBezTo>
                <a:cubicBezTo>
                  <a:pt x="30" y="179"/>
                  <a:pt x="26" y="176"/>
                  <a:pt x="26" y="172"/>
                </a:cubicBezTo>
                <a:cubicBezTo>
                  <a:pt x="26" y="157"/>
                  <a:pt x="26" y="157"/>
                  <a:pt x="26" y="157"/>
                </a:cubicBezTo>
                <a:cubicBezTo>
                  <a:pt x="26" y="153"/>
                  <a:pt x="30" y="150"/>
                  <a:pt x="34" y="150"/>
                </a:cubicBezTo>
                <a:cubicBezTo>
                  <a:pt x="49" y="150"/>
                  <a:pt x="49" y="150"/>
                  <a:pt x="49" y="150"/>
                </a:cubicBezTo>
                <a:cubicBezTo>
                  <a:pt x="53" y="150"/>
                  <a:pt x="56" y="153"/>
                  <a:pt x="56" y="157"/>
                </a:cubicBezTo>
                <a:lnTo>
                  <a:pt x="56" y="172"/>
                </a:lnTo>
                <a:close/>
                <a:moveTo>
                  <a:pt x="56" y="93"/>
                </a:moveTo>
                <a:cubicBezTo>
                  <a:pt x="56" y="97"/>
                  <a:pt x="53" y="101"/>
                  <a:pt x="49" y="101"/>
                </a:cubicBezTo>
                <a:cubicBezTo>
                  <a:pt x="34" y="101"/>
                  <a:pt x="34" y="101"/>
                  <a:pt x="34" y="101"/>
                </a:cubicBezTo>
                <a:cubicBezTo>
                  <a:pt x="30" y="101"/>
                  <a:pt x="26" y="97"/>
                  <a:pt x="26" y="93"/>
                </a:cubicBezTo>
                <a:cubicBezTo>
                  <a:pt x="26" y="79"/>
                  <a:pt x="26" y="79"/>
                  <a:pt x="26" y="79"/>
                </a:cubicBezTo>
                <a:cubicBezTo>
                  <a:pt x="26" y="74"/>
                  <a:pt x="30" y="71"/>
                  <a:pt x="34" y="71"/>
                </a:cubicBezTo>
                <a:cubicBezTo>
                  <a:pt x="49" y="71"/>
                  <a:pt x="49" y="71"/>
                  <a:pt x="49" y="71"/>
                </a:cubicBezTo>
                <a:cubicBezTo>
                  <a:pt x="53" y="71"/>
                  <a:pt x="56" y="74"/>
                  <a:pt x="56" y="79"/>
                </a:cubicBezTo>
                <a:lnTo>
                  <a:pt x="56" y="93"/>
                </a:lnTo>
                <a:close/>
                <a:moveTo>
                  <a:pt x="222" y="295"/>
                </a:moveTo>
                <a:cubicBezTo>
                  <a:pt x="83" y="295"/>
                  <a:pt x="83" y="295"/>
                  <a:pt x="83" y="295"/>
                </a:cubicBezTo>
                <a:cubicBezTo>
                  <a:pt x="83" y="183"/>
                  <a:pt x="83" y="183"/>
                  <a:pt x="83" y="183"/>
                </a:cubicBezTo>
                <a:cubicBezTo>
                  <a:pt x="222" y="183"/>
                  <a:pt x="222" y="183"/>
                  <a:pt x="222" y="183"/>
                </a:cubicBezTo>
                <a:lnTo>
                  <a:pt x="222" y="295"/>
                </a:lnTo>
                <a:close/>
                <a:moveTo>
                  <a:pt x="222" y="146"/>
                </a:moveTo>
                <a:cubicBezTo>
                  <a:pt x="83" y="146"/>
                  <a:pt x="83" y="146"/>
                  <a:pt x="83" y="146"/>
                </a:cubicBezTo>
                <a:cubicBezTo>
                  <a:pt x="83" y="34"/>
                  <a:pt x="83" y="34"/>
                  <a:pt x="83" y="34"/>
                </a:cubicBezTo>
                <a:cubicBezTo>
                  <a:pt x="222" y="34"/>
                  <a:pt x="222" y="34"/>
                  <a:pt x="222" y="34"/>
                </a:cubicBezTo>
                <a:lnTo>
                  <a:pt x="222" y="146"/>
                </a:lnTo>
                <a:close/>
                <a:moveTo>
                  <a:pt x="278" y="250"/>
                </a:moveTo>
                <a:cubicBezTo>
                  <a:pt x="278" y="254"/>
                  <a:pt x="275" y="258"/>
                  <a:pt x="270" y="258"/>
                </a:cubicBezTo>
                <a:cubicBezTo>
                  <a:pt x="256" y="258"/>
                  <a:pt x="256" y="258"/>
                  <a:pt x="256" y="258"/>
                </a:cubicBezTo>
                <a:cubicBezTo>
                  <a:pt x="252" y="258"/>
                  <a:pt x="248" y="254"/>
                  <a:pt x="248" y="250"/>
                </a:cubicBezTo>
                <a:cubicBezTo>
                  <a:pt x="248" y="236"/>
                  <a:pt x="248" y="236"/>
                  <a:pt x="248" y="236"/>
                </a:cubicBezTo>
                <a:cubicBezTo>
                  <a:pt x="248" y="231"/>
                  <a:pt x="252" y="228"/>
                  <a:pt x="256" y="228"/>
                </a:cubicBezTo>
                <a:cubicBezTo>
                  <a:pt x="270" y="228"/>
                  <a:pt x="270" y="228"/>
                  <a:pt x="270" y="228"/>
                </a:cubicBezTo>
                <a:cubicBezTo>
                  <a:pt x="275" y="228"/>
                  <a:pt x="278" y="231"/>
                  <a:pt x="278" y="236"/>
                </a:cubicBezTo>
                <a:lnTo>
                  <a:pt x="278" y="250"/>
                </a:lnTo>
                <a:close/>
                <a:moveTo>
                  <a:pt x="278" y="172"/>
                </a:moveTo>
                <a:cubicBezTo>
                  <a:pt x="278" y="176"/>
                  <a:pt x="275" y="179"/>
                  <a:pt x="270" y="179"/>
                </a:cubicBezTo>
                <a:cubicBezTo>
                  <a:pt x="256" y="179"/>
                  <a:pt x="256" y="179"/>
                  <a:pt x="256" y="179"/>
                </a:cubicBezTo>
                <a:cubicBezTo>
                  <a:pt x="252" y="179"/>
                  <a:pt x="248" y="176"/>
                  <a:pt x="248" y="172"/>
                </a:cubicBezTo>
                <a:cubicBezTo>
                  <a:pt x="248" y="157"/>
                  <a:pt x="248" y="157"/>
                  <a:pt x="248" y="157"/>
                </a:cubicBezTo>
                <a:cubicBezTo>
                  <a:pt x="248" y="153"/>
                  <a:pt x="252" y="150"/>
                  <a:pt x="256" y="150"/>
                </a:cubicBezTo>
                <a:cubicBezTo>
                  <a:pt x="270" y="150"/>
                  <a:pt x="270" y="150"/>
                  <a:pt x="270" y="150"/>
                </a:cubicBezTo>
                <a:cubicBezTo>
                  <a:pt x="275" y="150"/>
                  <a:pt x="278" y="153"/>
                  <a:pt x="278" y="157"/>
                </a:cubicBezTo>
                <a:lnTo>
                  <a:pt x="278" y="172"/>
                </a:lnTo>
                <a:close/>
                <a:moveTo>
                  <a:pt x="278" y="93"/>
                </a:moveTo>
                <a:cubicBezTo>
                  <a:pt x="278" y="97"/>
                  <a:pt x="275" y="101"/>
                  <a:pt x="270" y="101"/>
                </a:cubicBezTo>
                <a:cubicBezTo>
                  <a:pt x="256" y="101"/>
                  <a:pt x="256" y="101"/>
                  <a:pt x="256" y="101"/>
                </a:cubicBezTo>
                <a:cubicBezTo>
                  <a:pt x="252" y="101"/>
                  <a:pt x="248" y="97"/>
                  <a:pt x="248" y="93"/>
                </a:cubicBezTo>
                <a:cubicBezTo>
                  <a:pt x="248" y="79"/>
                  <a:pt x="248" y="79"/>
                  <a:pt x="248" y="79"/>
                </a:cubicBezTo>
                <a:cubicBezTo>
                  <a:pt x="248" y="74"/>
                  <a:pt x="252" y="71"/>
                  <a:pt x="256" y="71"/>
                </a:cubicBezTo>
                <a:cubicBezTo>
                  <a:pt x="270" y="71"/>
                  <a:pt x="270" y="71"/>
                  <a:pt x="270" y="71"/>
                </a:cubicBezTo>
                <a:cubicBezTo>
                  <a:pt x="275" y="71"/>
                  <a:pt x="278" y="74"/>
                  <a:pt x="278" y="79"/>
                </a:cubicBezTo>
                <a:lnTo>
                  <a:pt x="278" y="93"/>
                </a:lnTo>
                <a:close/>
              </a:path>
            </a:pathLst>
          </a:custGeom>
          <a:solidFill>
            <a:schemeClr val="tx1"/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23341" tIns="23340" rIns="0" bIns="2334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42008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67" b="0" i="0" u="none" strike="noStrike" kern="0" cap="none" spc="-70" normalizeH="0" baseline="0" noProof="0" dirty="0">
              <a:ln>
                <a:noFill/>
              </a:ln>
              <a:solidFill>
                <a:srgbClr val="008272"/>
              </a:soli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7" name="Frame 5"/>
          <p:cNvSpPr>
            <a:spLocks noChangeAspect="1"/>
          </p:cNvSpPr>
          <p:nvPr/>
        </p:nvSpPr>
        <p:spPr bwMode="auto">
          <a:xfrm>
            <a:off x="2879850" y="3703468"/>
            <a:ext cx="235112" cy="244796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423625" y="642938"/>
                </a:moveTo>
                <a:lnTo>
                  <a:pt x="500064" y="720805"/>
                </a:lnTo>
                <a:lnTo>
                  <a:pt x="500064" y="770811"/>
                </a:lnTo>
                <a:lnTo>
                  <a:pt x="423625" y="770811"/>
                </a:lnTo>
                <a:close/>
                <a:moveTo>
                  <a:pt x="651511" y="598647"/>
                </a:moveTo>
                <a:lnTo>
                  <a:pt x="656512" y="599361"/>
                </a:lnTo>
                <a:lnTo>
                  <a:pt x="660798" y="600076"/>
                </a:lnTo>
                <a:lnTo>
                  <a:pt x="664370" y="602219"/>
                </a:lnTo>
                <a:lnTo>
                  <a:pt x="667942" y="605076"/>
                </a:lnTo>
                <a:lnTo>
                  <a:pt x="671514" y="608648"/>
                </a:lnTo>
                <a:lnTo>
                  <a:pt x="673657" y="612935"/>
                </a:lnTo>
                <a:lnTo>
                  <a:pt x="675086" y="617221"/>
                </a:lnTo>
                <a:lnTo>
                  <a:pt x="675800" y="622221"/>
                </a:lnTo>
                <a:lnTo>
                  <a:pt x="675086" y="627222"/>
                </a:lnTo>
                <a:lnTo>
                  <a:pt x="673657" y="631508"/>
                </a:lnTo>
                <a:lnTo>
                  <a:pt x="671514" y="635080"/>
                </a:lnTo>
                <a:lnTo>
                  <a:pt x="667942" y="638652"/>
                </a:lnTo>
                <a:lnTo>
                  <a:pt x="664370" y="642224"/>
                </a:lnTo>
                <a:lnTo>
                  <a:pt x="660798" y="644367"/>
                </a:lnTo>
                <a:lnTo>
                  <a:pt x="656512" y="645796"/>
                </a:lnTo>
                <a:lnTo>
                  <a:pt x="651511" y="646510"/>
                </a:lnTo>
                <a:lnTo>
                  <a:pt x="646510" y="645796"/>
                </a:lnTo>
                <a:lnTo>
                  <a:pt x="642224" y="644367"/>
                </a:lnTo>
                <a:lnTo>
                  <a:pt x="637937" y="642224"/>
                </a:lnTo>
                <a:lnTo>
                  <a:pt x="634365" y="638652"/>
                </a:lnTo>
                <a:lnTo>
                  <a:pt x="631508" y="635080"/>
                </a:lnTo>
                <a:lnTo>
                  <a:pt x="629365" y="631508"/>
                </a:lnTo>
                <a:lnTo>
                  <a:pt x="628650" y="627222"/>
                </a:lnTo>
                <a:lnTo>
                  <a:pt x="627936" y="622221"/>
                </a:lnTo>
                <a:lnTo>
                  <a:pt x="628650" y="617221"/>
                </a:lnTo>
                <a:lnTo>
                  <a:pt x="629365" y="612935"/>
                </a:lnTo>
                <a:lnTo>
                  <a:pt x="631508" y="608648"/>
                </a:lnTo>
                <a:lnTo>
                  <a:pt x="634365" y="605076"/>
                </a:lnTo>
                <a:lnTo>
                  <a:pt x="637937" y="602219"/>
                </a:lnTo>
                <a:lnTo>
                  <a:pt x="642224" y="600076"/>
                </a:lnTo>
                <a:lnTo>
                  <a:pt x="646510" y="599361"/>
                </a:lnTo>
                <a:close/>
                <a:moveTo>
                  <a:pt x="224314" y="447914"/>
                </a:moveTo>
                <a:lnTo>
                  <a:pt x="373619" y="600076"/>
                </a:lnTo>
                <a:lnTo>
                  <a:pt x="373619" y="770812"/>
                </a:lnTo>
                <a:lnTo>
                  <a:pt x="294323" y="770812"/>
                </a:lnTo>
                <a:lnTo>
                  <a:pt x="294323" y="568644"/>
                </a:lnTo>
                <a:lnTo>
                  <a:pt x="240030" y="568644"/>
                </a:lnTo>
                <a:lnTo>
                  <a:pt x="240030" y="768669"/>
                </a:lnTo>
                <a:lnTo>
                  <a:pt x="142161" y="769383"/>
                </a:lnTo>
                <a:lnTo>
                  <a:pt x="142161" y="696517"/>
                </a:lnTo>
                <a:lnTo>
                  <a:pt x="184309" y="696517"/>
                </a:lnTo>
                <a:lnTo>
                  <a:pt x="184309" y="642939"/>
                </a:lnTo>
                <a:lnTo>
                  <a:pt x="142161" y="642939"/>
                </a:lnTo>
                <a:lnTo>
                  <a:pt x="142161" y="565072"/>
                </a:lnTo>
                <a:lnTo>
                  <a:pt x="182166" y="565072"/>
                </a:lnTo>
                <a:lnTo>
                  <a:pt x="182166" y="518637"/>
                </a:lnTo>
                <a:lnTo>
                  <a:pt x="142161" y="518637"/>
                </a:lnTo>
                <a:lnTo>
                  <a:pt x="142161" y="448629"/>
                </a:lnTo>
                <a:close/>
                <a:moveTo>
                  <a:pt x="272891" y="250746"/>
                </a:moveTo>
                <a:lnTo>
                  <a:pt x="278606" y="251461"/>
                </a:lnTo>
                <a:lnTo>
                  <a:pt x="282892" y="252889"/>
                </a:lnTo>
                <a:lnTo>
                  <a:pt x="286464" y="255032"/>
                </a:lnTo>
                <a:lnTo>
                  <a:pt x="290036" y="257890"/>
                </a:lnTo>
                <a:lnTo>
                  <a:pt x="292894" y="261462"/>
                </a:lnTo>
                <a:lnTo>
                  <a:pt x="295037" y="265034"/>
                </a:lnTo>
                <a:lnTo>
                  <a:pt x="296466" y="269320"/>
                </a:lnTo>
                <a:lnTo>
                  <a:pt x="297180" y="275035"/>
                </a:lnTo>
                <a:lnTo>
                  <a:pt x="296466" y="280036"/>
                </a:lnTo>
                <a:lnTo>
                  <a:pt x="295037" y="284322"/>
                </a:lnTo>
                <a:lnTo>
                  <a:pt x="292894" y="287894"/>
                </a:lnTo>
                <a:lnTo>
                  <a:pt x="290036" y="291466"/>
                </a:lnTo>
                <a:lnTo>
                  <a:pt x="286464" y="294323"/>
                </a:lnTo>
                <a:lnTo>
                  <a:pt x="282892" y="296466"/>
                </a:lnTo>
                <a:lnTo>
                  <a:pt x="278606" y="297181"/>
                </a:lnTo>
                <a:lnTo>
                  <a:pt x="272891" y="297895"/>
                </a:lnTo>
                <a:lnTo>
                  <a:pt x="267890" y="297181"/>
                </a:lnTo>
                <a:lnTo>
                  <a:pt x="263604" y="296466"/>
                </a:lnTo>
                <a:lnTo>
                  <a:pt x="260032" y="294323"/>
                </a:lnTo>
                <a:lnTo>
                  <a:pt x="256460" y="291466"/>
                </a:lnTo>
                <a:lnTo>
                  <a:pt x="253603" y="287894"/>
                </a:lnTo>
                <a:lnTo>
                  <a:pt x="251459" y="284322"/>
                </a:lnTo>
                <a:lnTo>
                  <a:pt x="250031" y="280036"/>
                </a:lnTo>
                <a:lnTo>
                  <a:pt x="249316" y="275035"/>
                </a:lnTo>
                <a:lnTo>
                  <a:pt x="250031" y="269320"/>
                </a:lnTo>
                <a:lnTo>
                  <a:pt x="251459" y="265034"/>
                </a:lnTo>
                <a:lnTo>
                  <a:pt x="253603" y="261462"/>
                </a:lnTo>
                <a:lnTo>
                  <a:pt x="256460" y="257890"/>
                </a:lnTo>
                <a:lnTo>
                  <a:pt x="260032" y="255032"/>
                </a:lnTo>
                <a:lnTo>
                  <a:pt x="263604" y="252889"/>
                </a:lnTo>
                <a:lnTo>
                  <a:pt x="267890" y="251461"/>
                </a:lnTo>
                <a:close/>
                <a:moveTo>
                  <a:pt x="722947" y="147876"/>
                </a:moveTo>
                <a:lnTo>
                  <a:pt x="770811" y="147876"/>
                </a:lnTo>
                <a:lnTo>
                  <a:pt x="770811" y="227171"/>
                </a:lnTo>
                <a:lnTo>
                  <a:pt x="722947" y="227171"/>
                </a:lnTo>
                <a:close/>
                <a:moveTo>
                  <a:pt x="554355" y="143589"/>
                </a:moveTo>
                <a:lnTo>
                  <a:pt x="672227" y="143589"/>
                </a:lnTo>
                <a:lnTo>
                  <a:pt x="672941" y="281464"/>
                </a:lnTo>
                <a:lnTo>
                  <a:pt x="772239" y="281464"/>
                </a:lnTo>
                <a:lnTo>
                  <a:pt x="772239" y="358616"/>
                </a:lnTo>
                <a:lnTo>
                  <a:pt x="722947" y="358616"/>
                </a:lnTo>
                <a:lnTo>
                  <a:pt x="722947" y="410051"/>
                </a:lnTo>
                <a:lnTo>
                  <a:pt x="772239" y="410051"/>
                </a:lnTo>
                <a:lnTo>
                  <a:pt x="772239" y="485775"/>
                </a:lnTo>
                <a:lnTo>
                  <a:pt x="722947" y="485775"/>
                </a:lnTo>
                <a:lnTo>
                  <a:pt x="722947" y="537210"/>
                </a:lnTo>
                <a:lnTo>
                  <a:pt x="772239" y="537210"/>
                </a:lnTo>
                <a:lnTo>
                  <a:pt x="772239" y="770811"/>
                </a:lnTo>
                <a:lnTo>
                  <a:pt x="677942" y="770811"/>
                </a:lnTo>
                <a:lnTo>
                  <a:pt x="677942" y="699374"/>
                </a:lnTo>
                <a:lnTo>
                  <a:pt x="682228" y="697945"/>
                </a:lnTo>
                <a:lnTo>
                  <a:pt x="686514" y="696516"/>
                </a:lnTo>
                <a:lnTo>
                  <a:pt x="690086" y="694373"/>
                </a:lnTo>
                <a:lnTo>
                  <a:pt x="694372" y="692230"/>
                </a:lnTo>
                <a:lnTo>
                  <a:pt x="697944" y="689372"/>
                </a:lnTo>
                <a:lnTo>
                  <a:pt x="702230" y="686515"/>
                </a:lnTo>
                <a:lnTo>
                  <a:pt x="705802" y="683657"/>
                </a:lnTo>
                <a:lnTo>
                  <a:pt x="709374" y="680800"/>
                </a:lnTo>
                <a:lnTo>
                  <a:pt x="714375" y="675085"/>
                </a:lnTo>
                <a:lnTo>
                  <a:pt x="719375" y="667941"/>
                </a:lnTo>
                <a:lnTo>
                  <a:pt x="722947" y="661512"/>
                </a:lnTo>
                <a:lnTo>
                  <a:pt x="726519" y="654368"/>
                </a:lnTo>
                <a:lnTo>
                  <a:pt x="728662" y="647938"/>
                </a:lnTo>
                <a:lnTo>
                  <a:pt x="730805" y="639366"/>
                </a:lnTo>
                <a:lnTo>
                  <a:pt x="732234" y="632222"/>
                </a:lnTo>
                <a:lnTo>
                  <a:pt x="732948" y="624364"/>
                </a:lnTo>
                <a:lnTo>
                  <a:pt x="732234" y="616506"/>
                </a:lnTo>
                <a:lnTo>
                  <a:pt x="730805" y="608648"/>
                </a:lnTo>
                <a:lnTo>
                  <a:pt x="728662" y="600790"/>
                </a:lnTo>
                <a:lnTo>
                  <a:pt x="726519" y="593646"/>
                </a:lnTo>
                <a:lnTo>
                  <a:pt x="722947" y="586502"/>
                </a:lnTo>
                <a:lnTo>
                  <a:pt x="719375" y="580073"/>
                </a:lnTo>
                <a:lnTo>
                  <a:pt x="714375" y="572929"/>
                </a:lnTo>
                <a:lnTo>
                  <a:pt x="709374" y="567214"/>
                </a:lnTo>
                <a:lnTo>
                  <a:pt x="705802" y="563642"/>
                </a:lnTo>
                <a:lnTo>
                  <a:pt x="702230" y="560785"/>
                </a:lnTo>
                <a:lnTo>
                  <a:pt x="697230" y="557927"/>
                </a:lnTo>
                <a:lnTo>
                  <a:pt x="693658" y="555070"/>
                </a:lnTo>
                <a:lnTo>
                  <a:pt x="689372" y="552927"/>
                </a:lnTo>
                <a:lnTo>
                  <a:pt x="685085" y="550783"/>
                </a:lnTo>
                <a:lnTo>
                  <a:pt x="680085" y="549355"/>
                </a:lnTo>
                <a:lnTo>
                  <a:pt x="675799" y="547211"/>
                </a:lnTo>
                <a:lnTo>
                  <a:pt x="675084" y="464344"/>
                </a:lnTo>
                <a:lnTo>
                  <a:pt x="554355" y="345757"/>
                </a:lnTo>
                <a:close/>
                <a:moveTo>
                  <a:pt x="507920" y="143589"/>
                </a:moveTo>
                <a:lnTo>
                  <a:pt x="507920" y="305752"/>
                </a:lnTo>
                <a:lnTo>
                  <a:pt x="420766" y="218598"/>
                </a:lnTo>
                <a:lnTo>
                  <a:pt x="420766" y="144303"/>
                </a:lnTo>
                <a:close/>
                <a:moveTo>
                  <a:pt x="371476" y="143589"/>
                </a:moveTo>
                <a:lnTo>
                  <a:pt x="371476" y="231457"/>
                </a:lnTo>
                <a:lnTo>
                  <a:pt x="634366" y="497205"/>
                </a:lnTo>
                <a:lnTo>
                  <a:pt x="634366" y="547211"/>
                </a:lnTo>
                <a:lnTo>
                  <a:pt x="622221" y="551498"/>
                </a:lnTo>
                <a:lnTo>
                  <a:pt x="610791" y="557213"/>
                </a:lnTo>
                <a:lnTo>
                  <a:pt x="600076" y="565071"/>
                </a:lnTo>
                <a:lnTo>
                  <a:pt x="591503" y="574358"/>
                </a:lnTo>
                <a:lnTo>
                  <a:pt x="584360" y="585788"/>
                </a:lnTo>
                <a:lnTo>
                  <a:pt x="577930" y="597218"/>
                </a:lnTo>
                <a:lnTo>
                  <a:pt x="575073" y="610791"/>
                </a:lnTo>
                <a:lnTo>
                  <a:pt x="573644" y="624364"/>
                </a:lnTo>
                <a:lnTo>
                  <a:pt x="574358" y="632222"/>
                </a:lnTo>
                <a:lnTo>
                  <a:pt x="575073" y="639366"/>
                </a:lnTo>
                <a:lnTo>
                  <a:pt x="577216" y="647938"/>
                </a:lnTo>
                <a:lnTo>
                  <a:pt x="580073" y="654368"/>
                </a:lnTo>
                <a:lnTo>
                  <a:pt x="582931" y="661512"/>
                </a:lnTo>
                <a:lnTo>
                  <a:pt x="587217" y="667941"/>
                </a:lnTo>
                <a:lnTo>
                  <a:pt x="591503" y="675085"/>
                </a:lnTo>
                <a:lnTo>
                  <a:pt x="596504" y="680800"/>
                </a:lnTo>
                <a:lnTo>
                  <a:pt x="600790" y="684372"/>
                </a:lnTo>
                <a:lnTo>
                  <a:pt x="605076" y="687944"/>
                </a:lnTo>
                <a:lnTo>
                  <a:pt x="609363" y="691515"/>
                </a:lnTo>
                <a:lnTo>
                  <a:pt x="615078" y="694373"/>
                </a:lnTo>
                <a:lnTo>
                  <a:pt x="620078" y="697230"/>
                </a:lnTo>
                <a:lnTo>
                  <a:pt x="625793" y="699374"/>
                </a:lnTo>
                <a:lnTo>
                  <a:pt x="630794" y="700802"/>
                </a:lnTo>
                <a:lnTo>
                  <a:pt x="636509" y="702945"/>
                </a:lnTo>
                <a:lnTo>
                  <a:pt x="636509" y="770811"/>
                </a:lnTo>
                <a:lnTo>
                  <a:pt x="551498" y="770811"/>
                </a:lnTo>
                <a:lnTo>
                  <a:pt x="551498" y="705089"/>
                </a:lnTo>
                <a:lnTo>
                  <a:pt x="240745" y="396478"/>
                </a:lnTo>
                <a:lnTo>
                  <a:pt x="142161" y="396478"/>
                </a:lnTo>
                <a:lnTo>
                  <a:pt x="142161" y="144303"/>
                </a:lnTo>
                <a:lnTo>
                  <a:pt x="247174" y="144303"/>
                </a:lnTo>
                <a:lnTo>
                  <a:pt x="247174" y="200739"/>
                </a:lnTo>
                <a:lnTo>
                  <a:pt x="236458" y="205025"/>
                </a:lnTo>
                <a:lnTo>
                  <a:pt x="227171" y="212169"/>
                </a:lnTo>
                <a:lnTo>
                  <a:pt x="218599" y="220027"/>
                </a:lnTo>
                <a:lnTo>
                  <a:pt x="210741" y="228600"/>
                </a:lnTo>
                <a:lnTo>
                  <a:pt x="204311" y="239315"/>
                </a:lnTo>
                <a:lnTo>
                  <a:pt x="199311" y="251460"/>
                </a:lnTo>
                <a:lnTo>
                  <a:pt x="196453" y="263604"/>
                </a:lnTo>
                <a:lnTo>
                  <a:pt x="195025" y="277177"/>
                </a:lnTo>
                <a:lnTo>
                  <a:pt x="195739" y="285036"/>
                </a:lnTo>
                <a:lnTo>
                  <a:pt x="196453" y="292894"/>
                </a:lnTo>
                <a:lnTo>
                  <a:pt x="198596" y="300037"/>
                </a:lnTo>
                <a:lnTo>
                  <a:pt x="200740" y="307896"/>
                </a:lnTo>
                <a:lnTo>
                  <a:pt x="204311" y="315039"/>
                </a:lnTo>
                <a:lnTo>
                  <a:pt x="207883" y="321469"/>
                </a:lnTo>
                <a:lnTo>
                  <a:pt x="212884" y="327898"/>
                </a:lnTo>
                <a:lnTo>
                  <a:pt x="218599" y="333613"/>
                </a:lnTo>
                <a:lnTo>
                  <a:pt x="224314" y="339328"/>
                </a:lnTo>
                <a:lnTo>
                  <a:pt x="230029" y="343614"/>
                </a:lnTo>
                <a:lnTo>
                  <a:pt x="237173" y="347901"/>
                </a:lnTo>
                <a:lnTo>
                  <a:pt x="243602" y="350758"/>
                </a:lnTo>
                <a:lnTo>
                  <a:pt x="251461" y="353616"/>
                </a:lnTo>
                <a:lnTo>
                  <a:pt x="259319" y="355759"/>
                </a:lnTo>
                <a:lnTo>
                  <a:pt x="266463" y="356473"/>
                </a:lnTo>
                <a:lnTo>
                  <a:pt x="274321" y="357188"/>
                </a:lnTo>
                <a:lnTo>
                  <a:pt x="280750" y="357188"/>
                </a:lnTo>
                <a:lnTo>
                  <a:pt x="286465" y="356473"/>
                </a:lnTo>
                <a:lnTo>
                  <a:pt x="291466" y="355759"/>
                </a:lnTo>
                <a:lnTo>
                  <a:pt x="297181" y="354330"/>
                </a:lnTo>
                <a:lnTo>
                  <a:pt x="302181" y="352187"/>
                </a:lnTo>
                <a:lnTo>
                  <a:pt x="307896" y="350044"/>
                </a:lnTo>
                <a:lnTo>
                  <a:pt x="312183" y="347901"/>
                </a:lnTo>
                <a:lnTo>
                  <a:pt x="317183" y="345043"/>
                </a:lnTo>
                <a:lnTo>
                  <a:pt x="540068" y="567214"/>
                </a:lnTo>
                <a:lnTo>
                  <a:pt x="537925" y="507921"/>
                </a:lnTo>
                <a:lnTo>
                  <a:pt x="345044" y="315039"/>
                </a:lnTo>
                <a:lnTo>
                  <a:pt x="348616" y="306467"/>
                </a:lnTo>
                <a:lnTo>
                  <a:pt x="352188" y="296466"/>
                </a:lnTo>
                <a:lnTo>
                  <a:pt x="353616" y="287179"/>
                </a:lnTo>
                <a:lnTo>
                  <a:pt x="354331" y="277177"/>
                </a:lnTo>
                <a:lnTo>
                  <a:pt x="353616" y="268605"/>
                </a:lnTo>
                <a:lnTo>
                  <a:pt x="352902" y="261461"/>
                </a:lnTo>
                <a:lnTo>
                  <a:pt x="350759" y="253603"/>
                </a:lnTo>
                <a:lnTo>
                  <a:pt x="348616" y="246459"/>
                </a:lnTo>
                <a:lnTo>
                  <a:pt x="345044" y="239315"/>
                </a:lnTo>
                <a:lnTo>
                  <a:pt x="341472" y="232886"/>
                </a:lnTo>
                <a:lnTo>
                  <a:pt x="336471" y="226456"/>
                </a:lnTo>
                <a:lnTo>
                  <a:pt x="330756" y="220741"/>
                </a:lnTo>
                <a:lnTo>
                  <a:pt x="327185" y="217170"/>
                </a:lnTo>
                <a:lnTo>
                  <a:pt x="322898" y="213598"/>
                </a:lnTo>
                <a:lnTo>
                  <a:pt x="318612" y="210026"/>
                </a:lnTo>
                <a:lnTo>
                  <a:pt x="313611" y="207168"/>
                </a:lnTo>
                <a:lnTo>
                  <a:pt x="309325" y="205025"/>
                </a:lnTo>
                <a:lnTo>
                  <a:pt x="303610" y="202882"/>
                </a:lnTo>
                <a:lnTo>
                  <a:pt x="298610" y="201453"/>
                </a:lnTo>
                <a:lnTo>
                  <a:pt x="293609" y="200025"/>
                </a:lnTo>
                <a:lnTo>
                  <a:pt x="293609" y="144303"/>
                </a:lnTo>
                <a:close/>
                <a:moveTo>
                  <a:pt x="55998" y="55998"/>
                </a:moveTo>
                <a:lnTo>
                  <a:pt x="55998" y="858402"/>
                </a:lnTo>
                <a:lnTo>
                  <a:pt x="858402" y="858402"/>
                </a:lnTo>
                <a:lnTo>
                  <a:pt x="858402" y="55998"/>
                </a:lnTo>
                <a:close/>
                <a:moveTo>
                  <a:pt x="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close/>
              </a:path>
            </a:pathLst>
          </a:custGeom>
          <a:solidFill>
            <a:schemeClr val="tx1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23341" tIns="27455" rIns="0" bIns="5491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5488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67" b="0" i="0" u="none" strike="noStrike" kern="0" cap="none" spc="-3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sp>
        <p:nvSpPr>
          <p:cNvPr id="88" name="Freeform 34"/>
          <p:cNvSpPr>
            <a:spLocks noEditPoints="1"/>
          </p:cNvSpPr>
          <p:nvPr/>
        </p:nvSpPr>
        <p:spPr bwMode="auto">
          <a:xfrm>
            <a:off x="1026932" y="3684092"/>
            <a:ext cx="385737" cy="345916"/>
          </a:xfrm>
          <a:custGeom>
            <a:avLst/>
            <a:gdLst>
              <a:gd name="T0" fmla="*/ 234 w 1464"/>
              <a:gd name="T1" fmla="*/ 815 h 1158"/>
              <a:gd name="T2" fmla="*/ 206 w 1464"/>
              <a:gd name="T3" fmla="*/ 1158 h 1158"/>
              <a:gd name="T4" fmla="*/ 33 w 1464"/>
              <a:gd name="T5" fmla="*/ 1131 h 1158"/>
              <a:gd name="T6" fmla="*/ 89 w 1464"/>
              <a:gd name="T7" fmla="*/ 876 h 1158"/>
              <a:gd name="T8" fmla="*/ 183 w 1464"/>
              <a:gd name="T9" fmla="*/ 876 h 1158"/>
              <a:gd name="T10" fmla="*/ 323 w 1464"/>
              <a:gd name="T11" fmla="*/ 1158 h 1158"/>
              <a:gd name="T12" fmla="*/ 495 w 1464"/>
              <a:gd name="T13" fmla="*/ 1131 h 1158"/>
              <a:gd name="T14" fmla="*/ 295 w 1464"/>
              <a:gd name="T15" fmla="*/ 748 h 1158"/>
              <a:gd name="T16" fmla="*/ 295 w 1464"/>
              <a:gd name="T17" fmla="*/ 1131 h 1158"/>
              <a:gd name="T18" fmla="*/ 584 w 1464"/>
              <a:gd name="T19" fmla="*/ 1158 h 1158"/>
              <a:gd name="T20" fmla="*/ 757 w 1464"/>
              <a:gd name="T21" fmla="*/ 1131 h 1158"/>
              <a:gd name="T22" fmla="*/ 557 w 1464"/>
              <a:gd name="T23" fmla="*/ 493 h 1158"/>
              <a:gd name="T24" fmla="*/ 557 w 1464"/>
              <a:gd name="T25" fmla="*/ 1131 h 1158"/>
              <a:gd name="T26" fmla="*/ 863 w 1464"/>
              <a:gd name="T27" fmla="*/ 676 h 1158"/>
              <a:gd name="T28" fmla="*/ 813 w 1464"/>
              <a:gd name="T29" fmla="*/ 1131 h 1158"/>
              <a:gd name="T30" fmla="*/ 991 w 1464"/>
              <a:gd name="T31" fmla="*/ 1158 h 1158"/>
              <a:gd name="T32" fmla="*/ 1013 w 1464"/>
              <a:gd name="T33" fmla="*/ 610 h 1158"/>
              <a:gd name="T34" fmla="*/ 902 w 1464"/>
              <a:gd name="T35" fmla="*/ 687 h 1158"/>
              <a:gd name="T36" fmla="*/ 1074 w 1464"/>
              <a:gd name="T37" fmla="*/ 1131 h 1158"/>
              <a:gd name="T38" fmla="*/ 1247 w 1464"/>
              <a:gd name="T39" fmla="*/ 1158 h 1158"/>
              <a:gd name="T40" fmla="*/ 1275 w 1464"/>
              <a:gd name="T41" fmla="*/ 366 h 1158"/>
              <a:gd name="T42" fmla="*/ 1074 w 1464"/>
              <a:gd name="T43" fmla="*/ 549 h 1158"/>
              <a:gd name="T44" fmla="*/ 1442 w 1464"/>
              <a:gd name="T45" fmla="*/ 0 h 1158"/>
              <a:gd name="T46" fmla="*/ 1024 w 1464"/>
              <a:gd name="T47" fmla="*/ 33 h 1158"/>
              <a:gd name="T48" fmla="*/ 1130 w 1464"/>
              <a:gd name="T49" fmla="*/ 166 h 1158"/>
              <a:gd name="T50" fmla="*/ 935 w 1464"/>
              <a:gd name="T51" fmla="*/ 410 h 1158"/>
              <a:gd name="T52" fmla="*/ 896 w 1464"/>
              <a:gd name="T53" fmla="*/ 416 h 1158"/>
              <a:gd name="T54" fmla="*/ 540 w 1464"/>
              <a:gd name="T55" fmla="*/ 94 h 1158"/>
              <a:gd name="T56" fmla="*/ 11 w 1464"/>
              <a:gd name="T57" fmla="*/ 704 h 1158"/>
              <a:gd name="T58" fmla="*/ 117 w 1464"/>
              <a:gd name="T59" fmla="*/ 848 h 1158"/>
              <a:gd name="T60" fmla="*/ 156 w 1464"/>
              <a:gd name="T61" fmla="*/ 848 h 1158"/>
              <a:gd name="T62" fmla="*/ 534 w 1464"/>
              <a:gd name="T63" fmla="*/ 443 h 1158"/>
              <a:gd name="T64" fmla="*/ 885 w 1464"/>
              <a:gd name="T65" fmla="*/ 649 h 1158"/>
              <a:gd name="T66" fmla="*/ 930 w 1464"/>
              <a:gd name="T67" fmla="*/ 643 h 1158"/>
              <a:gd name="T68" fmla="*/ 1269 w 1464"/>
              <a:gd name="T69" fmla="*/ 321 h 1158"/>
              <a:gd name="T70" fmla="*/ 1420 w 1464"/>
              <a:gd name="T71" fmla="*/ 460 h 1158"/>
              <a:gd name="T72" fmla="*/ 1442 w 1464"/>
              <a:gd name="T73" fmla="*/ 449 h 1158"/>
              <a:gd name="T74" fmla="*/ 1442 w 1464"/>
              <a:gd name="T75" fmla="*/ 0 h 1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464" h="1158">
                <a:moveTo>
                  <a:pt x="183" y="876"/>
                </a:moveTo>
                <a:cubicBezTo>
                  <a:pt x="234" y="815"/>
                  <a:pt x="234" y="815"/>
                  <a:pt x="234" y="815"/>
                </a:cubicBezTo>
                <a:cubicBezTo>
                  <a:pt x="234" y="1131"/>
                  <a:pt x="234" y="1131"/>
                  <a:pt x="234" y="1131"/>
                </a:cubicBezTo>
                <a:cubicBezTo>
                  <a:pt x="234" y="1147"/>
                  <a:pt x="222" y="1158"/>
                  <a:pt x="206" y="1158"/>
                </a:cubicBezTo>
                <a:cubicBezTo>
                  <a:pt x="61" y="1158"/>
                  <a:pt x="61" y="1158"/>
                  <a:pt x="61" y="1158"/>
                </a:cubicBezTo>
                <a:cubicBezTo>
                  <a:pt x="50" y="1158"/>
                  <a:pt x="33" y="1147"/>
                  <a:pt x="33" y="1131"/>
                </a:cubicBezTo>
                <a:cubicBezTo>
                  <a:pt x="33" y="820"/>
                  <a:pt x="33" y="820"/>
                  <a:pt x="33" y="820"/>
                </a:cubicBezTo>
                <a:cubicBezTo>
                  <a:pt x="89" y="876"/>
                  <a:pt x="89" y="876"/>
                  <a:pt x="89" y="876"/>
                </a:cubicBezTo>
                <a:cubicBezTo>
                  <a:pt x="100" y="887"/>
                  <a:pt x="117" y="898"/>
                  <a:pt x="133" y="898"/>
                </a:cubicBezTo>
                <a:cubicBezTo>
                  <a:pt x="150" y="898"/>
                  <a:pt x="172" y="887"/>
                  <a:pt x="183" y="876"/>
                </a:cubicBezTo>
                <a:close/>
                <a:moveTo>
                  <a:pt x="295" y="1131"/>
                </a:moveTo>
                <a:cubicBezTo>
                  <a:pt x="295" y="1147"/>
                  <a:pt x="306" y="1158"/>
                  <a:pt x="323" y="1158"/>
                </a:cubicBezTo>
                <a:cubicBezTo>
                  <a:pt x="467" y="1158"/>
                  <a:pt x="467" y="1158"/>
                  <a:pt x="467" y="1158"/>
                </a:cubicBezTo>
                <a:cubicBezTo>
                  <a:pt x="484" y="1158"/>
                  <a:pt x="495" y="1147"/>
                  <a:pt x="495" y="1131"/>
                </a:cubicBezTo>
                <a:cubicBezTo>
                  <a:pt x="495" y="527"/>
                  <a:pt x="495" y="527"/>
                  <a:pt x="495" y="527"/>
                </a:cubicBezTo>
                <a:cubicBezTo>
                  <a:pt x="295" y="748"/>
                  <a:pt x="295" y="748"/>
                  <a:pt x="295" y="748"/>
                </a:cubicBezTo>
                <a:cubicBezTo>
                  <a:pt x="295" y="1131"/>
                  <a:pt x="295" y="1131"/>
                  <a:pt x="295" y="1131"/>
                </a:cubicBezTo>
                <a:cubicBezTo>
                  <a:pt x="295" y="1131"/>
                  <a:pt x="295" y="1131"/>
                  <a:pt x="295" y="1131"/>
                </a:cubicBezTo>
                <a:close/>
                <a:moveTo>
                  <a:pt x="557" y="1131"/>
                </a:moveTo>
                <a:cubicBezTo>
                  <a:pt x="557" y="1147"/>
                  <a:pt x="568" y="1158"/>
                  <a:pt x="584" y="1158"/>
                </a:cubicBezTo>
                <a:cubicBezTo>
                  <a:pt x="729" y="1158"/>
                  <a:pt x="729" y="1158"/>
                  <a:pt x="729" y="1158"/>
                </a:cubicBezTo>
                <a:cubicBezTo>
                  <a:pt x="746" y="1158"/>
                  <a:pt x="757" y="1147"/>
                  <a:pt x="757" y="1131"/>
                </a:cubicBezTo>
                <a:cubicBezTo>
                  <a:pt x="757" y="615"/>
                  <a:pt x="757" y="615"/>
                  <a:pt x="757" y="615"/>
                </a:cubicBezTo>
                <a:cubicBezTo>
                  <a:pt x="557" y="493"/>
                  <a:pt x="557" y="493"/>
                  <a:pt x="557" y="493"/>
                </a:cubicBezTo>
                <a:cubicBezTo>
                  <a:pt x="557" y="1131"/>
                  <a:pt x="557" y="1131"/>
                  <a:pt x="557" y="1131"/>
                </a:cubicBezTo>
                <a:cubicBezTo>
                  <a:pt x="557" y="1131"/>
                  <a:pt x="557" y="1131"/>
                  <a:pt x="557" y="1131"/>
                </a:cubicBezTo>
                <a:close/>
                <a:moveTo>
                  <a:pt x="902" y="687"/>
                </a:moveTo>
                <a:cubicBezTo>
                  <a:pt x="891" y="687"/>
                  <a:pt x="874" y="687"/>
                  <a:pt x="863" y="676"/>
                </a:cubicBezTo>
                <a:cubicBezTo>
                  <a:pt x="813" y="649"/>
                  <a:pt x="813" y="649"/>
                  <a:pt x="813" y="649"/>
                </a:cubicBezTo>
                <a:cubicBezTo>
                  <a:pt x="813" y="1131"/>
                  <a:pt x="813" y="1131"/>
                  <a:pt x="813" y="1131"/>
                </a:cubicBezTo>
                <a:cubicBezTo>
                  <a:pt x="813" y="1147"/>
                  <a:pt x="829" y="1158"/>
                  <a:pt x="841" y="1158"/>
                </a:cubicBezTo>
                <a:cubicBezTo>
                  <a:pt x="991" y="1158"/>
                  <a:pt x="991" y="1158"/>
                  <a:pt x="991" y="1158"/>
                </a:cubicBezTo>
                <a:cubicBezTo>
                  <a:pt x="1002" y="1158"/>
                  <a:pt x="1013" y="1147"/>
                  <a:pt x="1013" y="1131"/>
                </a:cubicBezTo>
                <a:cubicBezTo>
                  <a:pt x="1013" y="610"/>
                  <a:pt x="1013" y="610"/>
                  <a:pt x="1013" y="610"/>
                </a:cubicBezTo>
                <a:cubicBezTo>
                  <a:pt x="958" y="671"/>
                  <a:pt x="958" y="671"/>
                  <a:pt x="958" y="671"/>
                </a:cubicBezTo>
                <a:cubicBezTo>
                  <a:pt x="941" y="682"/>
                  <a:pt x="924" y="687"/>
                  <a:pt x="902" y="687"/>
                </a:cubicBezTo>
                <a:close/>
                <a:moveTo>
                  <a:pt x="1074" y="549"/>
                </a:moveTo>
                <a:cubicBezTo>
                  <a:pt x="1074" y="1131"/>
                  <a:pt x="1074" y="1131"/>
                  <a:pt x="1074" y="1131"/>
                </a:cubicBezTo>
                <a:cubicBezTo>
                  <a:pt x="1074" y="1147"/>
                  <a:pt x="1086" y="1158"/>
                  <a:pt x="1102" y="1158"/>
                </a:cubicBezTo>
                <a:cubicBezTo>
                  <a:pt x="1247" y="1158"/>
                  <a:pt x="1247" y="1158"/>
                  <a:pt x="1247" y="1158"/>
                </a:cubicBezTo>
                <a:cubicBezTo>
                  <a:pt x="1264" y="1158"/>
                  <a:pt x="1275" y="1147"/>
                  <a:pt x="1275" y="1131"/>
                </a:cubicBezTo>
                <a:cubicBezTo>
                  <a:pt x="1275" y="366"/>
                  <a:pt x="1275" y="366"/>
                  <a:pt x="1275" y="366"/>
                </a:cubicBezTo>
                <a:cubicBezTo>
                  <a:pt x="1269" y="360"/>
                  <a:pt x="1269" y="360"/>
                  <a:pt x="1269" y="360"/>
                </a:cubicBezTo>
                <a:cubicBezTo>
                  <a:pt x="1074" y="549"/>
                  <a:pt x="1074" y="549"/>
                  <a:pt x="1074" y="549"/>
                </a:cubicBezTo>
                <a:cubicBezTo>
                  <a:pt x="1074" y="549"/>
                  <a:pt x="1074" y="549"/>
                  <a:pt x="1074" y="549"/>
                </a:cubicBezTo>
                <a:close/>
                <a:moveTo>
                  <a:pt x="1442" y="0"/>
                </a:moveTo>
                <a:cubicBezTo>
                  <a:pt x="1442" y="0"/>
                  <a:pt x="1442" y="0"/>
                  <a:pt x="1442" y="0"/>
                </a:cubicBezTo>
                <a:cubicBezTo>
                  <a:pt x="1024" y="33"/>
                  <a:pt x="1024" y="33"/>
                  <a:pt x="1024" y="33"/>
                </a:cubicBezTo>
                <a:cubicBezTo>
                  <a:pt x="1008" y="33"/>
                  <a:pt x="1002" y="44"/>
                  <a:pt x="1013" y="50"/>
                </a:cubicBezTo>
                <a:cubicBezTo>
                  <a:pt x="1130" y="166"/>
                  <a:pt x="1130" y="166"/>
                  <a:pt x="1130" y="166"/>
                </a:cubicBezTo>
                <a:cubicBezTo>
                  <a:pt x="1141" y="177"/>
                  <a:pt x="1141" y="194"/>
                  <a:pt x="1130" y="205"/>
                </a:cubicBezTo>
                <a:cubicBezTo>
                  <a:pt x="935" y="410"/>
                  <a:pt x="935" y="410"/>
                  <a:pt x="935" y="410"/>
                </a:cubicBezTo>
                <a:cubicBezTo>
                  <a:pt x="930" y="416"/>
                  <a:pt x="924" y="421"/>
                  <a:pt x="919" y="421"/>
                </a:cubicBezTo>
                <a:cubicBezTo>
                  <a:pt x="907" y="421"/>
                  <a:pt x="902" y="416"/>
                  <a:pt x="896" y="416"/>
                </a:cubicBezTo>
                <a:cubicBezTo>
                  <a:pt x="557" y="100"/>
                  <a:pt x="557" y="100"/>
                  <a:pt x="557" y="100"/>
                </a:cubicBezTo>
                <a:cubicBezTo>
                  <a:pt x="551" y="94"/>
                  <a:pt x="545" y="94"/>
                  <a:pt x="540" y="94"/>
                </a:cubicBezTo>
                <a:cubicBezTo>
                  <a:pt x="529" y="94"/>
                  <a:pt x="523" y="94"/>
                  <a:pt x="518" y="100"/>
                </a:cubicBezTo>
                <a:cubicBezTo>
                  <a:pt x="11" y="704"/>
                  <a:pt x="11" y="704"/>
                  <a:pt x="11" y="704"/>
                </a:cubicBezTo>
                <a:cubicBezTo>
                  <a:pt x="0" y="715"/>
                  <a:pt x="0" y="737"/>
                  <a:pt x="11" y="748"/>
                </a:cubicBezTo>
                <a:cubicBezTo>
                  <a:pt x="117" y="848"/>
                  <a:pt x="117" y="848"/>
                  <a:pt x="117" y="848"/>
                </a:cubicBezTo>
                <a:cubicBezTo>
                  <a:pt x="122" y="854"/>
                  <a:pt x="128" y="859"/>
                  <a:pt x="133" y="859"/>
                </a:cubicBezTo>
                <a:cubicBezTo>
                  <a:pt x="139" y="859"/>
                  <a:pt x="150" y="854"/>
                  <a:pt x="156" y="848"/>
                </a:cubicBezTo>
                <a:cubicBezTo>
                  <a:pt x="506" y="454"/>
                  <a:pt x="506" y="454"/>
                  <a:pt x="506" y="454"/>
                </a:cubicBezTo>
                <a:cubicBezTo>
                  <a:pt x="512" y="443"/>
                  <a:pt x="523" y="443"/>
                  <a:pt x="534" y="443"/>
                </a:cubicBezTo>
                <a:cubicBezTo>
                  <a:pt x="540" y="443"/>
                  <a:pt x="545" y="443"/>
                  <a:pt x="551" y="443"/>
                </a:cubicBezTo>
                <a:cubicBezTo>
                  <a:pt x="885" y="649"/>
                  <a:pt x="885" y="649"/>
                  <a:pt x="885" y="649"/>
                </a:cubicBezTo>
                <a:cubicBezTo>
                  <a:pt x="891" y="649"/>
                  <a:pt x="896" y="649"/>
                  <a:pt x="902" y="649"/>
                </a:cubicBezTo>
                <a:cubicBezTo>
                  <a:pt x="913" y="649"/>
                  <a:pt x="924" y="649"/>
                  <a:pt x="930" y="643"/>
                </a:cubicBezTo>
                <a:cubicBezTo>
                  <a:pt x="1253" y="327"/>
                  <a:pt x="1253" y="327"/>
                  <a:pt x="1253" y="327"/>
                </a:cubicBezTo>
                <a:cubicBezTo>
                  <a:pt x="1258" y="321"/>
                  <a:pt x="1264" y="321"/>
                  <a:pt x="1269" y="321"/>
                </a:cubicBezTo>
                <a:cubicBezTo>
                  <a:pt x="1281" y="321"/>
                  <a:pt x="1286" y="321"/>
                  <a:pt x="1292" y="327"/>
                </a:cubicBezTo>
                <a:cubicBezTo>
                  <a:pt x="1420" y="460"/>
                  <a:pt x="1420" y="460"/>
                  <a:pt x="1420" y="460"/>
                </a:cubicBezTo>
                <a:cubicBezTo>
                  <a:pt x="1425" y="460"/>
                  <a:pt x="1431" y="466"/>
                  <a:pt x="1431" y="466"/>
                </a:cubicBezTo>
                <a:cubicBezTo>
                  <a:pt x="1436" y="466"/>
                  <a:pt x="1442" y="460"/>
                  <a:pt x="1442" y="449"/>
                </a:cubicBezTo>
                <a:cubicBezTo>
                  <a:pt x="1464" y="28"/>
                  <a:pt x="1464" y="28"/>
                  <a:pt x="1464" y="28"/>
                </a:cubicBezTo>
                <a:cubicBezTo>
                  <a:pt x="1464" y="11"/>
                  <a:pt x="1453" y="0"/>
                  <a:pt x="1442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47604" tIns="23802" rIns="47604" bIns="23802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48551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67" b="0" i="0" u="none" strike="noStrike" kern="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Segoe UI Light" panose="020B0502040204020203" pitchFamily="34" charset="0"/>
              <a:ea typeface="MS PGothic" panose="020B0600070205080204" pitchFamily="34" charset="-128"/>
              <a:cs typeface="Segoe UI Light" panose="020B0502040204020203" pitchFamily="34" charset="0"/>
            </a:endParaRPr>
          </a:p>
        </p:txBody>
      </p:sp>
      <p:sp>
        <p:nvSpPr>
          <p:cNvPr id="89" name="Freeform 53"/>
          <p:cNvSpPr>
            <a:spLocks noEditPoints="1"/>
          </p:cNvSpPr>
          <p:nvPr/>
        </p:nvSpPr>
        <p:spPr bwMode="auto">
          <a:xfrm>
            <a:off x="2325989" y="3641071"/>
            <a:ext cx="311190" cy="405665"/>
          </a:xfrm>
          <a:custGeom>
            <a:avLst/>
            <a:gdLst>
              <a:gd name="T0" fmla="*/ 1011 w 1280"/>
              <a:gd name="T1" fmla="*/ 1048 h 1827"/>
              <a:gd name="T2" fmla="*/ 958 w 1280"/>
              <a:gd name="T3" fmla="*/ 1013 h 1827"/>
              <a:gd name="T4" fmla="*/ 847 w 1280"/>
              <a:gd name="T5" fmla="*/ 961 h 1827"/>
              <a:gd name="T6" fmla="*/ 814 w 1280"/>
              <a:gd name="T7" fmla="*/ 965 h 1827"/>
              <a:gd name="T8" fmla="*/ 710 w 1280"/>
              <a:gd name="T9" fmla="*/ 572 h 1827"/>
              <a:gd name="T10" fmla="*/ 601 w 1280"/>
              <a:gd name="T11" fmla="*/ 594 h 1827"/>
              <a:gd name="T12" fmla="*/ 705 w 1280"/>
              <a:gd name="T13" fmla="*/ 1159 h 1827"/>
              <a:gd name="T14" fmla="*/ 663 w 1280"/>
              <a:gd name="T15" fmla="*/ 1238 h 1827"/>
              <a:gd name="T16" fmla="*/ 504 w 1280"/>
              <a:gd name="T17" fmla="*/ 1112 h 1827"/>
              <a:gd name="T18" fmla="*/ 348 w 1280"/>
              <a:gd name="T19" fmla="*/ 1032 h 1827"/>
              <a:gd name="T20" fmla="*/ 378 w 1280"/>
              <a:gd name="T21" fmla="*/ 1138 h 1827"/>
              <a:gd name="T22" fmla="*/ 416 w 1280"/>
              <a:gd name="T23" fmla="*/ 1245 h 1827"/>
              <a:gd name="T24" fmla="*/ 492 w 1280"/>
              <a:gd name="T25" fmla="*/ 1368 h 1827"/>
              <a:gd name="T26" fmla="*/ 729 w 1280"/>
              <a:gd name="T27" fmla="*/ 1659 h 1827"/>
              <a:gd name="T28" fmla="*/ 805 w 1280"/>
              <a:gd name="T29" fmla="*/ 1827 h 1827"/>
              <a:gd name="T30" fmla="*/ 1238 w 1280"/>
              <a:gd name="T31" fmla="*/ 1652 h 1827"/>
              <a:gd name="T32" fmla="*/ 1257 w 1280"/>
              <a:gd name="T33" fmla="*/ 1576 h 1827"/>
              <a:gd name="T34" fmla="*/ 1273 w 1280"/>
              <a:gd name="T35" fmla="*/ 1354 h 1827"/>
              <a:gd name="T36" fmla="*/ 1198 w 1280"/>
              <a:gd name="T37" fmla="*/ 1207 h 1827"/>
              <a:gd name="T38" fmla="*/ 1131 w 1280"/>
              <a:gd name="T39" fmla="*/ 1112 h 1827"/>
              <a:gd name="T40" fmla="*/ 826 w 1280"/>
              <a:gd name="T41" fmla="*/ 381 h 1827"/>
              <a:gd name="T42" fmla="*/ 442 w 1280"/>
              <a:gd name="T43" fmla="*/ 0 h 1827"/>
              <a:gd name="T44" fmla="*/ 826 w 1280"/>
              <a:gd name="T45" fmla="*/ 381 h 1827"/>
              <a:gd name="T46" fmla="*/ 386 w 1280"/>
              <a:gd name="T47" fmla="*/ 381 h 1827"/>
              <a:gd name="T48" fmla="*/ 0 w 1280"/>
              <a:gd name="T49" fmla="*/ 0 h 1827"/>
              <a:gd name="T50" fmla="*/ 386 w 1280"/>
              <a:gd name="T51" fmla="*/ 381 h 1827"/>
              <a:gd name="T52" fmla="*/ 594 w 1280"/>
              <a:gd name="T53" fmla="*/ 821 h 1827"/>
              <a:gd name="T54" fmla="*/ 442 w 1280"/>
              <a:gd name="T55" fmla="*/ 437 h 1827"/>
              <a:gd name="T56" fmla="*/ 826 w 1280"/>
              <a:gd name="T57" fmla="*/ 821 h 1827"/>
              <a:gd name="T58" fmla="*/ 755 w 1280"/>
              <a:gd name="T59" fmla="*/ 561 h 1827"/>
              <a:gd name="T60" fmla="*/ 755 w 1280"/>
              <a:gd name="T61" fmla="*/ 561 h 1827"/>
              <a:gd name="T62" fmla="*/ 636 w 1280"/>
              <a:gd name="T63" fmla="*/ 480 h 1827"/>
              <a:gd name="T64" fmla="*/ 554 w 1280"/>
              <a:gd name="T65" fmla="*/ 601 h 1827"/>
              <a:gd name="T66" fmla="*/ 594 w 1280"/>
              <a:gd name="T67" fmla="*/ 821 h 1827"/>
              <a:gd name="T68" fmla="*/ 0 w 1280"/>
              <a:gd name="T69" fmla="*/ 1261 h 1827"/>
              <a:gd name="T70" fmla="*/ 606 w 1280"/>
              <a:gd name="T71" fmla="*/ 880 h 1827"/>
              <a:gd name="T72" fmla="*/ 658 w 1280"/>
              <a:gd name="T73" fmla="*/ 1157 h 1827"/>
              <a:gd name="T74" fmla="*/ 658 w 1280"/>
              <a:gd name="T75" fmla="*/ 1159 h 1827"/>
              <a:gd name="T76" fmla="*/ 644 w 1280"/>
              <a:gd name="T77" fmla="*/ 1193 h 1827"/>
              <a:gd name="T78" fmla="*/ 608 w 1280"/>
              <a:gd name="T79" fmla="*/ 1178 h 1827"/>
              <a:gd name="T80" fmla="*/ 563 w 1280"/>
              <a:gd name="T81" fmla="*/ 1117 h 1827"/>
              <a:gd name="T82" fmla="*/ 532 w 1280"/>
              <a:gd name="T83" fmla="*/ 1067 h 1827"/>
              <a:gd name="T84" fmla="*/ 388 w 1280"/>
              <a:gd name="T85" fmla="*/ 972 h 1827"/>
              <a:gd name="T86" fmla="*/ 298 w 1280"/>
              <a:gd name="T87" fmla="*/ 1105 h 1827"/>
              <a:gd name="T88" fmla="*/ 336 w 1280"/>
              <a:gd name="T89" fmla="*/ 1157 h 1827"/>
              <a:gd name="T90" fmla="*/ 357 w 1280"/>
              <a:gd name="T91" fmla="*/ 1219 h 1827"/>
              <a:gd name="T92" fmla="*/ 386 w 1280"/>
              <a:gd name="T93" fmla="*/ 821 h 1827"/>
              <a:gd name="T94" fmla="*/ 0 w 1280"/>
              <a:gd name="T95" fmla="*/ 437 h 1827"/>
              <a:gd name="T96" fmla="*/ 386 w 1280"/>
              <a:gd name="T97" fmla="*/ 821 h 18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280" h="1827">
                <a:moveTo>
                  <a:pt x="1013" y="1048"/>
                </a:moveTo>
                <a:cubicBezTo>
                  <a:pt x="1011" y="1048"/>
                  <a:pt x="1011" y="1048"/>
                  <a:pt x="1011" y="1048"/>
                </a:cubicBezTo>
                <a:cubicBezTo>
                  <a:pt x="977" y="1046"/>
                  <a:pt x="977" y="1046"/>
                  <a:pt x="977" y="1046"/>
                </a:cubicBezTo>
                <a:cubicBezTo>
                  <a:pt x="958" y="1013"/>
                  <a:pt x="958" y="1013"/>
                  <a:pt x="958" y="1013"/>
                </a:cubicBezTo>
                <a:cubicBezTo>
                  <a:pt x="954" y="1008"/>
                  <a:pt x="951" y="1003"/>
                  <a:pt x="947" y="998"/>
                </a:cubicBezTo>
                <a:cubicBezTo>
                  <a:pt x="918" y="975"/>
                  <a:pt x="885" y="961"/>
                  <a:pt x="847" y="961"/>
                </a:cubicBezTo>
                <a:cubicBezTo>
                  <a:pt x="814" y="968"/>
                  <a:pt x="814" y="968"/>
                  <a:pt x="814" y="968"/>
                </a:cubicBezTo>
                <a:cubicBezTo>
                  <a:pt x="814" y="965"/>
                  <a:pt x="814" y="965"/>
                  <a:pt x="814" y="965"/>
                </a:cubicBezTo>
                <a:cubicBezTo>
                  <a:pt x="814" y="963"/>
                  <a:pt x="814" y="963"/>
                  <a:pt x="814" y="963"/>
                </a:cubicBezTo>
                <a:cubicBezTo>
                  <a:pt x="710" y="572"/>
                  <a:pt x="710" y="572"/>
                  <a:pt x="710" y="572"/>
                </a:cubicBezTo>
                <a:cubicBezTo>
                  <a:pt x="696" y="523"/>
                  <a:pt x="672" y="523"/>
                  <a:pt x="644" y="527"/>
                </a:cubicBezTo>
                <a:cubicBezTo>
                  <a:pt x="644" y="527"/>
                  <a:pt x="589" y="535"/>
                  <a:pt x="601" y="594"/>
                </a:cubicBezTo>
                <a:cubicBezTo>
                  <a:pt x="703" y="1140"/>
                  <a:pt x="703" y="1140"/>
                  <a:pt x="703" y="1140"/>
                </a:cubicBezTo>
                <a:cubicBezTo>
                  <a:pt x="703" y="1148"/>
                  <a:pt x="705" y="1152"/>
                  <a:pt x="705" y="1159"/>
                </a:cubicBezTo>
                <a:cubicBezTo>
                  <a:pt x="705" y="1183"/>
                  <a:pt x="696" y="1207"/>
                  <a:pt x="679" y="1226"/>
                </a:cubicBezTo>
                <a:cubicBezTo>
                  <a:pt x="674" y="1233"/>
                  <a:pt x="667" y="1238"/>
                  <a:pt x="663" y="1238"/>
                </a:cubicBezTo>
                <a:cubicBezTo>
                  <a:pt x="632" y="1242"/>
                  <a:pt x="603" y="1235"/>
                  <a:pt x="577" y="1216"/>
                </a:cubicBezTo>
                <a:cubicBezTo>
                  <a:pt x="547" y="1193"/>
                  <a:pt x="525" y="1143"/>
                  <a:pt x="504" y="1112"/>
                </a:cubicBezTo>
                <a:cubicBezTo>
                  <a:pt x="492" y="1093"/>
                  <a:pt x="483" y="1072"/>
                  <a:pt x="468" y="1055"/>
                </a:cubicBezTo>
                <a:cubicBezTo>
                  <a:pt x="440" y="1027"/>
                  <a:pt x="383" y="1003"/>
                  <a:pt x="348" y="1032"/>
                </a:cubicBezTo>
                <a:cubicBezTo>
                  <a:pt x="338" y="1041"/>
                  <a:pt x="326" y="1065"/>
                  <a:pt x="336" y="1077"/>
                </a:cubicBezTo>
                <a:cubicBezTo>
                  <a:pt x="350" y="1096"/>
                  <a:pt x="369" y="1117"/>
                  <a:pt x="378" y="1138"/>
                </a:cubicBezTo>
                <a:cubicBezTo>
                  <a:pt x="388" y="1155"/>
                  <a:pt x="393" y="1174"/>
                  <a:pt x="400" y="1193"/>
                </a:cubicBezTo>
                <a:cubicBezTo>
                  <a:pt x="404" y="1204"/>
                  <a:pt x="407" y="1235"/>
                  <a:pt x="416" y="1245"/>
                </a:cubicBezTo>
                <a:cubicBezTo>
                  <a:pt x="426" y="1254"/>
                  <a:pt x="435" y="1273"/>
                  <a:pt x="442" y="1285"/>
                </a:cubicBezTo>
                <a:cubicBezTo>
                  <a:pt x="459" y="1311"/>
                  <a:pt x="483" y="1339"/>
                  <a:pt x="492" y="1368"/>
                </a:cubicBezTo>
                <a:cubicBezTo>
                  <a:pt x="525" y="1415"/>
                  <a:pt x="539" y="1477"/>
                  <a:pt x="575" y="1522"/>
                </a:cubicBezTo>
                <a:cubicBezTo>
                  <a:pt x="620" y="1576"/>
                  <a:pt x="663" y="1628"/>
                  <a:pt x="729" y="1659"/>
                </a:cubicBezTo>
                <a:cubicBezTo>
                  <a:pt x="752" y="1673"/>
                  <a:pt x="769" y="1692"/>
                  <a:pt x="783" y="1713"/>
                </a:cubicBezTo>
                <a:cubicBezTo>
                  <a:pt x="805" y="1827"/>
                  <a:pt x="805" y="1827"/>
                  <a:pt x="805" y="1827"/>
                </a:cubicBezTo>
                <a:cubicBezTo>
                  <a:pt x="887" y="1813"/>
                  <a:pt x="1224" y="1756"/>
                  <a:pt x="1259" y="1749"/>
                </a:cubicBezTo>
                <a:cubicBezTo>
                  <a:pt x="1238" y="1652"/>
                  <a:pt x="1238" y="1652"/>
                  <a:pt x="1238" y="1652"/>
                </a:cubicBezTo>
                <a:cubicBezTo>
                  <a:pt x="1235" y="1649"/>
                  <a:pt x="1235" y="1649"/>
                  <a:pt x="1235" y="1649"/>
                </a:cubicBezTo>
                <a:cubicBezTo>
                  <a:pt x="1245" y="1626"/>
                  <a:pt x="1250" y="1600"/>
                  <a:pt x="1257" y="1576"/>
                </a:cubicBezTo>
                <a:cubicBezTo>
                  <a:pt x="1262" y="1555"/>
                  <a:pt x="1266" y="1536"/>
                  <a:pt x="1266" y="1514"/>
                </a:cubicBezTo>
                <a:cubicBezTo>
                  <a:pt x="1269" y="1462"/>
                  <a:pt x="1271" y="1408"/>
                  <a:pt x="1273" y="1354"/>
                </a:cubicBezTo>
                <a:cubicBezTo>
                  <a:pt x="1273" y="1344"/>
                  <a:pt x="1273" y="1335"/>
                  <a:pt x="1276" y="1325"/>
                </a:cubicBezTo>
                <a:cubicBezTo>
                  <a:pt x="1280" y="1294"/>
                  <a:pt x="1262" y="1211"/>
                  <a:pt x="1198" y="1207"/>
                </a:cubicBezTo>
                <a:cubicBezTo>
                  <a:pt x="1195" y="1207"/>
                  <a:pt x="1195" y="1207"/>
                  <a:pt x="1195" y="1204"/>
                </a:cubicBezTo>
                <a:cubicBezTo>
                  <a:pt x="1179" y="1171"/>
                  <a:pt x="1157" y="1140"/>
                  <a:pt x="1131" y="1112"/>
                </a:cubicBezTo>
                <a:cubicBezTo>
                  <a:pt x="1101" y="1079"/>
                  <a:pt x="1058" y="1055"/>
                  <a:pt x="1013" y="1048"/>
                </a:cubicBezTo>
                <a:close/>
                <a:moveTo>
                  <a:pt x="826" y="381"/>
                </a:moveTo>
                <a:cubicBezTo>
                  <a:pt x="442" y="381"/>
                  <a:pt x="442" y="381"/>
                  <a:pt x="442" y="381"/>
                </a:cubicBezTo>
                <a:cubicBezTo>
                  <a:pt x="442" y="0"/>
                  <a:pt x="442" y="0"/>
                  <a:pt x="442" y="0"/>
                </a:cubicBezTo>
                <a:cubicBezTo>
                  <a:pt x="826" y="0"/>
                  <a:pt x="826" y="0"/>
                  <a:pt x="826" y="0"/>
                </a:cubicBezTo>
                <a:cubicBezTo>
                  <a:pt x="826" y="381"/>
                  <a:pt x="826" y="381"/>
                  <a:pt x="826" y="381"/>
                </a:cubicBezTo>
                <a:cubicBezTo>
                  <a:pt x="826" y="381"/>
                  <a:pt x="826" y="381"/>
                  <a:pt x="826" y="381"/>
                </a:cubicBezTo>
                <a:close/>
                <a:moveTo>
                  <a:pt x="386" y="381"/>
                </a:moveTo>
                <a:cubicBezTo>
                  <a:pt x="0" y="381"/>
                  <a:pt x="0" y="381"/>
                  <a:pt x="0" y="381"/>
                </a:cubicBezTo>
                <a:cubicBezTo>
                  <a:pt x="0" y="0"/>
                  <a:pt x="0" y="0"/>
                  <a:pt x="0" y="0"/>
                </a:cubicBezTo>
                <a:cubicBezTo>
                  <a:pt x="386" y="0"/>
                  <a:pt x="386" y="0"/>
                  <a:pt x="386" y="0"/>
                </a:cubicBezTo>
                <a:cubicBezTo>
                  <a:pt x="386" y="381"/>
                  <a:pt x="386" y="381"/>
                  <a:pt x="386" y="381"/>
                </a:cubicBezTo>
                <a:cubicBezTo>
                  <a:pt x="386" y="381"/>
                  <a:pt x="386" y="381"/>
                  <a:pt x="386" y="381"/>
                </a:cubicBezTo>
                <a:close/>
                <a:moveTo>
                  <a:pt x="594" y="821"/>
                </a:moveTo>
                <a:cubicBezTo>
                  <a:pt x="442" y="821"/>
                  <a:pt x="442" y="821"/>
                  <a:pt x="442" y="821"/>
                </a:cubicBezTo>
                <a:cubicBezTo>
                  <a:pt x="442" y="437"/>
                  <a:pt x="442" y="437"/>
                  <a:pt x="442" y="437"/>
                </a:cubicBezTo>
                <a:cubicBezTo>
                  <a:pt x="826" y="437"/>
                  <a:pt x="826" y="437"/>
                  <a:pt x="826" y="437"/>
                </a:cubicBezTo>
                <a:cubicBezTo>
                  <a:pt x="826" y="821"/>
                  <a:pt x="826" y="821"/>
                  <a:pt x="826" y="821"/>
                </a:cubicBezTo>
                <a:cubicBezTo>
                  <a:pt x="826" y="821"/>
                  <a:pt x="826" y="821"/>
                  <a:pt x="826" y="821"/>
                </a:cubicBezTo>
                <a:cubicBezTo>
                  <a:pt x="755" y="561"/>
                  <a:pt x="755" y="561"/>
                  <a:pt x="755" y="561"/>
                </a:cubicBezTo>
                <a:cubicBezTo>
                  <a:pt x="755" y="561"/>
                  <a:pt x="755" y="561"/>
                  <a:pt x="755" y="561"/>
                </a:cubicBezTo>
                <a:cubicBezTo>
                  <a:pt x="755" y="561"/>
                  <a:pt x="755" y="561"/>
                  <a:pt x="755" y="561"/>
                </a:cubicBezTo>
                <a:cubicBezTo>
                  <a:pt x="736" y="492"/>
                  <a:pt x="693" y="478"/>
                  <a:pt x="663" y="478"/>
                </a:cubicBezTo>
                <a:cubicBezTo>
                  <a:pt x="653" y="478"/>
                  <a:pt x="644" y="478"/>
                  <a:pt x="636" y="480"/>
                </a:cubicBezTo>
                <a:cubicBezTo>
                  <a:pt x="627" y="482"/>
                  <a:pt x="591" y="490"/>
                  <a:pt x="570" y="520"/>
                </a:cubicBezTo>
                <a:cubicBezTo>
                  <a:pt x="558" y="537"/>
                  <a:pt x="547" y="563"/>
                  <a:pt x="554" y="601"/>
                </a:cubicBezTo>
                <a:cubicBezTo>
                  <a:pt x="594" y="821"/>
                  <a:pt x="594" y="821"/>
                  <a:pt x="594" y="821"/>
                </a:cubicBezTo>
                <a:cubicBezTo>
                  <a:pt x="594" y="821"/>
                  <a:pt x="594" y="821"/>
                  <a:pt x="594" y="821"/>
                </a:cubicBezTo>
                <a:close/>
                <a:moveTo>
                  <a:pt x="371" y="1261"/>
                </a:moveTo>
                <a:cubicBezTo>
                  <a:pt x="0" y="1261"/>
                  <a:pt x="0" y="1261"/>
                  <a:pt x="0" y="1261"/>
                </a:cubicBezTo>
                <a:cubicBezTo>
                  <a:pt x="0" y="880"/>
                  <a:pt x="0" y="880"/>
                  <a:pt x="0" y="880"/>
                </a:cubicBezTo>
                <a:cubicBezTo>
                  <a:pt x="606" y="880"/>
                  <a:pt x="606" y="880"/>
                  <a:pt x="606" y="880"/>
                </a:cubicBezTo>
                <a:cubicBezTo>
                  <a:pt x="655" y="1150"/>
                  <a:pt x="655" y="1150"/>
                  <a:pt x="655" y="1150"/>
                </a:cubicBezTo>
                <a:cubicBezTo>
                  <a:pt x="655" y="1152"/>
                  <a:pt x="658" y="1155"/>
                  <a:pt x="658" y="1157"/>
                </a:cubicBezTo>
                <a:cubicBezTo>
                  <a:pt x="658" y="1157"/>
                  <a:pt x="658" y="1157"/>
                  <a:pt x="658" y="1157"/>
                </a:cubicBezTo>
                <a:cubicBezTo>
                  <a:pt x="658" y="1159"/>
                  <a:pt x="658" y="1159"/>
                  <a:pt x="658" y="1159"/>
                </a:cubicBezTo>
                <a:cubicBezTo>
                  <a:pt x="658" y="1171"/>
                  <a:pt x="653" y="1181"/>
                  <a:pt x="646" y="1193"/>
                </a:cubicBezTo>
                <a:cubicBezTo>
                  <a:pt x="644" y="1193"/>
                  <a:pt x="644" y="1193"/>
                  <a:pt x="644" y="1193"/>
                </a:cubicBezTo>
                <a:cubicBezTo>
                  <a:pt x="632" y="1193"/>
                  <a:pt x="620" y="1188"/>
                  <a:pt x="608" y="1178"/>
                </a:cubicBezTo>
                <a:cubicBezTo>
                  <a:pt x="608" y="1178"/>
                  <a:pt x="608" y="1178"/>
                  <a:pt x="608" y="1178"/>
                </a:cubicBezTo>
                <a:cubicBezTo>
                  <a:pt x="608" y="1178"/>
                  <a:pt x="608" y="1178"/>
                  <a:pt x="608" y="1178"/>
                </a:cubicBezTo>
                <a:cubicBezTo>
                  <a:pt x="591" y="1167"/>
                  <a:pt x="577" y="1140"/>
                  <a:pt x="563" y="1117"/>
                </a:cubicBezTo>
                <a:cubicBezTo>
                  <a:pt x="556" y="1107"/>
                  <a:pt x="551" y="1096"/>
                  <a:pt x="544" y="1086"/>
                </a:cubicBezTo>
                <a:cubicBezTo>
                  <a:pt x="539" y="1079"/>
                  <a:pt x="537" y="1074"/>
                  <a:pt x="532" y="1067"/>
                </a:cubicBezTo>
                <a:cubicBezTo>
                  <a:pt x="525" y="1053"/>
                  <a:pt x="516" y="1036"/>
                  <a:pt x="502" y="1022"/>
                </a:cubicBezTo>
                <a:cubicBezTo>
                  <a:pt x="473" y="991"/>
                  <a:pt x="428" y="972"/>
                  <a:pt x="388" y="972"/>
                </a:cubicBezTo>
                <a:cubicBezTo>
                  <a:pt x="362" y="972"/>
                  <a:pt x="338" y="980"/>
                  <a:pt x="319" y="994"/>
                </a:cubicBezTo>
                <a:cubicBezTo>
                  <a:pt x="293" y="1017"/>
                  <a:pt x="270" y="1069"/>
                  <a:pt x="298" y="1105"/>
                </a:cubicBezTo>
                <a:cubicBezTo>
                  <a:pt x="303" y="1110"/>
                  <a:pt x="305" y="1114"/>
                  <a:pt x="310" y="1119"/>
                </a:cubicBezTo>
                <a:cubicBezTo>
                  <a:pt x="319" y="1133"/>
                  <a:pt x="331" y="1148"/>
                  <a:pt x="336" y="1157"/>
                </a:cubicBezTo>
                <a:cubicBezTo>
                  <a:pt x="343" y="1174"/>
                  <a:pt x="350" y="1193"/>
                  <a:pt x="355" y="1207"/>
                </a:cubicBezTo>
                <a:cubicBezTo>
                  <a:pt x="355" y="1209"/>
                  <a:pt x="357" y="1214"/>
                  <a:pt x="357" y="1219"/>
                </a:cubicBezTo>
                <a:cubicBezTo>
                  <a:pt x="359" y="1233"/>
                  <a:pt x="364" y="1247"/>
                  <a:pt x="371" y="1261"/>
                </a:cubicBezTo>
                <a:close/>
                <a:moveTo>
                  <a:pt x="386" y="821"/>
                </a:moveTo>
                <a:cubicBezTo>
                  <a:pt x="0" y="821"/>
                  <a:pt x="0" y="821"/>
                  <a:pt x="0" y="821"/>
                </a:cubicBezTo>
                <a:cubicBezTo>
                  <a:pt x="0" y="437"/>
                  <a:pt x="0" y="437"/>
                  <a:pt x="0" y="437"/>
                </a:cubicBezTo>
                <a:cubicBezTo>
                  <a:pt x="386" y="437"/>
                  <a:pt x="386" y="437"/>
                  <a:pt x="386" y="437"/>
                </a:cubicBezTo>
                <a:cubicBezTo>
                  <a:pt x="386" y="821"/>
                  <a:pt x="386" y="821"/>
                  <a:pt x="386" y="821"/>
                </a:cubicBezTo>
                <a:cubicBezTo>
                  <a:pt x="386" y="821"/>
                  <a:pt x="386" y="821"/>
                  <a:pt x="386" y="82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47604" tIns="23802" rIns="47604" bIns="23802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48551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67" b="0" i="0" u="none" strike="noStrike" kern="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Segoe UI Light" panose="020B0502040204020203" pitchFamily="34" charset="0"/>
              <a:ea typeface="MS PGothic" panose="020B0600070205080204" pitchFamily="34" charset="-128"/>
              <a:cs typeface="Segoe UI Light" panose="020B0502040204020203" pitchFamily="34" charset="0"/>
            </a:endParaRPr>
          </a:p>
        </p:txBody>
      </p:sp>
      <p:sp>
        <p:nvSpPr>
          <p:cNvPr id="90" name="Freeform 16"/>
          <p:cNvSpPr>
            <a:spLocks noChangeAspect="1" noEditPoints="1"/>
          </p:cNvSpPr>
          <p:nvPr/>
        </p:nvSpPr>
        <p:spPr bwMode="auto">
          <a:xfrm>
            <a:off x="1673659" y="4207523"/>
            <a:ext cx="373319" cy="333914"/>
          </a:xfrm>
          <a:custGeom>
            <a:avLst/>
            <a:gdLst>
              <a:gd name="T0" fmla="*/ 363 w 400"/>
              <a:gd name="T1" fmla="*/ 0 h 367"/>
              <a:gd name="T2" fmla="*/ 38 w 400"/>
              <a:gd name="T3" fmla="*/ 0 h 367"/>
              <a:gd name="T4" fmla="*/ 0 w 400"/>
              <a:gd name="T5" fmla="*/ 37 h 367"/>
              <a:gd name="T6" fmla="*/ 0 w 400"/>
              <a:gd name="T7" fmla="*/ 255 h 367"/>
              <a:gd name="T8" fmla="*/ 38 w 400"/>
              <a:gd name="T9" fmla="*/ 292 h 367"/>
              <a:gd name="T10" fmla="*/ 184 w 400"/>
              <a:gd name="T11" fmla="*/ 292 h 367"/>
              <a:gd name="T12" fmla="*/ 230 w 400"/>
              <a:gd name="T13" fmla="*/ 335 h 367"/>
              <a:gd name="T14" fmla="*/ 230 w 400"/>
              <a:gd name="T15" fmla="*/ 367 h 367"/>
              <a:gd name="T16" fmla="*/ 328 w 400"/>
              <a:gd name="T17" fmla="*/ 367 h 367"/>
              <a:gd name="T18" fmla="*/ 328 w 400"/>
              <a:gd name="T19" fmla="*/ 292 h 367"/>
              <a:gd name="T20" fmla="*/ 363 w 400"/>
              <a:gd name="T21" fmla="*/ 292 h 367"/>
              <a:gd name="T22" fmla="*/ 400 w 400"/>
              <a:gd name="T23" fmla="*/ 255 h 367"/>
              <a:gd name="T24" fmla="*/ 400 w 400"/>
              <a:gd name="T25" fmla="*/ 37 h 367"/>
              <a:gd name="T26" fmla="*/ 363 w 400"/>
              <a:gd name="T27" fmla="*/ 0 h 367"/>
              <a:gd name="T28" fmla="*/ 361 w 400"/>
              <a:gd name="T29" fmla="*/ 253 h 367"/>
              <a:gd name="T30" fmla="*/ 328 w 400"/>
              <a:gd name="T31" fmla="*/ 253 h 367"/>
              <a:gd name="T32" fmla="*/ 328 w 400"/>
              <a:gd name="T33" fmla="*/ 197 h 367"/>
              <a:gd name="T34" fmla="*/ 305 w 400"/>
              <a:gd name="T35" fmla="*/ 197 h 367"/>
              <a:gd name="T36" fmla="*/ 305 w 400"/>
              <a:gd name="T37" fmla="*/ 219 h 367"/>
              <a:gd name="T38" fmla="*/ 298 w 400"/>
              <a:gd name="T39" fmla="*/ 219 h 367"/>
              <a:gd name="T40" fmla="*/ 298 w 400"/>
              <a:gd name="T41" fmla="*/ 180 h 367"/>
              <a:gd name="T42" fmla="*/ 275 w 400"/>
              <a:gd name="T43" fmla="*/ 180 h 367"/>
              <a:gd name="T44" fmla="*/ 275 w 400"/>
              <a:gd name="T45" fmla="*/ 219 h 367"/>
              <a:gd name="T46" fmla="*/ 269 w 400"/>
              <a:gd name="T47" fmla="*/ 219 h 367"/>
              <a:gd name="T48" fmla="*/ 269 w 400"/>
              <a:gd name="T49" fmla="*/ 166 h 367"/>
              <a:gd name="T50" fmla="*/ 245 w 400"/>
              <a:gd name="T51" fmla="*/ 166 h 367"/>
              <a:gd name="T52" fmla="*/ 245 w 400"/>
              <a:gd name="T53" fmla="*/ 219 h 367"/>
              <a:gd name="T54" fmla="*/ 239 w 400"/>
              <a:gd name="T55" fmla="*/ 219 h 367"/>
              <a:gd name="T56" fmla="*/ 239 w 400"/>
              <a:gd name="T57" fmla="*/ 111 h 367"/>
              <a:gd name="T58" fmla="*/ 216 w 400"/>
              <a:gd name="T59" fmla="*/ 111 h 367"/>
              <a:gd name="T60" fmla="*/ 216 w 400"/>
              <a:gd name="T61" fmla="*/ 249 h 367"/>
              <a:gd name="T62" fmla="*/ 208 w 400"/>
              <a:gd name="T63" fmla="*/ 249 h 367"/>
              <a:gd name="T64" fmla="*/ 208 w 400"/>
              <a:gd name="T65" fmla="*/ 197 h 367"/>
              <a:gd name="T66" fmla="*/ 183 w 400"/>
              <a:gd name="T67" fmla="*/ 197 h 367"/>
              <a:gd name="T68" fmla="*/ 183 w 400"/>
              <a:gd name="T69" fmla="*/ 253 h 367"/>
              <a:gd name="T70" fmla="*/ 39 w 400"/>
              <a:gd name="T71" fmla="*/ 253 h 367"/>
              <a:gd name="T72" fmla="*/ 39 w 400"/>
              <a:gd name="T73" fmla="*/ 39 h 367"/>
              <a:gd name="T74" fmla="*/ 361 w 400"/>
              <a:gd name="T75" fmla="*/ 39 h 367"/>
              <a:gd name="T76" fmla="*/ 361 w 400"/>
              <a:gd name="T77" fmla="*/ 253 h 3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00" h="367">
                <a:moveTo>
                  <a:pt x="363" y="0"/>
                </a:moveTo>
                <a:cubicBezTo>
                  <a:pt x="38" y="0"/>
                  <a:pt x="38" y="0"/>
                  <a:pt x="38" y="0"/>
                </a:cubicBezTo>
                <a:cubicBezTo>
                  <a:pt x="17" y="0"/>
                  <a:pt x="0" y="16"/>
                  <a:pt x="0" y="37"/>
                </a:cubicBezTo>
                <a:cubicBezTo>
                  <a:pt x="0" y="255"/>
                  <a:pt x="0" y="255"/>
                  <a:pt x="0" y="255"/>
                </a:cubicBezTo>
                <a:cubicBezTo>
                  <a:pt x="0" y="275"/>
                  <a:pt x="17" y="292"/>
                  <a:pt x="38" y="292"/>
                </a:cubicBezTo>
                <a:cubicBezTo>
                  <a:pt x="184" y="292"/>
                  <a:pt x="184" y="292"/>
                  <a:pt x="184" y="292"/>
                </a:cubicBezTo>
                <a:cubicBezTo>
                  <a:pt x="191" y="310"/>
                  <a:pt x="230" y="335"/>
                  <a:pt x="230" y="335"/>
                </a:cubicBezTo>
                <a:cubicBezTo>
                  <a:pt x="230" y="367"/>
                  <a:pt x="230" y="367"/>
                  <a:pt x="230" y="367"/>
                </a:cubicBezTo>
                <a:cubicBezTo>
                  <a:pt x="328" y="367"/>
                  <a:pt x="328" y="367"/>
                  <a:pt x="328" y="367"/>
                </a:cubicBezTo>
                <a:cubicBezTo>
                  <a:pt x="328" y="292"/>
                  <a:pt x="328" y="292"/>
                  <a:pt x="328" y="292"/>
                </a:cubicBezTo>
                <a:cubicBezTo>
                  <a:pt x="363" y="292"/>
                  <a:pt x="363" y="292"/>
                  <a:pt x="363" y="292"/>
                </a:cubicBezTo>
                <a:cubicBezTo>
                  <a:pt x="384" y="292"/>
                  <a:pt x="400" y="275"/>
                  <a:pt x="400" y="255"/>
                </a:cubicBezTo>
                <a:cubicBezTo>
                  <a:pt x="400" y="37"/>
                  <a:pt x="400" y="37"/>
                  <a:pt x="400" y="37"/>
                </a:cubicBezTo>
                <a:cubicBezTo>
                  <a:pt x="400" y="16"/>
                  <a:pt x="384" y="0"/>
                  <a:pt x="363" y="0"/>
                </a:cubicBezTo>
                <a:close/>
                <a:moveTo>
                  <a:pt x="361" y="253"/>
                </a:moveTo>
                <a:cubicBezTo>
                  <a:pt x="328" y="253"/>
                  <a:pt x="328" y="253"/>
                  <a:pt x="328" y="253"/>
                </a:cubicBezTo>
                <a:cubicBezTo>
                  <a:pt x="328" y="197"/>
                  <a:pt x="328" y="197"/>
                  <a:pt x="328" y="197"/>
                </a:cubicBezTo>
                <a:cubicBezTo>
                  <a:pt x="328" y="181"/>
                  <a:pt x="305" y="181"/>
                  <a:pt x="305" y="197"/>
                </a:cubicBezTo>
                <a:cubicBezTo>
                  <a:pt x="305" y="219"/>
                  <a:pt x="305" y="219"/>
                  <a:pt x="305" y="219"/>
                </a:cubicBezTo>
                <a:cubicBezTo>
                  <a:pt x="305" y="222"/>
                  <a:pt x="298" y="222"/>
                  <a:pt x="298" y="219"/>
                </a:cubicBezTo>
                <a:cubicBezTo>
                  <a:pt x="298" y="180"/>
                  <a:pt x="298" y="180"/>
                  <a:pt x="298" y="180"/>
                </a:cubicBezTo>
                <a:cubicBezTo>
                  <a:pt x="298" y="165"/>
                  <a:pt x="275" y="165"/>
                  <a:pt x="275" y="180"/>
                </a:cubicBezTo>
                <a:cubicBezTo>
                  <a:pt x="275" y="219"/>
                  <a:pt x="275" y="219"/>
                  <a:pt x="275" y="219"/>
                </a:cubicBezTo>
                <a:cubicBezTo>
                  <a:pt x="275" y="222"/>
                  <a:pt x="269" y="222"/>
                  <a:pt x="269" y="219"/>
                </a:cubicBezTo>
                <a:cubicBezTo>
                  <a:pt x="269" y="166"/>
                  <a:pt x="269" y="166"/>
                  <a:pt x="269" y="166"/>
                </a:cubicBezTo>
                <a:cubicBezTo>
                  <a:pt x="269" y="150"/>
                  <a:pt x="245" y="150"/>
                  <a:pt x="245" y="166"/>
                </a:cubicBezTo>
                <a:cubicBezTo>
                  <a:pt x="245" y="219"/>
                  <a:pt x="245" y="219"/>
                  <a:pt x="245" y="219"/>
                </a:cubicBezTo>
                <a:cubicBezTo>
                  <a:pt x="245" y="222"/>
                  <a:pt x="239" y="222"/>
                  <a:pt x="239" y="219"/>
                </a:cubicBezTo>
                <a:cubicBezTo>
                  <a:pt x="239" y="111"/>
                  <a:pt x="239" y="111"/>
                  <a:pt x="239" y="111"/>
                </a:cubicBezTo>
                <a:cubicBezTo>
                  <a:pt x="239" y="96"/>
                  <a:pt x="216" y="96"/>
                  <a:pt x="216" y="111"/>
                </a:cubicBezTo>
                <a:cubicBezTo>
                  <a:pt x="216" y="249"/>
                  <a:pt x="216" y="249"/>
                  <a:pt x="216" y="249"/>
                </a:cubicBezTo>
                <a:cubicBezTo>
                  <a:pt x="216" y="252"/>
                  <a:pt x="208" y="252"/>
                  <a:pt x="208" y="249"/>
                </a:cubicBezTo>
                <a:cubicBezTo>
                  <a:pt x="208" y="197"/>
                  <a:pt x="208" y="197"/>
                  <a:pt x="208" y="197"/>
                </a:cubicBezTo>
                <a:cubicBezTo>
                  <a:pt x="208" y="178"/>
                  <a:pt x="183" y="179"/>
                  <a:pt x="183" y="197"/>
                </a:cubicBezTo>
                <a:cubicBezTo>
                  <a:pt x="183" y="253"/>
                  <a:pt x="183" y="253"/>
                  <a:pt x="183" y="253"/>
                </a:cubicBezTo>
                <a:cubicBezTo>
                  <a:pt x="39" y="253"/>
                  <a:pt x="39" y="253"/>
                  <a:pt x="39" y="253"/>
                </a:cubicBezTo>
                <a:cubicBezTo>
                  <a:pt x="39" y="39"/>
                  <a:pt x="39" y="39"/>
                  <a:pt x="39" y="39"/>
                </a:cubicBezTo>
                <a:cubicBezTo>
                  <a:pt x="361" y="39"/>
                  <a:pt x="361" y="39"/>
                  <a:pt x="361" y="39"/>
                </a:cubicBezTo>
                <a:cubicBezTo>
                  <a:pt x="361" y="253"/>
                  <a:pt x="361" y="253"/>
                  <a:pt x="361" y="253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47604" tIns="23802" rIns="47604" bIns="23802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48551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67" b="0" i="0" u="none" strike="noStrike" kern="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Segoe UI Light" panose="020B0502040204020203" pitchFamily="34" charset="0"/>
              <a:ea typeface="MS PGothic" panose="020B0600070205080204" pitchFamily="34" charset="-128"/>
              <a:cs typeface="Segoe UI Light" panose="020B0502040204020203" pitchFamily="34" charset="0"/>
            </a:endParaRPr>
          </a:p>
        </p:txBody>
      </p:sp>
      <p:grpSp>
        <p:nvGrpSpPr>
          <p:cNvPr id="91" name="Group 90"/>
          <p:cNvGrpSpPr/>
          <p:nvPr/>
        </p:nvGrpSpPr>
        <p:grpSpPr>
          <a:xfrm>
            <a:off x="3267814" y="3664372"/>
            <a:ext cx="240430" cy="362233"/>
            <a:chOff x="8597110" y="4718972"/>
            <a:chExt cx="361215" cy="561776"/>
          </a:xfrm>
          <a:solidFill>
            <a:schemeClr val="tx1"/>
          </a:solidFill>
        </p:grpSpPr>
        <p:sp>
          <p:nvSpPr>
            <p:cNvPr id="92" name="Freeform 68"/>
            <p:cNvSpPr>
              <a:spLocks/>
            </p:cNvSpPr>
            <p:nvPr/>
          </p:nvSpPr>
          <p:spPr bwMode="auto">
            <a:xfrm rot="16200000">
              <a:off x="8612012" y="5015484"/>
              <a:ext cx="273629" cy="256899"/>
            </a:xfrm>
            <a:custGeom>
              <a:avLst/>
              <a:gdLst>
                <a:gd name="T0" fmla="*/ 564 w 1203"/>
                <a:gd name="T1" fmla="*/ 1129 h 1129"/>
                <a:gd name="T2" fmla="*/ 0 w 1203"/>
                <a:gd name="T3" fmla="*/ 565 h 1129"/>
                <a:gd name="T4" fmla="*/ 564 w 1203"/>
                <a:gd name="T5" fmla="*/ 0 h 1129"/>
                <a:gd name="T6" fmla="*/ 1115 w 1203"/>
                <a:gd name="T7" fmla="*/ 443 h 1129"/>
                <a:gd name="T8" fmla="*/ 1203 w 1203"/>
                <a:gd name="T9" fmla="*/ 449 h 1129"/>
                <a:gd name="T10" fmla="*/ 1055 w 1203"/>
                <a:gd name="T11" fmla="*/ 599 h 1129"/>
                <a:gd name="T12" fmla="*/ 876 w 1203"/>
                <a:gd name="T13" fmla="*/ 426 h 1129"/>
                <a:gd name="T14" fmla="*/ 963 w 1203"/>
                <a:gd name="T15" fmla="*/ 432 h 1129"/>
                <a:gd name="T16" fmla="*/ 431 w 1203"/>
                <a:gd name="T17" fmla="*/ 166 h 1129"/>
                <a:gd name="T18" fmla="*/ 165 w 1203"/>
                <a:gd name="T19" fmla="*/ 698 h 1129"/>
                <a:gd name="T20" fmla="*/ 564 w 1203"/>
                <a:gd name="T21" fmla="*/ 985 h 1129"/>
                <a:gd name="T22" fmla="*/ 564 w 1203"/>
                <a:gd name="T23" fmla="*/ 1129 h 1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03" h="1129">
                  <a:moveTo>
                    <a:pt x="564" y="1129"/>
                  </a:moveTo>
                  <a:cubicBezTo>
                    <a:pt x="252" y="1129"/>
                    <a:pt x="0" y="877"/>
                    <a:pt x="0" y="565"/>
                  </a:cubicBezTo>
                  <a:cubicBezTo>
                    <a:pt x="0" y="253"/>
                    <a:pt x="252" y="0"/>
                    <a:pt x="564" y="0"/>
                  </a:cubicBezTo>
                  <a:cubicBezTo>
                    <a:pt x="829" y="0"/>
                    <a:pt x="1058" y="184"/>
                    <a:pt x="1115" y="443"/>
                  </a:cubicBezTo>
                  <a:cubicBezTo>
                    <a:pt x="1203" y="449"/>
                    <a:pt x="1203" y="449"/>
                    <a:pt x="1203" y="449"/>
                  </a:cubicBezTo>
                  <a:cubicBezTo>
                    <a:pt x="1055" y="599"/>
                    <a:pt x="1055" y="599"/>
                    <a:pt x="1055" y="599"/>
                  </a:cubicBezTo>
                  <a:cubicBezTo>
                    <a:pt x="876" y="426"/>
                    <a:pt x="876" y="426"/>
                    <a:pt x="876" y="426"/>
                  </a:cubicBezTo>
                  <a:cubicBezTo>
                    <a:pt x="963" y="432"/>
                    <a:pt x="963" y="432"/>
                    <a:pt x="963" y="432"/>
                  </a:cubicBezTo>
                  <a:cubicBezTo>
                    <a:pt x="889" y="212"/>
                    <a:pt x="651" y="93"/>
                    <a:pt x="431" y="166"/>
                  </a:cubicBezTo>
                  <a:cubicBezTo>
                    <a:pt x="211" y="239"/>
                    <a:pt x="92" y="477"/>
                    <a:pt x="165" y="698"/>
                  </a:cubicBezTo>
                  <a:cubicBezTo>
                    <a:pt x="222" y="869"/>
                    <a:pt x="383" y="985"/>
                    <a:pt x="564" y="985"/>
                  </a:cubicBezTo>
                  <a:lnTo>
                    <a:pt x="564" y="112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47604" tIns="23802" rIns="47604" bIns="2380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8551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7" b="0" i="0" u="none" strike="noStrike" kern="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Segoe UI Light" panose="020B0502040204020203" pitchFamily="34" charset="0"/>
                <a:ea typeface="MS PGothic" panose="020B0600070205080204" pitchFamily="34" charset="-128"/>
                <a:cs typeface="Segoe UI Light" panose="020B0502040204020203" pitchFamily="34" charset="0"/>
              </a:endParaRPr>
            </a:p>
          </p:txBody>
        </p:sp>
        <p:sp>
          <p:nvSpPr>
            <p:cNvPr id="93" name="Freeform 69"/>
            <p:cNvSpPr>
              <a:spLocks/>
            </p:cNvSpPr>
            <p:nvPr/>
          </p:nvSpPr>
          <p:spPr bwMode="auto">
            <a:xfrm rot="16200000">
              <a:off x="8699407" y="4896072"/>
              <a:ext cx="286127" cy="231709"/>
            </a:xfrm>
            <a:custGeom>
              <a:avLst/>
              <a:gdLst>
                <a:gd name="T0" fmla="*/ 219 w 1258"/>
                <a:gd name="T1" fmla="*/ 0 h 1018"/>
                <a:gd name="T2" fmla="*/ 321 w 1258"/>
                <a:gd name="T3" fmla="*/ 102 h 1018"/>
                <a:gd name="T4" fmla="*/ 321 w 1258"/>
                <a:gd name="T5" fmla="*/ 697 h 1018"/>
                <a:gd name="T6" fmla="*/ 916 w 1258"/>
                <a:gd name="T7" fmla="*/ 697 h 1018"/>
                <a:gd name="T8" fmla="*/ 1017 w 1258"/>
                <a:gd name="T9" fmla="*/ 532 h 1018"/>
                <a:gd name="T10" fmla="*/ 930 w 1258"/>
                <a:gd name="T11" fmla="*/ 539 h 1018"/>
                <a:gd name="T12" fmla="*/ 1110 w 1258"/>
                <a:gd name="T13" fmla="*/ 365 h 1018"/>
                <a:gd name="T14" fmla="*/ 1258 w 1258"/>
                <a:gd name="T15" fmla="*/ 515 h 1018"/>
                <a:gd name="T16" fmla="*/ 1170 w 1258"/>
                <a:gd name="T17" fmla="*/ 522 h 1018"/>
                <a:gd name="T18" fmla="*/ 496 w 1258"/>
                <a:gd name="T19" fmla="*/ 951 h 1018"/>
                <a:gd name="T20" fmla="*/ 67 w 1258"/>
                <a:gd name="T21" fmla="*/ 277 h 1018"/>
                <a:gd name="T22" fmla="*/ 219 w 1258"/>
                <a:gd name="T23" fmla="*/ 0 h 10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58" h="1018">
                  <a:moveTo>
                    <a:pt x="219" y="0"/>
                  </a:moveTo>
                  <a:cubicBezTo>
                    <a:pt x="321" y="102"/>
                    <a:pt x="321" y="102"/>
                    <a:pt x="321" y="102"/>
                  </a:cubicBezTo>
                  <a:cubicBezTo>
                    <a:pt x="157" y="266"/>
                    <a:pt x="157" y="533"/>
                    <a:pt x="321" y="697"/>
                  </a:cubicBezTo>
                  <a:cubicBezTo>
                    <a:pt x="486" y="861"/>
                    <a:pt x="752" y="861"/>
                    <a:pt x="916" y="697"/>
                  </a:cubicBezTo>
                  <a:cubicBezTo>
                    <a:pt x="962" y="651"/>
                    <a:pt x="997" y="594"/>
                    <a:pt x="1017" y="532"/>
                  </a:cubicBezTo>
                  <a:cubicBezTo>
                    <a:pt x="930" y="539"/>
                    <a:pt x="930" y="539"/>
                    <a:pt x="930" y="539"/>
                  </a:cubicBezTo>
                  <a:cubicBezTo>
                    <a:pt x="1110" y="365"/>
                    <a:pt x="1110" y="365"/>
                    <a:pt x="1110" y="365"/>
                  </a:cubicBezTo>
                  <a:cubicBezTo>
                    <a:pt x="1258" y="515"/>
                    <a:pt x="1258" y="515"/>
                    <a:pt x="1258" y="515"/>
                  </a:cubicBezTo>
                  <a:cubicBezTo>
                    <a:pt x="1170" y="522"/>
                    <a:pt x="1170" y="522"/>
                    <a:pt x="1170" y="522"/>
                  </a:cubicBezTo>
                  <a:cubicBezTo>
                    <a:pt x="1102" y="826"/>
                    <a:pt x="801" y="1018"/>
                    <a:pt x="496" y="951"/>
                  </a:cubicBezTo>
                  <a:cubicBezTo>
                    <a:pt x="192" y="883"/>
                    <a:pt x="0" y="582"/>
                    <a:pt x="67" y="277"/>
                  </a:cubicBezTo>
                  <a:cubicBezTo>
                    <a:pt x="91" y="172"/>
                    <a:pt x="143" y="76"/>
                    <a:pt x="219" y="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47604" tIns="23802" rIns="47604" bIns="2380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8551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7" b="0" i="0" u="none" strike="noStrike" kern="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Segoe UI Light" panose="020B0502040204020203" pitchFamily="34" charset="0"/>
                <a:ea typeface="MS PGothic" panose="020B0600070205080204" pitchFamily="34" charset="-128"/>
                <a:cs typeface="Segoe UI Light" panose="020B0502040204020203" pitchFamily="34" charset="0"/>
              </a:endParaRPr>
            </a:p>
          </p:txBody>
        </p:sp>
        <p:sp>
          <p:nvSpPr>
            <p:cNvPr id="94" name="Freeform 70"/>
            <p:cNvSpPr>
              <a:spLocks/>
            </p:cNvSpPr>
            <p:nvPr/>
          </p:nvSpPr>
          <p:spPr bwMode="auto">
            <a:xfrm rot="16200000">
              <a:off x="8591100" y="4724982"/>
              <a:ext cx="281801" cy="269782"/>
            </a:xfrm>
            <a:custGeom>
              <a:avLst/>
              <a:gdLst>
                <a:gd name="T0" fmla="*/ 220 w 1239"/>
                <a:gd name="T1" fmla="*/ 1019 h 1185"/>
                <a:gd name="T2" fmla="*/ 220 w 1239"/>
                <a:gd name="T3" fmla="*/ 221 h 1185"/>
                <a:gd name="T4" fmla="*/ 1019 w 1239"/>
                <a:gd name="T5" fmla="*/ 221 h 1185"/>
                <a:gd name="T6" fmla="*/ 1019 w 1239"/>
                <a:gd name="T7" fmla="*/ 1019 h 1185"/>
                <a:gd name="T8" fmla="*/ 620 w 1239"/>
                <a:gd name="T9" fmla="*/ 1185 h 1185"/>
                <a:gd name="T10" fmla="*/ 620 w 1239"/>
                <a:gd name="T11" fmla="*/ 1041 h 1185"/>
                <a:gd name="T12" fmla="*/ 1040 w 1239"/>
                <a:gd name="T13" fmla="*/ 620 h 1185"/>
                <a:gd name="T14" fmla="*/ 620 w 1239"/>
                <a:gd name="T15" fmla="*/ 199 h 1185"/>
                <a:gd name="T16" fmla="*/ 199 w 1239"/>
                <a:gd name="T17" fmla="*/ 620 h 1185"/>
                <a:gd name="T18" fmla="*/ 322 w 1239"/>
                <a:gd name="T19" fmla="*/ 917 h 1185"/>
                <a:gd name="T20" fmla="*/ 220 w 1239"/>
                <a:gd name="T21" fmla="*/ 1019 h 1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39" h="1185">
                  <a:moveTo>
                    <a:pt x="220" y="1019"/>
                  </a:moveTo>
                  <a:cubicBezTo>
                    <a:pt x="0" y="799"/>
                    <a:pt x="0" y="441"/>
                    <a:pt x="220" y="221"/>
                  </a:cubicBezTo>
                  <a:cubicBezTo>
                    <a:pt x="441" y="0"/>
                    <a:pt x="798" y="0"/>
                    <a:pt x="1019" y="221"/>
                  </a:cubicBezTo>
                  <a:cubicBezTo>
                    <a:pt x="1239" y="441"/>
                    <a:pt x="1239" y="799"/>
                    <a:pt x="1019" y="1019"/>
                  </a:cubicBezTo>
                  <a:cubicBezTo>
                    <a:pt x="913" y="1125"/>
                    <a:pt x="769" y="1185"/>
                    <a:pt x="620" y="1185"/>
                  </a:cubicBezTo>
                  <a:cubicBezTo>
                    <a:pt x="620" y="1041"/>
                    <a:pt x="620" y="1041"/>
                    <a:pt x="620" y="1041"/>
                  </a:cubicBezTo>
                  <a:cubicBezTo>
                    <a:pt x="852" y="1041"/>
                    <a:pt x="1040" y="852"/>
                    <a:pt x="1040" y="620"/>
                  </a:cubicBezTo>
                  <a:cubicBezTo>
                    <a:pt x="1040" y="387"/>
                    <a:pt x="852" y="199"/>
                    <a:pt x="620" y="199"/>
                  </a:cubicBezTo>
                  <a:cubicBezTo>
                    <a:pt x="387" y="199"/>
                    <a:pt x="199" y="387"/>
                    <a:pt x="199" y="620"/>
                  </a:cubicBezTo>
                  <a:cubicBezTo>
                    <a:pt x="199" y="732"/>
                    <a:pt x="243" y="839"/>
                    <a:pt x="322" y="917"/>
                  </a:cubicBezTo>
                  <a:lnTo>
                    <a:pt x="220" y="101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47604" tIns="23802" rIns="47604" bIns="2380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8551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7" b="0" i="0" u="none" strike="noStrike" kern="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Segoe UI Light" panose="020B0502040204020203" pitchFamily="34" charset="0"/>
                <a:ea typeface="MS PGothic" panose="020B0600070205080204" pitchFamily="34" charset="-128"/>
                <a:cs typeface="Segoe UI Light" panose="020B0502040204020203" pitchFamily="34" charset="0"/>
              </a:endParaRPr>
            </a:p>
          </p:txBody>
        </p:sp>
      </p:grpSp>
      <p:grpSp>
        <p:nvGrpSpPr>
          <p:cNvPr id="95" name="Group 94"/>
          <p:cNvGrpSpPr/>
          <p:nvPr/>
        </p:nvGrpSpPr>
        <p:grpSpPr>
          <a:xfrm>
            <a:off x="2282263" y="4199176"/>
            <a:ext cx="471854" cy="324969"/>
            <a:chOff x="8472380" y="4430642"/>
            <a:chExt cx="471854" cy="294739"/>
          </a:xfrm>
          <a:solidFill>
            <a:schemeClr val="tx1"/>
          </a:solidFill>
        </p:grpSpPr>
        <p:grpSp>
          <p:nvGrpSpPr>
            <p:cNvPr id="96" name="Group 386"/>
            <p:cNvGrpSpPr>
              <a:grpSpLocks noChangeAspect="1"/>
            </p:cNvGrpSpPr>
            <p:nvPr/>
          </p:nvGrpSpPr>
          <p:grpSpPr bwMode="auto">
            <a:xfrm>
              <a:off x="8472380" y="4546083"/>
              <a:ext cx="144281" cy="174962"/>
              <a:chOff x="-1261" y="1888"/>
              <a:chExt cx="576" cy="944"/>
            </a:xfrm>
            <a:grpFill/>
          </p:grpSpPr>
          <p:sp>
            <p:nvSpPr>
              <p:cNvPr id="107" name="Freeform 387"/>
              <p:cNvSpPr>
                <a:spLocks/>
              </p:cNvSpPr>
              <p:nvPr/>
            </p:nvSpPr>
            <p:spPr bwMode="auto">
              <a:xfrm>
                <a:off x="-1115" y="1888"/>
                <a:ext cx="284" cy="607"/>
              </a:xfrm>
              <a:custGeom>
                <a:avLst/>
                <a:gdLst>
                  <a:gd name="T0" fmla="*/ 60 w 120"/>
                  <a:gd name="T1" fmla="*/ 257 h 257"/>
                  <a:gd name="T2" fmla="*/ 120 w 120"/>
                  <a:gd name="T3" fmla="*/ 196 h 257"/>
                  <a:gd name="T4" fmla="*/ 120 w 120"/>
                  <a:gd name="T5" fmla="*/ 61 h 257"/>
                  <a:gd name="T6" fmla="*/ 60 w 120"/>
                  <a:gd name="T7" fmla="*/ 0 h 257"/>
                  <a:gd name="T8" fmla="*/ 0 w 120"/>
                  <a:gd name="T9" fmla="*/ 61 h 257"/>
                  <a:gd name="T10" fmla="*/ 0 w 120"/>
                  <a:gd name="T11" fmla="*/ 196 h 257"/>
                  <a:gd name="T12" fmla="*/ 60 w 120"/>
                  <a:gd name="T13" fmla="*/ 257 h 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0" h="257">
                    <a:moveTo>
                      <a:pt x="60" y="257"/>
                    </a:moveTo>
                    <a:cubicBezTo>
                      <a:pt x="93" y="257"/>
                      <a:pt x="120" y="230"/>
                      <a:pt x="120" y="196"/>
                    </a:cubicBezTo>
                    <a:cubicBezTo>
                      <a:pt x="120" y="175"/>
                      <a:pt x="120" y="86"/>
                      <a:pt x="120" y="61"/>
                    </a:cubicBezTo>
                    <a:cubicBezTo>
                      <a:pt x="120" y="27"/>
                      <a:pt x="93" y="0"/>
                      <a:pt x="60" y="0"/>
                    </a:cubicBezTo>
                    <a:cubicBezTo>
                      <a:pt x="27" y="0"/>
                      <a:pt x="0" y="27"/>
                      <a:pt x="0" y="61"/>
                    </a:cubicBezTo>
                    <a:cubicBezTo>
                      <a:pt x="0" y="80"/>
                      <a:pt x="0" y="177"/>
                      <a:pt x="0" y="196"/>
                    </a:cubicBezTo>
                    <a:cubicBezTo>
                      <a:pt x="0" y="230"/>
                      <a:pt x="27" y="257"/>
                      <a:pt x="60" y="25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47611" tIns="23806" rIns="47611" bIns="238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760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 panose="020B0502040204020203" pitchFamily="34" charset="0"/>
                  <a:ea typeface="MS PGothic" panose="020B0600070205080204" pitchFamily="34" charset="-128"/>
                  <a:cs typeface="Segoe UI Light" panose="020B0502040204020203" pitchFamily="34" charset="0"/>
                </a:endParaRPr>
              </a:p>
            </p:txBody>
          </p:sp>
          <p:sp>
            <p:nvSpPr>
              <p:cNvPr id="108" name="Freeform 388"/>
              <p:cNvSpPr>
                <a:spLocks/>
              </p:cNvSpPr>
              <p:nvPr/>
            </p:nvSpPr>
            <p:spPr bwMode="auto">
              <a:xfrm>
                <a:off x="-1261" y="2261"/>
                <a:ext cx="576" cy="571"/>
              </a:xfrm>
              <a:custGeom>
                <a:avLst/>
                <a:gdLst>
                  <a:gd name="T0" fmla="*/ 204 w 244"/>
                  <a:gd name="T1" fmla="*/ 0 h 242"/>
                  <a:gd name="T2" fmla="*/ 204 w 244"/>
                  <a:gd name="T3" fmla="*/ 51 h 242"/>
                  <a:gd name="T4" fmla="*/ 136 w 244"/>
                  <a:gd name="T5" fmla="*/ 120 h 242"/>
                  <a:gd name="T6" fmla="*/ 108 w 244"/>
                  <a:gd name="T7" fmla="*/ 120 h 242"/>
                  <a:gd name="T8" fmla="*/ 40 w 244"/>
                  <a:gd name="T9" fmla="*/ 51 h 242"/>
                  <a:gd name="T10" fmla="*/ 40 w 244"/>
                  <a:gd name="T11" fmla="*/ 0 h 242"/>
                  <a:gd name="T12" fmla="*/ 0 w 244"/>
                  <a:gd name="T13" fmla="*/ 0 h 242"/>
                  <a:gd name="T14" fmla="*/ 0 w 244"/>
                  <a:gd name="T15" fmla="*/ 51 h 242"/>
                  <a:gd name="T16" fmla="*/ 102 w 244"/>
                  <a:gd name="T17" fmla="*/ 160 h 242"/>
                  <a:gd name="T18" fmla="*/ 102 w 244"/>
                  <a:gd name="T19" fmla="*/ 202 h 242"/>
                  <a:gd name="T20" fmla="*/ 41 w 244"/>
                  <a:gd name="T21" fmla="*/ 202 h 242"/>
                  <a:gd name="T22" fmla="*/ 41 w 244"/>
                  <a:gd name="T23" fmla="*/ 242 h 242"/>
                  <a:gd name="T24" fmla="*/ 203 w 244"/>
                  <a:gd name="T25" fmla="*/ 242 h 242"/>
                  <a:gd name="T26" fmla="*/ 203 w 244"/>
                  <a:gd name="T27" fmla="*/ 202 h 242"/>
                  <a:gd name="T28" fmla="*/ 142 w 244"/>
                  <a:gd name="T29" fmla="*/ 202 h 242"/>
                  <a:gd name="T30" fmla="*/ 142 w 244"/>
                  <a:gd name="T31" fmla="*/ 160 h 242"/>
                  <a:gd name="T32" fmla="*/ 244 w 244"/>
                  <a:gd name="T33" fmla="*/ 51 h 242"/>
                  <a:gd name="T34" fmla="*/ 244 w 244"/>
                  <a:gd name="T35" fmla="*/ 0 h 242"/>
                  <a:gd name="T36" fmla="*/ 204 w 244"/>
                  <a:gd name="T37" fmla="*/ 0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4" h="242">
                    <a:moveTo>
                      <a:pt x="204" y="0"/>
                    </a:moveTo>
                    <a:cubicBezTo>
                      <a:pt x="204" y="51"/>
                      <a:pt x="204" y="51"/>
                      <a:pt x="204" y="51"/>
                    </a:cubicBezTo>
                    <a:cubicBezTo>
                      <a:pt x="204" y="89"/>
                      <a:pt x="173" y="120"/>
                      <a:pt x="136" y="120"/>
                    </a:cubicBezTo>
                    <a:cubicBezTo>
                      <a:pt x="108" y="120"/>
                      <a:pt x="108" y="120"/>
                      <a:pt x="108" y="120"/>
                    </a:cubicBezTo>
                    <a:cubicBezTo>
                      <a:pt x="71" y="120"/>
                      <a:pt x="40" y="89"/>
                      <a:pt x="40" y="51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0" y="109"/>
                      <a:pt x="45" y="156"/>
                      <a:pt x="102" y="160"/>
                    </a:cubicBezTo>
                    <a:cubicBezTo>
                      <a:pt x="102" y="202"/>
                      <a:pt x="102" y="202"/>
                      <a:pt x="102" y="202"/>
                    </a:cubicBezTo>
                    <a:cubicBezTo>
                      <a:pt x="41" y="202"/>
                      <a:pt x="41" y="202"/>
                      <a:pt x="41" y="202"/>
                    </a:cubicBezTo>
                    <a:cubicBezTo>
                      <a:pt x="41" y="242"/>
                      <a:pt x="41" y="242"/>
                      <a:pt x="41" y="242"/>
                    </a:cubicBezTo>
                    <a:cubicBezTo>
                      <a:pt x="203" y="242"/>
                      <a:pt x="203" y="242"/>
                      <a:pt x="203" y="242"/>
                    </a:cubicBezTo>
                    <a:cubicBezTo>
                      <a:pt x="203" y="202"/>
                      <a:pt x="203" y="202"/>
                      <a:pt x="203" y="202"/>
                    </a:cubicBezTo>
                    <a:cubicBezTo>
                      <a:pt x="142" y="202"/>
                      <a:pt x="142" y="202"/>
                      <a:pt x="142" y="202"/>
                    </a:cubicBezTo>
                    <a:cubicBezTo>
                      <a:pt x="142" y="160"/>
                      <a:pt x="142" y="160"/>
                      <a:pt x="142" y="160"/>
                    </a:cubicBezTo>
                    <a:cubicBezTo>
                      <a:pt x="199" y="156"/>
                      <a:pt x="244" y="109"/>
                      <a:pt x="244" y="51"/>
                    </a:cubicBezTo>
                    <a:cubicBezTo>
                      <a:pt x="244" y="0"/>
                      <a:pt x="244" y="0"/>
                      <a:pt x="244" y="0"/>
                    </a:cubicBezTo>
                    <a:lnTo>
                      <a:pt x="20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47611" tIns="23806" rIns="47611" bIns="238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760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 panose="020B0502040204020203" pitchFamily="34" charset="0"/>
                  <a:ea typeface="MS PGothic" panose="020B0600070205080204" pitchFamily="34" charset="-128"/>
                  <a:cs typeface="Segoe UI Light" panose="020B0502040204020203" pitchFamily="34" charset="0"/>
                </a:endParaRPr>
              </a:p>
            </p:txBody>
          </p:sp>
          <p:sp>
            <p:nvSpPr>
              <p:cNvPr id="109" name="Freeform 389"/>
              <p:cNvSpPr>
                <a:spLocks noEditPoints="1"/>
              </p:cNvSpPr>
              <p:nvPr/>
            </p:nvSpPr>
            <p:spPr bwMode="auto">
              <a:xfrm>
                <a:off x="-926" y="2738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 vert="horz" wrap="square" lIns="47611" tIns="23806" rIns="47611" bIns="238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760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 panose="020B0502040204020203" pitchFamily="34" charset="0"/>
                  <a:ea typeface="MS PGothic" panose="020B0600070205080204" pitchFamily="34" charset="-128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97" name="Group 96"/>
            <p:cNvGrpSpPr/>
            <p:nvPr/>
          </p:nvGrpSpPr>
          <p:grpSpPr>
            <a:xfrm>
              <a:off x="8533504" y="4430642"/>
              <a:ext cx="140890" cy="95775"/>
              <a:chOff x="5345480" y="1443592"/>
              <a:chExt cx="1381394" cy="1269128"/>
            </a:xfrm>
            <a:grpFill/>
          </p:grpSpPr>
          <p:sp>
            <p:nvSpPr>
              <p:cNvPr id="105" name="Bent Arrow 70"/>
              <p:cNvSpPr/>
              <p:nvPr/>
            </p:nvSpPr>
            <p:spPr bwMode="auto">
              <a:xfrm>
                <a:off x="5345480" y="1554480"/>
                <a:ext cx="1222960" cy="1158240"/>
              </a:xfrm>
              <a:prstGeom prst="bentArrow">
                <a:avLst>
                  <a:gd name="adj1" fmla="val 19737"/>
                  <a:gd name="adj2" fmla="val 25000"/>
                  <a:gd name="adj3" fmla="val 26316"/>
                  <a:gd name="adj4" fmla="val 55925"/>
                </a:avLst>
              </a:prstGeom>
              <a:grpFill/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5224" tIns="76178" rIns="95224" bIns="7617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485466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33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06" name="Isosceles Triangle 105"/>
              <p:cNvSpPr/>
              <p:nvPr/>
            </p:nvSpPr>
            <p:spPr bwMode="auto">
              <a:xfrm rot="5400000">
                <a:off x="6110896" y="1589033"/>
                <a:ext cx="761420" cy="470537"/>
              </a:xfrm>
              <a:prstGeom prst="triangle">
                <a:avLst/>
              </a:prstGeom>
              <a:grpFill/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5224" tIns="76178" rIns="95224" bIns="7617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485466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33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98" name="Group 97"/>
            <p:cNvGrpSpPr/>
            <p:nvPr/>
          </p:nvGrpSpPr>
          <p:grpSpPr>
            <a:xfrm rot="10800000">
              <a:off x="8707324" y="4629606"/>
              <a:ext cx="140890" cy="95775"/>
              <a:chOff x="5345480" y="1443592"/>
              <a:chExt cx="1381394" cy="1269128"/>
            </a:xfrm>
            <a:grpFill/>
          </p:grpSpPr>
          <p:sp>
            <p:nvSpPr>
              <p:cNvPr id="103" name="Bent Arrow 68"/>
              <p:cNvSpPr/>
              <p:nvPr/>
            </p:nvSpPr>
            <p:spPr bwMode="auto">
              <a:xfrm>
                <a:off x="5345480" y="1554480"/>
                <a:ext cx="1222960" cy="1158240"/>
              </a:xfrm>
              <a:prstGeom prst="bentArrow">
                <a:avLst>
                  <a:gd name="adj1" fmla="val 19737"/>
                  <a:gd name="adj2" fmla="val 25000"/>
                  <a:gd name="adj3" fmla="val 26316"/>
                  <a:gd name="adj4" fmla="val 55925"/>
                </a:avLst>
              </a:prstGeom>
              <a:grpFill/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5224" tIns="76178" rIns="95224" bIns="7617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485466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33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04" name="Isosceles Triangle 103"/>
              <p:cNvSpPr/>
              <p:nvPr/>
            </p:nvSpPr>
            <p:spPr bwMode="auto">
              <a:xfrm rot="5400000">
                <a:off x="6110896" y="1589033"/>
                <a:ext cx="761420" cy="470537"/>
              </a:xfrm>
              <a:prstGeom prst="triangle">
                <a:avLst/>
              </a:prstGeom>
              <a:grpFill/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5224" tIns="76178" rIns="95224" bIns="7617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485466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33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99" name="Freeform 64"/>
            <p:cNvSpPr/>
            <p:nvPr/>
          </p:nvSpPr>
          <p:spPr bwMode="auto">
            <a:xfrm>
              <a:off x="8730316" y="4430642"/>
              <a:ext cx="213918" cy="192383"/>
            </a:xfrm>
            <a:custGeom>
              <a:avLst/>
              <a:gdLst>
                <a:gd name="connsiteX0" fmla="*/ 0 w 2097410"/>
                <a:gd name="connsiteY0" fmla="*/ 0 h 2549289"/>
                <a:gd name="connsiteX1" fmla="*/ 2097410 w 2097410"/>
                <a:gd name="connsiteY1" fmla="*/ 0 h 2549289"/>
                <a:gd name="connsiteX2" fmla="*/ 2097410 w 2097410"/>
                <a:gd name="connsiteY2" fmla="*/ 2549289 h 2549289"/>
                <a:gd name="connsiteX3" fmla="*/ 0 w 2097410"/>
                <a:gd name="connsiteY3" fmla="*/ 2549289 h 2549289"/>
                <a:gd name="connsiteX4" fmla="*/ 0 w 2097410"/>
                <a:gd name="connsiteY4" fmla="*/ 0 h 2549289"/>
                <a:gd name="connsiteX5" fmla="*/ 157095 w 2097410"/>
                <a:gd name="connsiteY5" fmla="*/ 154388 h 2549289"/>
                <a:gd name="connsiteX6" fmla="*/ 157095 w 2097410"/>
                <a:gd name="connsiteY6" fmla="*/ 2394900 h 2549289"/>
                <a:gd name="connsiteX7" fmla="*/ 1940316 w 2097410"/>
                <a:gd name="connsiteY7" fmla="*/ 2394900 h 2549289"/>
                <a:gd name="connsiteX8" fmla="*/ 1940316 w 2097410"/>
                <a:gd name="connsiteY8" fmla="*/ 154388 h 2549289"/>
                <a:gd name="connsiteX9" fmla="*/ 157095 w 2097410"/>
                <a:gd name="connsiteY9" fmla="*/ 154388 h 2549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7410" h="2549289">
                  <a:moveTo>
                    <a:pt x="0" y="0"/>
                  </a:moveTo>
                  <a:lnTo>
                    <a:pt x="2097410" y="0"/>
                  </a:lnTo>
                  <a:lnTo>
                    <a:pt x="2097410" y="2549289"/>
                  </a:lnTo>
                  <a:lnTo>
                    <a:pt x="0" y="2549289"/>
                  </a:lnTo>
                  <a:lnTo>
                    <a:pt x="0" y="0"/>
                  </a:lnTo>
                  <a:close/>
                  <a:moveTo>
                    <a:pt x="157095" y="154388"/>
                  </a:moveTo>
                  <a:lnTo>
                    <a:pt x="157095" y="2394900"/>
                  </a:lnTo>
                  <a:lnTo>
                    <a:pt x="1940316" y="2394900"/>
                  </a:lnTo>
                  <a:lnTo>
                    <a:pt x="1940316" y="154388"/>
                  </a:lnTo>
                  <a:lnTo>
                    <a:pt x="157095" y="154388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5224" tIns="76178" rIns="95224" bIns="7617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85466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33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0" name="Rectangle 99"/>
            <p:cNvSpPr/>
            <p:nvPr/>
          </p:nvSpPr>
          <p:spPr bwMode="auto">
            <a:xfrm>
              <a:off x="8774810" y="4471213"/>
              <a:ext cx="115023" cy="115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5224" tIns="76178" rIns="95224" bIns="7617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85466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33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1" name="Rectangle 100"/>
            <p:cNvSpPr/>
            <p:nvPr/>
          </p:nvSpPr>
          <p:spPr bwMode="auto">
            <a:xfrm>
              <a:off x="8774810" y="4511740"/>
              <a:ext cx="115023" cy="115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5224" tIns="76178" rIns="95224" bIns="7617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85466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33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2" name="Rectangle 101"/>
            <p:cNvSpPr/>
            <p:nvPr/>
          </p:nvSpPr>
          <p:spPr bwMode="auto">
            <a:xfrm>
              <a:off x="8774810" y="4552266"/>
              <a:ext cx="115023" cy="115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5224" tIns="76178" rIns="95224" bIns="7617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85466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33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endParaRPr>
            </a:p>
          </p:txBody>
        </p:sp>
      </p:grpSp>
      <p:pic>
        <p:nvPicPr>
          <p:cNvPr id="110" name="Picture 7" descr="\\MAGNUM\Projects\Microsoft\Cloud Power FY12\Design\ICONS_PNG\Cloud_logo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250021" y="2805291"/>
            <a:ext cx="1720498" cy="1722962"/>
          </a:xfrm>
          <a:prstGeom prst="rect">
            <a:avLst/>
          </a:prstGeom>
          <a:noFill/>
        </p:spPr>
      </p:pic>
      <p:sp>
        <p:nvSpPr>
          <p:cNvPr id="111" name="TextBox 110"/>
          <p:cNvSpPr txBox="1"/>
          <p:nvPr/>
        </p:nvSpPr>
        <p:spPr>
          <a:xfrm>
            <a:off x="632660" y="5584745"/>
            <a:ext cx="29110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No limits Data Lake</a:t>
            </a:r>
          </a:p>
        </p:txBody>
      </p:sp>
      <p:sp>
        <p:nvSpPr>
          <p:cNvPr id="112" name="TextBox 111"/>
          <p:cNvSpPr txBox="1"/>
          <p:nvPr/>
        </p:nvSpPr>
        <p:spPr>
          <a:xfrm>
            <a:off x="8187259" y="5483134"/>
            <a:ext cx="34561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Managed Clusters</a:t>
            </a:r>
          </a:p>
        </p:txBody>
      </p:sp>
      <p:sp>
        <p:nvSpPr>
          <p:cNvPr id="119" name="Block Arc 118"/>
          <p:cNvSpPr/>
          <p:nvPr/>
        </p:nvSpPr>
        <p:spPr>
          <a:xfrm rot="10800000">
            <a:off x="1082874" y="3876516"/>
            <a:ext cx="2336791" cy="1218604"/>
          </a:xfrm>
          <a:prstGeom prst="blockArc">
            <a:avLst>
              <a:gd name="adj1" fmla="val 10819955"/>
              <a:gd name="adj2" fmla="val 0"/>
              <a:gd name="adj3" fmla="val 25000"/>
            </a:avLst>
          </a:prstGeom>
          <a:solidFill>
            <a:srgbClr val="114B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121" name="Block Arc 120"/>
          <p:cNvSpPr/>
          <p:nvPr/>
        </p:nvSpPr>
        <p:spPr>
          <a:xfrm rot="10800000">
            <a:off x="4951155" y="3844039"/>
            <a:ext cx="2336791" cy="1218604"/>
          </a:xfrm>
          <a:prstGeom prst="blockArc">
            <a:avLst>
              <a:gd name="adj1" fmla="val 10819955"/>
              <a:gd name="adj2" fmla="val 0"/>
              <a:gd name="adj3" fmla="val 25000"/>
            </a:avLst>
          </a:prstGeom>
          <a:solidFill>
            <a:srgbClr val="004A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124" name="Block Arc 123"/>
          <p:cNvSpPr/>
          <p:nvPr/>
        </p:nvSpPr>
        <p:spPr>
          <a:xfrm rot="10800000">
            <a:off x="8792122" y="3769411"/>
            <a:ext cx="2336791" cy="1218604"/>
          </a:xfrm>
          <a:prstGeom prst="blockArc">
            <a:avLst>
              <a:gd name="adj1" fmla="val 10819955"/>
              <a:gd name="adj2" fmla="val 0"/>
              <a:gd name="adj3" fmla="val 25000"/>
            </a:avLst>
          </a:prstGeom>
          <a:solidFill>
            <a:srgbClr val="004A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517877893"/>
      </p:ext>
    </p:extLst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0143" y="119189"/>
            <a:ext cx="10515600" cy="1325563"/>
          </a:xfrm>
        </p:spPr>
        <p:txBody>
          <a:bodyPr>
            <a:noAutofit/>
          </a:bodyPr>
          <a:lstStyle/>
          <a:p>
            <a:pPr algn="ctr"/>
            <a:r>
              <a:rPr lang="en-GB" dirty="0">
                <a:solidFill>
                  <a:srgbClr val="00B0F0"/>
                </a:solidFill>
              </a:rPr>
              <a:t>Lambda architecture</a:t>
            </a:r>
          </a:p>
        </p:txBody>
      </p:sp>
      <p:grpSp>
        <p:nvGrpSpPr>
          <p:cNvPr id="27" name="Group 26"/>
          <p:cNvGrpSpPr/>
          <p:nvPr/>
        </p:nvGrpSpPr>
        <p:grpSpPr>
          <a:xfrm>
            <a:off x="577901" y="1711757"/>
            <a:ext cx="11098551" cy="4389119"/>
            <a:chOff x="577901" y="1711757"/>
            <a:chExt cx="11098551" cy="4389119"/>
          </a:xfrm>
        </p:grpSpPr>
        <p:sp>
          <p:nvSpPr>
            <p:cNvPr id="3" name="Rectangle: Rounded Corners 2"/>
            <p:cNvSpPr/>
            <p:nvPr/>
          </p:nvSpPr>
          <p:spPr>
            <a:xfrm>
              <a:off x="2814369" y="1711757"/>
              <a:ext cx="3623007" cy="1858061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5">
                      <a:lumMod val="75000"/>
                    </a:schemeClr>
                  </a:solidFill>
                  <a:effectLst/>
                  <a:uLnTx/>
                  <a:uFillTx/>
                </a:rPr>
                <a:t>Batch Layer</a:t>
              </a:r>
            </a:p>
          </p:txBody>
        </p:sp>
        <p:sp>
          <p:nvSpPr>
            <p:cNvPr id="5" name="Rectangle: Rounded Corners 4"/>
            <p:cNvSpPr/>
            <p:nvPr/>
          </p:nvSpPr>
          <p:spPr>
            <a:xfrm>
              <a:off x="2814369" y="4242815"/>
              <a:ext cx="3623007" cy="1858061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5">
                      <a:lumMod val="75000"/>
                    </a:schemeClr>
                  </a:solidFill>
                  <a:effectLst/>
                  <a:uLnTx/>
                  <a:uFillTx/>
                </a:rPr>
                <a:t>Stream Layer</a:t>
              </a:r>
            </a:p>
          </p:txBody>
        </p:sp>
        <p:sp>
          <p:nvSpPr>
            <p:cNvPr id="6" name="Rectangle: Rounded Corners 5"/>
            <p:cNvSpPr/>
            <p:nvPr/>
          </p:nvSpPr>
          <p:spPr>
            <a:xfrm>
              <a:off x="8053445" y="3011423"/>
              <a:ext cx="3623007" cy="1858061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5">
                      <a:lumMod val="75000"/>
                    </a:schemeClr>
                  </a:solidFill>
                  <a:effectLst/>
                  <a:uLnTx/>
                  <a:uFillTx/>
                </a:rPr>
                <a:t>Serving Layer</a:t>
              </a:r>
            </a:p>
          </p:txBody>
        </p:sp>
        <p:sp>
          <p:nvSpPr>
            <p:cNvPr id="7" name="Arrow: Right 6"/>
            <p:cNvSpPr/>
            <p:nvPr/>
          </p:nvSpPr>
          <p:spPr>
            <a:xfrm>
              <a:off x="577901" y="3406445"/>
              <a:ext cx="1360627" cy="1068019"/>
            </a:xfrm>
            <a:prstGeom prst="rightArrow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5">
                      <a:lumMod val="75000"/>
                    </a:schemeClr>
                  </a:solidFill>
                  <a:effectLst/>
                  <a:uLnTx/>
                  <a:uFillTx/>
                </a:rPr>
                <a:t>Data</a:t>
              </a:r>
            </a:p>
          </p:txBody>
        </p:sp>
        <p:cxnSp>
          <p:nvCxnSpPr>
            <p:cNvPr id="9" name="Straight Connector 8"/>
            <p:cNvCxnSpPr>
              <a:stCxn id="7" idx="3"/>
              <a:endCxn id="3" idx="1"/>
            </p:cNvCxnSpPr>
            <p:nvPr/>
          </p:nvCxnSpPr>
          <p:spPr>
            <a:xfrm flipV="1">
              <a:off x="1938528" y="2640788"/>
              <a:ext cx="875841" cy="1299667"/>
            </a:xfrm>
            <a:prstGeom prst="line">
              <a:avLst/>
            </a:prstGeom>
            <a:ln>
              <a:headEnd type="none" w="med" len="med"/>
              <a:tailEnd type="triangl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>
              <a:stCxn id="7" idx="3"/>
              <a:endCxn id="5" idx="1"/>
            </p:cNvCxnSpPr>
            <p:nvPr/>
          </p:nvCxnSpPr>
          <p:spPr>
            <a:xfrm>
              <a:off x="1938528" y="3940455"/>
              <a:ext cx="875841" cy="1231391"/>
            </a:xfrm>
            <a:prstGeom prst="line">
              <a:avLst/>
            </a:prstGeom>
            <a:ln>
              <a:headEnd type="none" w="med" len="med"/>
              <a:tailEnd type="triangl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>
              <a:stCxn id="3" idx="3"/>
              <a:endCxn id="6" idx="1"/>
            </p:cNvCxnSpPr>
            <p:nvPr/>
          </p:nvCxnSpPr>
          <p:spPr>
            <a:xfrm>
              <a:off x="6437376" y="2640788"/>
              <a:ext cx="1616069" cy="1299666"/>
            </a:xfrm>
            <a:prstGeom prst="line">
              <a:avLst/>
            </a:prstGeom>
            <a:ln>
              <a:headEnd type="none" w="med" len="med"/>
              <a:tailEnd type="triangl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>
              <a:stCxn id="5" idx="3"/>
              <a:endCxn id="6" idx="1"/>
            </p:cNvCxnSpPr>
            <p:nvPr/>
          </p:nvCxnSpPr>
          <p:spPr>
            <a:xfrm flipV="1">
              <a:off x="6437376" y="3940454"/>
              <a:ext cx="1616069" cy="1231392"/>
            </a:xfrm>
            <a:prstGeom prst="line">
              <a:avLst/>
            </a:prstGeom>
            <a:ln>
              <a:headEnd type="none" w="med" len="med"/>
              <a:tailEnd type="triangl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20" name="Rectangle 19"/>
            <p:cNvSpPr/>
            <p:nvPr/>
          </p:nvSpPr>
          <p:spPr>
            <a:xfrm>
              <a:off x="3231568" y="2344057"/>
              <a:ext cx="943428" cy="870857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All Data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4828398" y="2344056"/>
              <a:ext cx="1355683" cy="870857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Precompute views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3231568" y="4869484"/>
              <a:ext cx="943428" cy="870857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Process stream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4828398" y="4869484"/>
              <a:ext cx="1209545" cy="878986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Increment views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8205338" y="3603607"/>
              <a:ext cx="943428" cy="870857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Batch view</a:t>
              </a: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9389077" y="3603606"/>
              <a:ext cx="943428" cy="870857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Real-time view</a:t>
              </a: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10572816" y="3603606"/>
              <a:ext cx="943428" cy="870857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Quer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5715042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/>
          <p:cNvGrpSpPr/>
          <p:nvPr/>
        </p:nvGrpSpPr>
        <p:grpSpPr>
          <a:xfrm>
            <a:off x="577901" y="1711757"/>
            <a:ext cx="11098551" cy="4389119"/>
            <a:chOff x="577901" y="1711757"/>
            <a:chExt cx="11098551" cy="4389119"/>
          </a:xfrm>
        </p:grpSpPr>
        <p:sp>
          <p:nvSpPr>
            <p:cNvPr id="21" name="Rectangle: Rounded Corners 20"/>
            <p:cNvSpPr/>
            <p:nvPr/>
          </p:nvSpPr>
          <p:spPr>
            <a:xfrm>
              <a:off x="2814369" y="1711757"/>
              <a:ext cx="3623007" cy="1858061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5">
                      <a:lumMod val="75000"/>
                    </a:schemeClr>
                  </a:solidFill>
                  <a:effectLst/>
                  <a:uLnTx/>
                  <a:uFillTx/>
                </a:rPr>
                <a:t>Batch Layer</a:t>
              </a:r>
            </a:p>
          </p:txBody>
        </p:sp>
        <p:sp>
          <p:nvSpPr>
            <p:cNvPr id="22" name="Rectangle: Rounded Corners 21"/>
            <p:cNvSpPr/>
            <p:nvPr/>
          </p:nvSpPr>
          <p:spPr>
            <a:xfrm>
              <a:off x="2814369" y="4242815"/>
              <a:ext cx="3623007" cy="1858061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5">
                      <a:lumMod val="75000"/>
                    </a:schemeClr>
                  </a:solidFill>
                  <a:effectLst/>
                  <a:uLnTx/>
                  <a:uFillTx/>
                </a:rPr>
                <a:t>Stream Layer</a:t>
              </a:r>
            </a:p>
          </p:txBody>
        </p:sp>
        <p:sp>
          <p:nvSpPr>
            <p:cNvPr id="23" name="Rectangle: Rounded Corners 22"/>
            <p:cNvSpPr/>
            <p:nvPr/>
          </p:nvSpPr>
          <p:spPr>
            <a:xfrm>
              <a:off x="8053445" y="3011423"/>
              <a:ext cx="3623007" cy="1858061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5">
                      <a:lumMod val="75000"/>
                    </a:schemeClr>
                  </a:solidFill>
                  <a:effectLst/>
                  <a:uLnTx/>
                  <a:uFillTx/>
                </a:rPr>
                <a:t>Serving Layer</a:t>
              </a:r>
            </a:p>
          </p:txBody>
        </p:sp>
        <p:sp>
          <p:nvSpPr>
            <p:cNvPr id="24" name="Arrow: Right 23"/>
            <p:cNvSpPr/>
            <p:nvPr/>
          </p:nvSpPr>
          <p:spPr>
            <a:xfrm>
              <a:off x="577901" y="3406445"/>
              <a:ext cx="1360627" cy="1068019"/>
            </a:xfrm>
            <a:prstGeom prst="rightArrow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5">
                      <a:lumMod val="75000"/>
                    </a:schemeClr>
                  </a:solidFill>
                  <a:effectLst/>
                  <a:uLnTx/>
                  <a:uFillTx/>
                </a:rPr>
                <a:t>Data</a:t>
              </a:r>
            </a:p>
          </p:txBody>
        </p:sp>
        <p:cxnSp>
          <p:nvCxnSpPr>
            <p:cNvPr id="25" name="Straight Connector 24"/>
            <p:cNvCxnSpPr>
              <a:stCxn id="24" idx="3"/>
              <a:endCxn id="21" idx="1"/>
            </p:cNvCxnSpPr>
            <p:nvPr/>
          </p:nvCxnSpPr>
          <p:spPr>
            <a:xfrm flipV="1">
              <a:off x="1938528" y="2640788"/>
              <a:ext cx="875841" cy="1299667"/>
            </a:xfrm>
            <a:prstGeom prst="line">
              <a:avLst/>
            </a:prstGeom>
            <a:ln>
              <a:headEnd type="none" w="med" len="med"/>
              <a:tailEnd type="triangl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>
              <a:stCxn id="24" idx="3"/>
              <a:endCxn id="22" idx="1"/>
            </p:cNvCxnSpPr>
            <p:nvPr/>
          </p:nvCxnSpPr>
          <p:spPr>
            <a:xfrm>
              <a:off x="1938528" y="3940455"/>
              <a:ext cx="875841" cy="1231391"/>
            </a:xfrm>
            <a:prstGeom prst="line">
              <a:avLst/>
            </a:prstGeom>
            <a:ln>
              <a:headEnd type="none" w="med" len="med"/>
              <a:tailEnd type="triangl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stCxn id="21" idx="3"/>
              <a:endCxn id="23" idx="1"/>
            </p:cNvCxnSpPr>
            <p:nvPr/>
          </p:nvCxnSpPr>
          <p:spPr>
            <a:xfrm>
              <a:off x="6437376" y="2640788"/>
              <a:ext cx="1616069" cy="1299666"/>
            </a:xfrm>
            <a:prstGeom prst="line">
              <a:avLst/>
            </a:prstGeom>
            <a:ln>
              <a:headEnd type="none" w="med" len="med"/>
              <a:tailEnd type="triangl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>
              <a:stCxn id="22" idx="3"/>
              <a:endCxn id="23" idx="1"/>
            </p:cNvCxnSpPr>
            <p:nvPr/>
          </p:nvCxnSpPr>
          <p:spPr>
            <a:xfrm flipV="1">
              <a:off x="6437376" y="3940454"/>
              <a:ext cx="1616069" cy="1231392"/>
            </a:xfrm>
            <a:prstGeom prst="line">
              <a:avLst/>
            </a:prstGeom>
            <a:ln>
              <a:headEnd type="none" w="med" len="med"/>
              <a:tailEnd type="triangl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7208" y="177494"/>
            <a:ext cx="10515600" cy="1325563"/>
          </a:xfrm>
        </p:spPr>
        <p:txBody>
          <a:bodyPr>
            <a:noAutofit/>
          </a:bodyPr>
          <a:lstStyle/>
          <a:p>
            <a:pPr algn="ctr"/>
            <a:r>
              <a:rPr lang="en-GB" dirty="0">
                <a:solidFill>
                  <a:srgbClr val="00B0F0"/>
                </a:solidFill>
              </a:rPr>
              <a:t>Azure implementation</a:t>
            </a:r>
          </a:p>
        </p:txBody>
      </p:sp>
      <p:sp>
        <p:nvSpPr>
          <p:cNvPr id="3" name="Rectangle 2"/>
          <p:cNvSpPr/>
          <p:nvPr/>
        </p:nvSpPr>
        <p:spPr>
          <a:xfrm>
            <a:off x="377027" y="4987179"/>
            <a:ext cx="124585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cs typeface="Segoe UI Semilight" panose="020B0402040204020203" pitchFamily="34" charset="0"/>
              </a:rPr>
              <a:t>Event Hub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32" name="Freeform 35"/>
          <p:cNvSpPr>
            <a:spLocks noEditPoints="1"/>
          </p:cNvSpPr>
          <p:nvPr/>
        </p:nvSpPr>
        <p:spPr bwMode="auto">
          <a:xfrm flipH="1">
            <a:off x="5646500" y="2154628"/>
            <a:ext cx="655059" cy="647395"/>
          </a:xfrm>
          <a:custGeom>
            <a:avLst/>
            <a:gdLst>
              <a:gd name="T0" fmla="*/ 3231 w 4925"/>
              <a:gd name="T1" fmla="*/ 4866 h 4910"/>
              <a:gd name="T2" fmla="*/ 3422 w 4925"/>
              <a:gd name="T3" fmla="*/ 4910 h 4910"/>
              <a:gd name="T4" fmla="*/ 3579 w 4925"/>
              <a:gd name="T5" fmla="*/ 4881 h 4910"/>
              <a:gd name="T6" fmla="*/ 3833 w 4925"/>
              <a:gd name="T7" fmla="*/ 4646 h 4910"/>
              <a:gd name="T8" fmla="*/ 3899 w 4925"/>
              <a:gd name="T9" fmla="*/ 4509 h 4910"/>
              <a:gd name="T10" fmla="*/ 4063 w 4925"/>
              <a:gd name="T11" fmla="*/ 4509 h 4910"/>
              <a:gd name="T12" fmla="*/ 4509 w 4925"/>
              <a:gd name="T13" fmla="*/ 4063 h 4910"/>
              <a:gd name="T14" fmla="*/ 4509 w 4925"/>
              <a:gd name="T15" fmla="*/ 2794 h 4910"/>
              <a:gd name="T16" fmla="*/ 4866 w 4925"/>
              <a:gd name="T17" fmla="*/ 2031 h 4910"/>
              <a:gd name="T18" fmla="*/ 4881 w 4925"/>
              <a:gd name="T19" fmla="*/ 1679 h 4910"/>
              <a:gd name="T20" fmla="*/ 4646 w 4925"/>
              <a:gd name="T21" fmla="*/ 1424 h 4910"/>
              <a:gd name="T22" fmla="*/ 4509 w 4925"/>
              <a:gd name="T23" fmla="*/ 1358 h 4910"/>
              <a:gd name="T24" fmla="*/ 4509 w 4925"/>
              <a:gd name="T25" fmla="*/ 856 h 4910"/>
              <a:gd name="T26" fmla="*/ 4063 w 4925"/>
              <a:gd name="T27" fmla="*/ 411 h 4910"/>
              <a:gd name="T28" fmla="*/ 2779 w 4925"/>
              <a:gd name="T29" fmla="*/ 411 h 4910"/>
              <a:gd name="T30" fmla="*/ 2026 w 4925"/>
              <a:gd name="T31" fmla="*/ 58 h 4910"/>
              <a:gd name="T32" fmla="*/ 1679 w 4925"/>
              <a:gd name="T33" fmla="*/ 44 h 4910"/>
              <a:gd name="T34" fmla="*/ 1424 w 4925"/>
              <a:gd name="T35" fmla="*/ 279 h 4910"/>
              <a:gd name="T36" fmla="*/ 1360 w 4925"/>
              <a:gd name="T37" fmla="*/ 411 h 4910"/>
              <a:gd name="T38" fmla="*/ 856 w 4925"/>
              <a:gd name="T39" fmla="*/ 411 h 4910"/>
              <a:gd name="T40" fmla="*/ 411 w 4925"/>
              <a:gd name="T41" fmla="*/ 856 h 4910"/>
              <a:gd name="T42" fmla="*/ 411 w 4925"/>
              <a:gd name="T43" fmla="*/ 2478 h 4910"/>
              <a:gd name="T44" fmla="*/ 58 w 4925"/>
              <a:gd name="T45" fmla="*/ 3231 h 4910"/>
              <a:gd name="T46" fmla="*/ 44 w 4925"/>
              <a:gd name="T47" fmla="*/ 3579 h 4910"/>
              <a:gd name="T48" fmla="*/ 279 w 4925"/>
              <a:gd name="T49" fmla="*/ 3833 h 4910"/>
              <a:gd name="T50" fmla="*/ 411 w 4925"/>
              <a:gd name="T51" fmla="*/ 3897 h 4910"/>
              <a:gd name="T52" fmla="*/ 411 w 4925"/>
              <a:gd name="T53" fmla="*/ 4063 h 4910"/>
              <a:gd name="T54" fmla="*/ 856 w 4925"/>
              <a:gd name="T55" fmla="*/ 4509 h 4910"/>
              <a:gd name="T56" fmla="*/ 2468 w 4925"/>
              <a:gd name="T57" fmla="*/ 4509 h 4910"/>
              <a:gd name="T58" fmla="*/ 3231 w 4925"/>
              <a:gd name="T59" fmla="*/ 4866 h 4910"/>
              <a:gd name="T60" fmla="*/ 856 w 4925"/>
              <a:gd name="T61" fmla="*/ 705 h 4910"/>
              <a:gd name="T62" fmla="*/ 4063 w 4925"/>
              <a:gd name="T63" fmla="*/ 705 h 4910"/>
              <a:gd name="T64" fmla="*/ 4210 w 4925"/>
              <a:gd name="T65" fmla="*/ 851 h 4910"/>
              <a:gd name="T66" fmla="*/ 4210 w 4925"/>
              <a:gd name="T67" fmla="*/ 4058 h 4910"/>
              <a:gd name="T68" fmla="*/ 4063 w 4925"/>
              <a:gd name="T69" fmla="*/ 4205 h 4910"/>
              <a:gd name="T70" fmla="*/ 856 w 4925"/>
              <a:gd name="T71" fmla="*/ 4205 h 4910"/>
              <a:gd name="T72" fmla="*/ 709 w 4925"/>
              <a:gd name="T73" fmla="*/ 4058 h 4910"/>
              <a:gd name="T74" fmla="*/ 709 w 4925"/>
              <a:gd name="T75" fmla="*/ 851 h 4910"/>
              <a:gd name="T76" fmla="*/ 856 w 4925"/>
              <a:gd name="T77" fmla="*/ 705 h 4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925" h="4910">
                <a:moveTo>
                  <a:pt x="3231" y="4866"/>
                </a:moveTo>
                <a:cubicBezTo>
                  <a:pt x="3290" y="4896"/>
                  <a:pt x="3358" y="4910"/>
                  <a:pt x="3422" y="4910"/>
                </a:cubicBezTo>
                <a:cubicBezTo>
                  <a:pt x="3476" y="4910"/>
                  <a:pt x="3525" y="4900"/>
                  <a:pt x="3579" y="4881"/>
                </a:cubicBezTo>
                <a:cubicBezTo>
                  <a:pt x="3691" y="4842"/>
                  <a:pt x="3784" y="4758"/>
                  <a:pt x="3833" y="4646"/>
                </a:cubicBezTo>
                <a:lnTo>
                  <a:pt x="3899" y="4509"/>
                </a:lnTo>
                <a:lnTo>
                  <a:pt x="4063" y="4509"/>
                </a:lnTo>
                <a:cubicBezTo>
                  <a:pt x="4308" y="4509"/>
                  <a:pt x="4509" y="4308"/>
                  <a:pt x="4509" y="4063"/>
                </a:cubicBezTo>
                <a:lnTo>
                  <a:pt x="4509" y="2794"/>
                </a:lnTo>
                <a:lnTo>
                  <a:pt x="4866" y="2031"/>
                </a:lnTo>
                <a:cubicBezTo>
                  <a:pt x="4920" y="1919"/>
                  <a:pt x="4925" y="1796"/>
                  <a:pt x="4881" y="1679"/>
                </a:cubicBezTo>
                <a:cubicBezTo>
                  <a:pt x="4842" y="1566"/>
                  <a:pt x="4758" y="1473"/>
                  <a:pt x="4646" y="1424"/>
                </a:cubicBezTo>
                <a:lnTo>
                  <a:pt x="4509" y="1358"/>
                </a:lnTo>
                <a:lnTo>
                  <a:pt x="4509" y="856"/>
                </a:lnTo>
                <a:cubicBezTo>
                  <a:pt x="4509" y="612"/>
                  <a:pt x="4308" y="411"/>
                  <a:pt x="4063" y="411"/>
                </a:cubicBezTo>
                <a:lnTo>
                  <a:pt x="2779" y="411"/>
                </a:lnTo>
                <a:lnTo>
                  <a:pt x="2026" y="58"/>
                </a:lnTo>
                <a:cubicBezTo>
                  <a:pt x="1919" y="9"/>
                  <a:pt x="1791" y="0"/>
                  <a:pt x="1679" y="44"/>
                </a:cubicBezTo>
                <a:cubicBezTo>
                  <a:pt x="1566" y="83"/>
                  <a:pt x="1473" y="166"/>
                  <a:pt x="1424" y="279"/>
                </a:cubicBezTo>
                <a:lnTo>
                  <a:pt x="1360" y="411"/>
                </a:lnTo>
                <a:lnTo>
                  <a:pt x="856" y="411"/>
                </a:lnTo>
                <a:cubicBezTo>
                  <a:pt x="612" y="411"/>
                  <a:pt x="411" y="612"/>
                  <a:pt x="411" y="856"/>
                </a:cubicBezTo>
                <a:lnTo>
                  <a:pt x="411" y="2478"/>
                </a:lnTo>
                <a:lnTo>
                  <a:pt x="58" y="3231"/>
                </a:lnTo>
                <a:cubicBezTo>
                  <a:pt x="9" y="3339"/>
                  <a:pt x="0" y="3466"/>
                  <a:pt x="44" y="3579"/>
                </a:cubicBezTo>
                <a:cubicBezTo>
                  <a:pt x="83" y="3691"/>
                  <a:pt x="166" y="3784"/>
                  <a:pt x="279" y="3833"/>
                </a:cubicBezTo>
                <a:lnTo>
                  <a:pt x="411" y="3897"/>
                </a:lnTo>
                <a:lnTo>
                  <a:pt x="411" y="4063"/>
                </a:lnTo>
                <a:cubicBezTo>
                  <a:pt x="411" y="4308"/>
                  <a:pt x="612" y="4509"/>
                  <a:pt x="856" y="4509"/>
                </a:cubicBezTo>
                <a:lnTo>
                  <a:pt x="2468" y="4509"/>
                </a:lnTo>
                <a:lnTo>
                  <a:pt x="3231" y="4866"/>
                </a:lnTo>
                <a:close/>
                <a:moveTo>
                  <a:pt x="856" y="705"/>
                </a:moveTo>
                <a:lnTo>
                  <a:pt x="4063" y="705"/>
                </a:lnTo>
                <a:cubicBezTo>
                  <a:pt x="4142" y="705"/>
                  <a:pt x="4210" y="768"/>
                  <a:pt x="4210" y="851"/>
                </a:cubicBezTo>
                <a:lnTo>
                  <a:pt x="4210" y="4058"/>
                </a:lnTo>
                <a:cubicBezTo>
                  <a:pt x="4210" y="4137"/>
                  <a:pt x="4146" y="4205"/>
                  <a:pt x="4063" y="4205"/>
                </a:cubicBezTo>
                <a:lnTo>
                  <a:pt x="856" y="4205"/>
                </a:lnTo>
                <a:cubicBezTo>
                  <a:pt x="778" y="4205"/>
                  <a:pt x="709" y="4142"/>
                  <a:pt x="709" y="4058"/>
                </a:cubicBezTo>
                <a:lnTo>
                  <a:pt x="709" y="851"/>
                </a:lnTo>
                <a:cubicBezTo>
                  <a:pt x="709" y="773"/>
                  <a:pt x="773" y="705"/>
                  <a:pt x="856" y="705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9866" y="2217927"/>
            <a:ext cx="655058" cy="655058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5131" y="3477003"/>
            <a:ext cx="606115" cy="606115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4880" y="3479623"/>
            <a:ext cx="563522" cy="563522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3979" y="3483064"/>
            <a:ext cx="614203" cy="614203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2675" y="2218076"/>
            <a:ext cx="602630" cy="602630"/>
          </a:xfrm>
          <a:prstGeom prst="rect">
            <a:avLst/>
          </a:prstGeom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384" y="4406284"/>
            <a:ext cx="608964" cy="608964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355" y="5440266"/>
            <a:ext cx="569199" cy="569199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1589" y="4660215"/>
            <a:ext cx="653927" cy="653927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2378" y="4716271"/>
            <a:ext cx="602630" cy="60263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2632" y="4713933"/>
            <a:ext cx="602630" cy="602630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9055" y="3480488"/>
            <a:ext cx="602630" cy="60263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7986" y="2217927"/>
            <a:ext cx="569199" cy="569199"/>
          </a:xfrm>
          <a:prstGeom prst="rect">
            <a:avLst/>
          </a:prstGeom>
        </p:spPr>
      </p:pic>
      <p:sp>
        <p:nvSpPr>
          <p:cNvPr id="41" name="Rectangle 40"/>
          <p:cNvSpPr/>
          <p:nvPr/>
        </p:nvSpPr>
        <p:spPr>
          <a:xfrm>
            <a:off x="312105" y="6024530"/>
            <a:ext cx="13756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</a:rPr>
              <a:t>Data Factory</a:t>
            </a:r>
          </a:p>
        </p:txBody>
      </p:sp>
      <p:sp>
        <p:nvSpPr>
          <p:cNvPr id="42" name="Rectangle 41"/>
          <p:cNvSpPr/>
          <p:nvPr/>
        </p:nvSpPr>
        <p:spPr>
          <a:xfrm>
            <a:off x="3012102" y="5314142"/>
            <a:ext cx="102463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cs typeface="Segoe UI Semilight" panose="020B0402040204020203" pitchFamily="34" charset="0"/>
              </a:rPr>
              <a:t>Stream </a:t>
            </a:r>
          </a:p>
          <a:p>
            <a:pPr marL="0" marR="0" lvl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cs typeface="Segoe UI Semilight" panose="020B0402040204020203" pitchFamily="34" charset="0"/>
              </a:rPr>
              <a:t>Analytic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5176451" y="5208570"/>
            <a:ext cx="1154483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cs typeface="Segoe UI Semilight" panose="020B0402040204020203" pitchFamily="34" charset="0"/>
              </a:rPr>
              <a:t>HDInsight </a:t>
            </a:r>
          </a:p>
          <a:p>
            <a:pPr marL="0" marR="0" lvl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cs typeface="Segoe UI Semilight" panose="020B0402040204020203" pitchFamily="34" charset="0"/>
              </a:rPr>
              <a:t>Spark </a:t>
            </a:r>
          </a:p>
          <a:p>
            <a:pPr marL="0" marR="0" lvl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cs typeface="Segoe UI Semilight" panose="020B0402040204020203" pitchFamily="34" charset="0"/>
              </a:rPr>
              <a:t>Streaming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4120323" y="5328627"/>
            <a:ext cx="115448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cs typeface="Segoe UI Semilight" panose="020B0402040204020203" pitchFamily="34" charset="0"/>
              </a:rPr>
              <a:t>HDInsight </a:t>
            </a:r>
          </a:p>
          <a:p>
            <a:pPr marL="0" marR="0" lvl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cs typeface="Segoe UI Semilight" panose="020B0402040204020203" pitchFamily="34" charset="0"/>
              </a:rPr>
              <a:t>Storm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2726749" y="2936186"/>
            <a:ext cx="11544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cs typeface="Segoe UI Semilight" panose="020B0402040204020203" pitchFamily="34" charset="0"/>
              </a:rPr>
              <a:t>HDInsight </a:t>
            </a:r>
          </a:p>
        </p:txBody>
      </p:sp>
      <p:sp>
        <p:nvSpPr>
          <p:cNvPr id="51" name="Rectangle 50"/>
          <p:cNvSpPr/>
          <p:nvPr/>
        </p:nvSpPr>
        <p:spPr>
          <a:xfrm>
            <a:off x="3731177" y="2833292"/>
            <a:ext cx="93487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cs typeface="Segoe UI Semilight" panose="020B0402040204020203" pitchFamily="34" charset="0"/>
              </a:rPr>
              <a:t>Data </a:t>
            </a:r>
          </a:p>
          <a:p>
            <a:pPr marL="0" marR="0" lvl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cs typeface="Segoe UI Semilight" panose="020B0402040204020203" pitchFamily="34" charset="0"/>
              </a:rPr>
              <a:t>Factory </a:t>
            </a:r>
          </a:p>
        </p:txBody>
      </p:sp>
      <p:sp>
        <p:nvSpPr>
          <p:cNvPr id="52" name="Rectangle 51"/>
          <p:cNvSpPr/>
          <p:nvPr/>
        </p:nvSpPr>
        <p:spPr>
          <a:xfrm>
            <a:off x="4786760" y="2814509"/>
            <a:ext cx="77938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cs typeface="Segoe UI Semilight" panose="020B0402040204020203" pitchFamily="34" charset="0"/>
              </a:rPr>
              <a:t>Azure </a:t>
            </a:r>
          </a:p>
          <a:p>
            <a:pPr marL="0" marR="0" lvl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cs typeface="Segoe UI Semilight" panose="020B0402040204020203" pitchFamily="34" charset="0"/>
              </a:rPr>
              <a:t>Batch </a:t>
            </a:r>
          </a:p>
        </p:txBody>
      </p:sp>
      <p:sp>
        <p:nvSpPr>
          <p:cNvPr id="53" name="Rectangle 52"/>
          <p:cNvSpPr/>
          <p:nvPr/>
        </p:nvSpPr>
        <p:spPr>
          <a:xfrm>
            <a:off x="5634833" y="2836733"/>
            <a:ext cx="67839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cs typeface="Segoe UI Semilight" panose="020B0402040204020203" pitchFamily="34" charset="0"/>
              </a:rPr>
              <a:t>Data </a:t>
            </a:r>
          </a:p>
          <a:p>
            <a:pPr marL="0" marR="0" lvl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cs typeface="Segoe UI Semilight" panose="020B0402040204020203" pitchFamily="34" charset="0"/>
              </a:rPr>
              <a:t>Lake</a:t>
            </a:r>
          </a:p>
        </p:txBody>
      </p:sp>
      <p:sp>
        <p:nvSpPr>
          <p:cNvPr id="54" name="Rectangle 53"/>
          <p:cNvSpPr/>
          <p:nvPr/>
        </p:nvSpPr>
        <p:spPr>
          <a:xfrm>
            <a:off x="8013128" y="4101505"/>
            <a:ext cx="115448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cs typeface="Segoe UI Semilight" panose="020B0402040204020203" pitchFamily="34" charset="0"/>
              </a:rPr>
              <a:t>HDInsight </a:t>
            </a:r>
          </a:p>
          <a:p>
            <a:pPr marL="0" marR="0" lvl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cs typeface="Segoe UI Semilight" panose="020B0402040204020203" pitchFamily="34" charset="0"/>
              </a:rPr>
              <a:t>HBase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9036086" y="4101504"/>
            <a:ext cx="88998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</a:rPr>
              <a:t>SQL </a:t>
            </a:r>
          </a:p>
          <a:p>
            <a:pPr marL="0" marR="0" lvl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</a:rPr>
              <a:t>DB/DW</a:t>
            </a:r>
          </a:p>
        </p:txBody>
      </p:sp>
      <p:sp>
        <p:nvSpPr>
          <p:cNvPr id="56" name="Rectangle 55"/>
          <p:cNvSpPr/>
          <p:nvPr/>
        </p:nvSpPr>
        <p:spPr>
          <a:xfrm>
            <a:off x="9928716" y="4198076"/>
            <a:ext cx="81464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</a:rPr>
              <a:t>DocDB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10801783" y="4079866"/>
            <a:ext cx="81624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</a:rPr>
              <a:t>Azure </a:t>
            </a:r>
          </a:p>
          <a:p>
            <a:pPr marL="0" marR="0" lvl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</a:rPr>
              <a:t>Search</a:t>
            </a:r>
          </a:p>
        </p:txBody>
      </p:sp>
    </p:spTree>
    <p:extLst>
      <p:ext uri="{BB962C8B-B14F-4D97-AF65-F5344CB8AC3E}">
        <p14:creationId xmlns:p14="http://schemas.microsoft.com/office/powerpoint/2010/main" val="39388113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</p:sp>
      <p:sp>
        <p:nvSpPr>
          <p:cNvPr id="7" name="Rectangle 6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21564" y="320040"/>
            <a:ext cx="11548872" cy="6217920"/>
          </a:xfrm>
          <a:prstGeom prst="rect">
            <a:avLst/>
          </a:prstGeom>
          <a:solidFill>
            <a:schemeClr val="tx1">
              <a:alpha val="8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" name="Straight Connector 7"/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055891" y="2057399"/>
            <a:ext cx="0" cy="27432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380588" y="965199"/>
            <a:ext cx="6766078" cy="4927601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5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zure HDInsight</a:t>
            </a:r>
          </a:p>
        </p:txBody>
      </p:sp>
    </p:spTree>
    <p:extLst>
      <p:ext uri="{BB962C8B-B14F-4D97-AF65-F5344CB8AC3E}">
        <p14:creationId xmlns:p14="http://schemas.microsoft.com/office/powerpoint/2010/main" val="37619170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GB" dirty="0">
                <a:solidFill>
                  <a:srgbClr val="00B0F0"/>
                </a:solidFill>
              </a:rPr>
              <a:t>Azure HDInsight</a:t>
            </a:r>
          </a:p>
        </p:txBody>
      </p:sp>
      <p:sp>
        <p:nvSpPr>
          <p:cNvPr id="5" name="Rectangle 4"/>
          <p:cNvSpPr/>
          <p:nvPr/>
        </p:nvSpPr>
        <p:spPr>
          <a:xfrm>
            <a:off x="269241" y="1189494"/>
            <a:ext cx="9605440" cy="452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353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</a:rPr>
              <a:t>A managed cloud service for building and operating data pipelines</a:t>
            </a:r>
          </a:p>
        </p:txBody>
      </p:sp>
      <p:sp>
        <p:nvSpPr>
          <p:cNvPr id="9" name="Text Placeholder 3"/>
          <p:cNvSpPr txBox="1">
            <a:spLocks/>
          </p:cNvSpPr>
          <p:nvPr/>
        </p:nvSpPr>
        <p:spPr>
          <a:xfrm>
            <a:off x="1087015" y="1690688"/>
            <a:ext cx="8210368" cy="3986219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36145" marR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2800" kern="1200" spc="0" baseline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572691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6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784338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4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008435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2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32531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2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schemeClr val="tx1"/>
                </a:solidFill>
              </a:rPr>
              <a:t>Reliable with an industry leading SLA</a:t>
            </a:r>
          </a:p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schemeClr val="tx1"/>
                </a:solidFill>
              </a:rPr>
              <a:t>Enterprise-grade security and monitoring</a:t>
            </a:r>
          </a:p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schemeClr val="tx1"/>
                </a:solidFill>
              </a:rPr>
              <a:t>Productive platform for developers and scientists</a:t>
            </a:r>
          </a:p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schemeClr val="tx1"/>
                </a:solidFill>
              </a:rPr>
              <a:t>Cost effective cloud scale</a:t>
            </a:r>
          </a:p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schemeClr val="tx1"/>
                </a:solidFill>
              </a:rPr>
              <a:t>Integration with leading ISV applications</a:t>
            </a:r>
          </a:p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schemeClr val="tx1"/>
                </a:solidFill>
              </a:rPr>
              <a:t>Easy for administrators to manag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8468" y="5191060"/>
            <a:ext cx="1517333" cy="1517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4940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GB" dirty="0">
                <a:solidFill>
                  <a:srgbClr val="00B0F0"/>
                </a:solidFill>
              </a:rPr>
              <a:t>Cluster Types</a:t>
            </a:r>
          </a:p>
        </p:txBody>
      </p:sp>
      <p:sp>
        <p:nvSpPr>
          <p:cNvPr id="5" name="Rectangle 4"/>
          <p:cNvSpPr/>
          <p:nvPr/>
        </p:nvSpPr>
        <p:spPr>
          <a:xfrm>
            <a:off x="269241" y="1189494"/>
            <a:ext cx="9605440" cy="452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353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</a:rPr>
              <a:t>A managed cloud service for building and operating data pipeline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8468" y="5191060"/>
            <a:ext cx="1517333" cy="151733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3471" y="4239027"/>
            <a:ext cx="1298137" cy="685717"/>
          </a:xfrm>
          <a:prstGeom prst="rect">
            <a:avLst/>
          </a:prstGeom>
        </p:spPr>
      </p:pic>
      <p:grpSp>
        <p:nvGrpSpPr>
          <p:cNvPr id="4" name="Group 3"/>
          <p:cNvGrpSpPr/>
          <p:nvPr/>
        </p:nvGrpSpPr>
        <p:grpSpPr>
          <a:xfrm>
            <a:off x="7683435" y="1873959"/>
            <a:ext cx="737634" cy="838604"/>
            <a:chOff x="6851021" y="3754211"/>
            <a:chExt cx="494661" cy="522803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5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9384"/>
            <a:stretch/>
          </p:blipFill>
          <p:spPr>
            <a:xfrm>
              <a:off x="7001730" y="3754211"/>
              <a:ext cx="343952" cy="309098"/>
            </a:xfrm>
            <a:prstGeom prst="rect">
              <a:avLst/>
            </a:prstGeom>
          </p:spPr>
        </p:pic>
        <p:sp>
          <p:nvSpPr>
            <p:cNvPr id="12" name="Rectangle 11"/>
            <p:cNvSpPr/>
            <p:nvPr/>
          </p:nvSpPr>
          <p:spPr>
            <a:xfrm>
              <a:off x="6851021" y="4085139"/>
              <a:ext cx="494449" cy="1918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8961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-29" normalizeH="0" baseline="0" noProof="0" dirty="0">
                  <a:ln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  <a:ea typeface="MS PGothic" panose="020B0600070205080204" pitchFamily="34" charset="-128"/>
                  <a:cs typeface="Segoe UI Semilight" panose="020B0402040204020203" pitchFamily="34" charset="0"/>
                </a:rPr>
                <a:t>  Storm</a:t>
              </a: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5265024" y="3001754"/>
            <a:ext cx="1752452" cy="1145478"/>
            <a:chOff x="4965583" y="3447562"/>
            <a:chExt cx="1337546" cy="820372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6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29811" y="3447562"/>
              <a:ext cx="313741" cy="503779"/>
            </a:xfrm>
            <a:prstGeom prst="rect">
              <a:avLst/>
            </a:prstGeom>
          </p:spPr>
        </p:pic>
        <p:sp>
          <p:nvSpPr>
            <p:cNvPr id="13" name="Rectangle 12"/>
            <p:cNvSpPr/>
            <p:nvPr/>
          </p:nvSpPr>
          <p:spPr>
            <a:xfrm>
              <a:off x="4965583" y="3960157"/>
              <a:ext cx="1337546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8961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-29" normalizeH="0" baseline="0" noProof="0" dirty="0">
                  <a:ln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  <a:ea typeface="MS PGothic" panose="020B0600070205080204" pitchFamily="34" charset="-128"/>
                  <a:cs typeface="Segoe UI Semilight" panose="020B0402040204020203" pitchFamily="34" charset="0"/>
                </a:rPr>
                <a:t>Kafka (preview)</a:t>
              </a: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2468585" y="1669972"/>
            <a:ext cx="943073" cy="1331782"/>
            <a:chOff x="6599151" y="2155052"/>
            <a:chExt cx="805157" cy="1068658"/>
          </a:xfrm>
        </p:grpSpPr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11585" y="2155052"/>
              <a:ext cx="780290" cy="780290"/>
            </a:xfrm>
            <a:prstGeom prst="rect">
              <a:avLst/>
            </a:prstGeom>
          </p:spPr>
        </p:pic>
        <p:sp>
          <p:nvSpPr>
            <p:cNvPr id="15" name="Rectangle 14"/>
            <p:cNvSpPr/>
            <p:nvPr/>
          </p:nvSpPr>
          <p:spPr>
            <a:xfrm>
              <a:off x="6599151" y="2915933"/>
              <a:ext cx="805157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8961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-29" normalizeH="0" baseline="0" noProof="0" dirty="0">
                  <a:ln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  <a:ea typeface="MS PGothic" panose="020B0600070205080204" pitchFamily="34" charset="-128"/>
                  <a:cs typeface="Segoe UI Semilight" panose="020B0402040204020203" pitchFamily="34" charset="0"/>
                </a:rPr>
                <a:t>Hadoop</a:t>
              </a: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8684729" y="3762563"/>
            <a:ext cx="1909699" cy="952928"/>
            <a:chOff x="8741484" y="4054803"/>
            <a:chExt cx="1578061" cy="723925"/>
          </a:xfrm>
        </p:grpSpPr>
        <p:sp>
          <p:nvSpPr>
            <p:cNvPr id="16" name="Rectangle 15"/>
            <p:cNvSpPr/>
            <p:nvPr/>
          </p:nvSpPr>
          <p:spPr>
            <a:xfrm>
              <a:off x="8741484" y="4470951"/>
              <a:ext cx="1578061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8961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kern="0" spc="-29" dirty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MS PGothic" panose="020B0600070205080204" pitchFamily="34" charset="-128"/>
                  <a:cs typeface="Segoe UI Semilight" panose="020B0402040204020203" pitchFamily="34" charset="0"/>
                </a:rPr>
                <a:t>Microsoft </a:t>
              </a:r>
              <a:r>
                <a:rPr kumimoji="0" lang="en-US" sz="1400" b="0" i="0" u="none" strike="noStrike" kern="0" cap="none" spc="-29" normalizeH="0" baseline="0" noProof="0" dirty="0">
                  <a:ln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  <a:ea typeface="MS PGothic" panose="020B0600070205080204" pitchFamily="34" charset="-128"/>
                  <a:cs typeface="Segoe UI Semilight" panose="020B0402040204020203" pitchFamily="34" charset="0"/>
                </a:rPr>
                <a:t>R Server</a:t>
              </a:r>
            </a:p>
          </p:txBody>
        </p:sp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13732" y="4054803"/>
              <a:ext cx="564158" cy="416148"/>
            </a:xfrm>
            <a:prstGeom prst="rect">
              <a:avLst/>
            </a:prstGeom>
          </p:spPr>
        </p:pic>
      </p:grpSp>
      <p:pic>
        <p:nvPicPr>
          <p:cNvPr id="21" name="Graphic 17"/>
          <p:cNvPicPr>
            <a:picLocks noChangeAspect="1"/>
          </p:cNvPicPr>
          <p:nvPr/>
        </p:nvPicPr>
        <p:blipFill rotWithShape="1"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9019" t="29789" r="9019" b="29789"/>
          <a:stretch/>
        </p:blipFill>
        <p:spPr>
          <a:xfrm>
            <a:off x="9739132" y="2263080"/>
            <a:ext cx="1388002" cy="528958"/>
          </a:xfrm>
          <a:prstGeom prst="rect">
            <a:avLst/>
          </a:prstGeom>
        </p:spPr>
      </p:pic>
      <p:grpSp>
        <p:nvGrpSpPr>
          <p:cNvPr id="29" name="Group 28"/>
          <p:cNvGrpSpPr/>
          <p:nvPr/>
        </p:nvGrpSpPr>
        <p:grpSpPr>
          <a:xfrm>
            <a:off x="5754209" y="4872416"/>
            <a:ext cx="2526534" cy="1077310"/>
            <a:chOff x="4624705" y="5198702"/>
            <a:chExt cx="2093330" cy="809790"/>
          </a:xfrm>
        </p:grpSpPr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5139278" y="5198702"/>
              <a:ext cx="532092" cy="478880"/>
            </a:xfrm>
            <a:prstGeom prst="rect">
              <a:avLst/>
            </a:prstGeom>
          </p:spPr>
        </p:pic>
        <p:sp>
          <p:nvSpPr>
            <p:cNvPr id="27" name="Rectangle 26"/>
            <p:cNvSpPr/>
            <p:nvPr/>
          </p:nvSpPr>
          <p:spPr>
            <a:xfrm>
              <a:off x="4624705" y="5700715"/>
              <a:ext cx="2093330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8961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-29" normalizeH="0" baseline="0" noProof="0" dirty="0">
                  <a:ln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  <a:ea typeface="MS PGothic" panose="020B0600070205080204" pitchFamily="34" charset="-128"/>
                  <a:cs typeface="Segoe UI Semilight" panose="020B0402040204020203" pitchFamily="34" charset="0"/>
                </a:rPr>
                <a:t>Interactive Hive (preview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24175638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GB" dirty="0">
                <a:solidFill>
                  <a:srgbClr val="00B0F0"/>
                </a:solidFill>
              </a:rPr>
              <a:t>Hadoop</a:t>
            </a:r>
          </a:p>
        </p:txBody>
      </p:sp>
      <p:sp>
        <p:nvSpPr>
          <p:cNvPr id="5" name="Rectangle 4"/>
          <p:cNvSpPr/>
          <p:nvPr/>
        </p:nvSpPr>
        <p:spPr>
          <a:xfrm>
            <a:off x="269241" y="1189494"/>
            <a:ext cx="9605440" cy="452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353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</a:rPr>
              <a:t>A managed cloud service for building and operating data pipelines</a:t>
            </a:r>
          </a:p>
        </p:txBody>
      </p:sp>
      <p:sp>
        <p:nvSpPr>
          <p:cNvPr id="9" name="Text Placeholder 3"/>
          <p:cNvSpPr txBox="1">
            <a:spLocks/>
          </p:cNvSpPr>
          <p:nvPr/>
        </p:nvSpPr>
        <p:spPr>
          <a:xfrm>
            <a:off x="564822" y="1637706"/>
            <a:ext cx="10835435" cy="3691267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36145" marR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2800" kern="1200" spc="0" baseline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572691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6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784338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4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008435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2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32531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2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schemeClr val="tx1"/>
                </a:solidFill>
              </a:rPr>
              <a:t>Governed by the Apache Software Foundation </a:t>
            </a:r>
          </a:p>
          <a:p>
            <a:pPr marL="0" lvl="1" indent="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None/>
            </a:pPr>
            <a:endParaRPr lang="en-GB" sz="2800" dirty="0">
              <a:solidFill>
                <a:schemeClr val="tx1"/>
              </a:solidFill>
            </a:endParaRPr>
          </a:p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schemeClr val="tx1"/>
                </a:solidFill>
              </a:rPr>
              <a:t>Core services: MapReduce, HDFS and YARN</a:t>
            </a:r>
          </a:p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endParaRPr lang="en-GB" sz="2800" dirty="0">
              <a:solidFill>
                <a:schemeClr val="tx1"/>
              </a:solidFill>
            </a:endParaRPr>
          </a:p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schemeClr val="tx1"/>
                </a:solidFill>
              </a:rPr>
              <a:t>Other functions across: data lifecycle and governance, data workflow, security, tools, data access and operation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8468" y="5191060"/>
            <a:ext cx="1517333" cy="1517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5771134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GB" dirty="0">
                <a:solidFill>
                  <a:srgbClr val="00B0F0"/>
                </a:solidFill>
              </a:rPr>
              <a:t>HDFS</a:t>
            </a:r>
          </a:p>
        </p:txBody>
      </p:sp>
      <p:sp>
        <p:nvSpPr>
          <p:cNvPr id="5" name="Rectangle 4"/>
          <p:cNvSpPr/>
          <p:nvPr/>
        </p:nvSpPr>
        <p:spPr>
          <a:xfrm>
            <a:off x="269241" y="1189494"/>
            <a:ext cx="9605440" cy="452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353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</a:rPr>
              <a:t>A managed cloud service for building and operating data pipelines</a:t>
            </a:r>
          </a:p>
        </p:txBody>
      </p:sp>
      <p:sp>
        <p:nvSpPr>
          <p:cNvPr id="9" name="Text Placeholder 3"/>
          <p:cNvSpPr txBox="1">
            <a:spLocks/>
          </p:cNvSpPr>
          <p:nvPr/>
        </p:nvSpPr>
        <p:spPr>
          <a:xfrm>
            <a:off x="564822" y="1637706"/>
            <a:ext cx="10835435" cy="365382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36145" marR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2800" kern="1200" spc="0" baseline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572691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6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784338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4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008435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2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32531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2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schemeClr val="tx1"/>
                </a:solidFill>
              </a:rPr>
              <a:t>HDFS is a distributed file system</a:t>
            </a:r>
          </a:p>
          <a:p>
            <a:pPr marL="778644" lvl="3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</a:pPr>
            <a:r>
              <a:rPr lang="en-GB" sz="2000" dirty="0">
                <a:solidFill>
                  <a:schemeClr val="tx1"/>
                </a:solidFill>
              </a:rPr>
              <a:t>From a few nodes to thousands of nodes</a:t>
            </a:r>
          </a:p>
          <a:p>
            <a:pPr marL="778644" lvl="3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</a:pPr>
            <a:r>
              <a:rPr lang="en-GB" sz="2000" dirty="0">
                <a:solidFill>
                  <a:schemeClr val="tx1"/>
                </a:solidFill>
              </a:rPr>
              <a:t>Files can be spread out over multiple nodes</a:t>
            </a:r>
          </a:p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schemeClr val="tx1"/>
                </a:solidFill>
              </a:rPr>
              <a:t>HDFS stores large amounts of data</a:t>
            </a:r>
          </a:p>
          <a:p>
            <a:pPr marL="778644" lvl="3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</a:pPr>
            <a:r>
              <a:rPr lang="en-GB" sz="2000" dirty="0">
                <a:solidFill>
                  <a:schemeClr val="tx1"/>
                </a:solidFill>
              </a:rPr>
              <a:t>Very large files are supported including those larger than the capacity of a single node</a:t>
            </a:r>
          </a:p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schemeClr val="tx1"/>
                </a:solidFill>
              </a:rPr>
              <a:t>HDFS stores non-relational file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8468" y="5191060"/>
            <a:ext cx="1517333" cy="1517333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6829499" y="1495984"/>
            <a:ext cx="4998953" cy="1872543"/>
            <a:chOff x="2891046" y="4687597"/>
            <a:chExt cx="5099916" cy="1910363"/>
          </a:xfrm>
        </p:grpSpPr>
        <p:grpSp>
          <p:nvGrpSpPr>
            <p:cNvPr id="8" name="Group 7"/>
            <p:cNvGrpSpPr/>
            <p:nvPr/>
          </p:nvGrpSpPr>
          <p:grpSpPr>
            <a:xfrm>
              <a:off x="2891046" y="4925411"/>
              <a:ext cx="1108811" cy="1452002"/>
              <a:chOff x="1789900" y="2805422"/>
              <a:chExt cx="1292057" cy="1882507"/>
            </a:xfrm>
          </p:grpSpPr>
          <p:sp>
            <p:nvSpPr>
              <p:cNvPr id="66" name="TextBox 65"/>
              <p:cNvSpPr txBox="1"/>
              <p:nvPr/>
            </p:nvSpPr>
            <p:spPr>
              <a:xfrm>
                <a:off x="2010919" y="4432735"/>
                <a:ext cx="850018" cy="2551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914225">
                  <a:lnSpc>
                    <a:spcPct val="80000"/>
                  </a:lnSpc>
                  <a:spcBef>
                    <a:spcPct val="20000"/>
                  </a:spcBef>
                  <a:buSzPct val="80000"/>
                </a:pPr>
                <a:r>
                  <a:rPr lang="en-US" sz="1567" kern="0" dirty="0">
                    <a:gradFill>
                      <a:gsLst>
                        <a:gs pos="0">
                          <a:schemeClr val="tx1">
                            <a:lumMod val="95000"/>
                            <a:lumOff val="5000"/>
                          </a:schemeClr>
                        </a:gs>
                        <a:gs pos="100000">
                          <a:schemeClr val="tx1">
                            <a:lumMod val="95000"/>
                            <a:lumOff val="5000"/>
                          </a:schemeClr>
                        </a:gs>
                      </a:gsLst>
                      <a:lin ang="5400000" scaled="0"/>
                    </a:gradFill>
                  </a:rPr>
                  <a:t>Files</a:t>
                </a:r>
              </a:p>
            </p:txBody>
          </p:sp>
          <p:grpSp>
            <p:nvGrpSpPr>
              <p:cNvPr id="67" name="Group 66"/>
              <p:cNvGrpSpPr/>
              <p:nvPr/>
            </p:nvGrpSpPr>
            <p:grpSpPr>
              <a:xfrm>
                <a:off x="1789900" y="2805422"/>
                <a:ext cx="1292057" cy="1532342"/>
                <a:chOff x="8791575" y="-838200"/>
                <a:chExt cx="973138" cy="1154113"/>
              </a:xfrm>
            </p:grpSpPr>
            <p:sp>
              <p:nvSpPr>
                <p:cNvPr id="68" name="Freeform 7" hidden="1"/>
                <p:cNvSpPr>
                  <a:spLocks/>
                </p:cNvSpPr>
                <p:nvPr/>
              </p:nvSpPr>
              <p:spPr bwMode="auto">
                <a:xfrm>
                  <a:off x="8829675" y="-808037"/>
                  <a:ext cx="896938" cy="1082675"/>
                </a:xfrm>
                <a:custGeom>
                  <a:avLst/>
                  <a:gdLst>
                    <a:gd name="T0" fmla="*/ 0 w 565"/>
                    <a:gd name="T1" fmla="*/ 9 h 682"/>
                    <a:gd name="T2" fmla="*/ 7 w 565"/>
                    <a:gd name="T3" fmla="*/ 538 h 682"/>
                    <a:gd name="T4" fmla="*/ 73 w 565"/>
                    <a:gd name="T5" fmla="*/ 595 h 682"/>
                    <a:gd name="T6" fmla="*/ 123 w 565"/>
                    <a:gd name="T7" fmla="*/ 630 h 682"/>
                    <a:gd name="T8" fmla="*/ 137 w 565"/>
                    <a:gd name="T9" fmla="*/ 670 h 682"/>
                    <a:gd name="T10" fmla="*/ 549 w 565"/>
                    <a:gd name="T11" fmla="*/ 682 h 682"/>
                    <a:gd name="T12" fmla="*/ 565 w 565"/>
                    <a:gd name="T13" fmla="*/ 659 h 682"/>
                    <a:gd name="T14" fmla="*/ 553 w 565"/>
                    <a:gd name="T15" fmla="*/ 292 h 682"/>
                    <a:gd name="T16" fmla="*/ 260 w 565"/>
                    <a:gd name="T17" fmla="*/ 0 h 682"/>
                    <a:gd name="T18" fmla="*/ 0 w 565"/>
                    <a:gd name="T19" fmla="*/ 9 h 6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65" h="682">
                      <a:moveTo>
                        <a:pt x="0" y="9"/>
                      </a:moveTo>
                      <a:lnTo>
                        <a:pt x="7" y="538"/>
                      </a:lnTo>
                      <a:lnTo>
                        <a:pt x="73" y="595"/>
                      </a:lnTo>
                      <a:lnTo>
                        <a:pt x="123" y="630"/>
                      </a:lnTo>
                      <a:lnTo>
                        <a:pt x="137" y="670"/>
                      </a:lnTo>
                      <a:lnTo>
                        <a:pt x="549" y="682"/>
                      </a:lnTo>
                      <a:lnTo>
                        <a:pt x="565" y="659"/>
                      </a:lnTo>
                      <a:lnTo>
                        <a:pt x="553" y="292"/>
                      </a:lnTo>
                      <a:lnTo>
                        <a:pt x="260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t" anchorCtr="0"/>
                <a:lstStyle/>
                <a:p>
                  <a:pPr algn="ctr" defTabSz="1194694"/>
                  <a:endParaRPr lang="en-US" sz="1567" kern="0">
                    <a:solidFill>
                      <a:schemeClr val="bg1">
                        <a:alpha val="99000"/>
                      </a:schemeClr>
                    </a:solidFill>
                    <a:latin typeface="+mj-l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69" name="Freeform 6"/>
                <p:cNvSpPr>
                  <a:spLocks noEditPoints="1"/>
                </p:cNvSpPr>
                <p:nvPr/>
              </p:nvSpPr>
              <p:spPr bwMode="auto">
                <a:xfrm>
                  <a:off x="8791575" y="-838200"/>
                  <a:ext cx="973138" cy="1154113"/>
                </a:xfrm>
                <a:custGeom>
                  <a:avLst/>
                  <a:gdLst>
                    <a:gd name="T0" fmla="*/ 249 w 259"/>
                    <a:gd name="T1" fmla="*/ 122 h 308"/>
                    <a:gd name="T2" fmla="*/ 225 w 259"/>
                    <a:gd name="T3" fmla="*/ 101 h 308"/>
                    <a:gd name="T4" fmla="*/ 221 w 259"/>
                    <a:gd name="T5" fmla="*/ 95 h 308"/>
                    <a:gd name="T6" fmla="*/ 199 w 259"/>
                    <a:gd name="T7" fmla="*/ 74 h 308"/>
                    <a:gd name="T8" fmla="*/ 193 w 259"/>
                    <a:gd name="T9" fmla="*/ 67 h 308"/>
                    <a:gd name="T10" fmla="*/ 130 w 259"/>
                    <a:gd name="T11" fmla="*/ 7 h 308"/>
                    <a:gd name="T12" fmla="*/ 113 w 259"/>
                    <a:gd name="T13" fmla="*/ 0 h 308"/>
                    <a:gd name="T14" fmla="*/ 21 w 259"/>
                    <a:gd name="T15" fmla="*/ 0 h 308"/>
                    <a:gd name="T16" fmla="*/ 0 w 259"/>
                    <a:gd name="T17" fmla="*/ 18 h 308"/>
                    <a:gd name="T18" fmla="*/ 0 w 259"/>
                    <a:gd name="T19" fmla="*/ 229 h 308"/>
                    <a:gd name="T20" fmla="*/ 21 w 259"/>
                    <a:gd name="T21" fmla="*/ 253 h 308"/>
                    <a:gd name="T22" fmla="*/ 28 w 259"/>
                    <a:gd name="T23" fmla="*/ 253 h 308"/>
                    <a:gd name="T24" fmla="*/ 28 w 259"/>
                    <a:gd name="T25" fmla="*/ 256 h 308"/>
                    <a:gd name="T26" fmla="*/ 49 w 259"/>
                    <a:gd name="T27" fmla="*/ 281 h 308"/>
                    <a:gd name="T28" fmla="*/ 56 w 259"/>
                    <a:gd name="T29" fmla="*/ 281 h 308"/>
                    <a:gd name="T30" fmla="*/ 56 w 259"/>
                    <a:gd name="T31" fmla="*/ 284 h 308"/>
                    <a:gd name="T32" fmla="*/ 77 w 259"/>
                    <a:gd name="T33" fmla="*/ 308 h 308"/>
                    <a:gd name="T34" fmla="*/ 231 w 259"/>
                    <a:gd name="T35" fmla="*/ 308 h 308"/>
                    <a:gd name="T36" fmla="*/ 256 w 259"/>
                    <a:gd name="T37" fmla="*/ 284 h 308"/>
                    <a:gd name="T38" fmla="*/ 256 w 259"/>
                    <a:gd name="T39" fmla="*/ 140 h 308"/>
                    <a:gd name="T40" fmla="*/ 249 w 259"/>
                    <a:gd name="T41" fmla="*/ 122 h 308"/>
                    <a:gd name="T42" fmla="*/ 140 w 259"/>
                    <a:gd name="T43" fmla="*/ 46 h 308"/>
                    <a:gd name="T44" fmla="*/ 151 w 259"/>
                    <a:gd name="T45" fmla="*/ 56 h 308"/>
                    <a:gd name="T46" fmla="*/ 140 w 259"/>
                    <a:gd name="T47" fmla="*/ 56 h 308"/>
                    <a:gd name="T48" fmla="*/ 140 w 259"/>
                    <a:gd name="T49" fmla="*/ 46 h 308"/>
                    <a:gd name="T50" fmla="*/ 123 w 259"/>
                    <a:gd name="T51" fmla="*/ 28 h 308"/>
                    <a:gd name="T52" fmla="*/ 113 w 259"/>
                    <a:gd name="T53" fmla="*/ 28 h 308"/>
                    <a:gd name="T54" fmla="*/ 113 w 259"/>
                    <a:gd name="T55" fmla="*/ 18 h 308"/>
                    <a:gd name="T56" fmla="*/ 123 w 259"/>
                    <a:gd name="T57" fmla="*/ 28 h 308"/>
                    <a:gd name="T58" fmla="*/ 18 w 259"/>
                    <a:gd name="T59" fmla="*/ 232 h 308"/>
                    <a:gd name="T60" fmla="*/ 18 w 259"/>
                    <a:gd name="T61" fmla="*/ 18 h 308"/>
                    <a:gd name="T62" fmla="*/ 92 w 259"/>
                    <a:gd name="T63" fmla="*/ 18 h 308"/>
                    <a:gd name="T64" fmla="*/ 92 w 259"/>
                    <a:gd name="T65" fmla="*/ 28 h 308"/>
                    <a:gd name="T66" fmla="*/ 49 w 259"/>
                    <a:gd name="T67" fmla="*/ 28 h 308"/>
                    <a:gd name="T68" fmla="*/ 28 w 259"/>
                    <a:gd name="T69" fmla="*/ 46 h 308"/>
                    <a:gd name="T70" fmla="*/ 28 w 259"/>
                    <a:gd name="T71" fmla="*/ 232 h 308"/>
                    <a:gd name="T72" fmla="*/ 18 w 259"/>
                    <a:gd name="T73" fmla="*/ 232 h 308"/>
                    <a:gd name="T74" fmla="*/ 46 w 259"/>
                    <a:gd name="T75" fmla="*/ 260 h 308"/>
                    <a:gd name="T76" fmla="*/ 46 w 259"/>
                    <a:gd name="T77" fmla="*/ 46 h 308"/>
                    <a:gd name="T78" fmla="*/ 119 w 259"/>
                    <a:gd name="T79" fmla="*/ 46 h 308"/>
                    <a:gd name="T80" fmla="*/ 119 w 259"/>
                    <a:gd name="T81" fmla="*/ 56 h 308"/>
                    <a:gd name="T82" fmla="*/ 77 w 259"/>
                    <a:gd name="T83" fmla="*/ 56 h 308"/>
                    <a:gd name="T84" fmla="*/ 56 w 259"/>
                    <a:gd name="T85" fmla="*/ 73 h 308"/>
                    <a:gd name="T86" fmla="*/ 56 w 259"/>
                    <a:gd name="T87" fmla="*/ 260 h 308"/>
                    <a:gd name="T88" fmla="*/ 46 w 259"/>
                    <a:gd name="T89" fmla="*/ 260 h 308"/>
                    <a:gd name="T90" fmla="*/ 238 w 259"/>
                    <a:gd name="T91" fmla="*/ 287 h 308"/>
                    <a:gd name="T92" fmla="*/ 74 w 259"/>
                    <a:gd name="T93" fmla="*/ 287 h 308"/>
                    <a:gd name="T94" fmla="*/ 74 w 259"/>
                    <a:gd name="T95" fmla="*/ 73 h 308"/>
                    <a:gd name="T96" fmla="*/ 147 w 259"/>
                    <a:gd name="T97" fmla="*/ 73 h 308"/>
                    <a:gd name="T98" fmla="*/ 147 w 259"/>
                    <a:gd name="T99" fmla="*/ 140 h 308"/>
                    <a:gd name="T100" fmla="*/ 168 w 259"/>
                    <a:gd name="T101" fmla="*/ 165 h 308"/>
                    <a:gd name="T102" fmla="*/ 238 w 259"/>
                    <a:gd name="T103" fmla="*/ 165 h 308"/>
                    <a:gd name="T104" fmla="*/ 238 w 259"/>
                    <a:gd name="T105" fmla="*/ 287 h 308"/>
                    <a:gd name="T106" fmla="*/ 168 w 259"/>
                    <a:gd name="T107" fmla="*/ 140 h 308"/>
                    <a:gd name="T108" fmla="*/ 168 w 259"/>
                    <a:gd name="T109" fmla="*/ 73 h 308"/>
                    <a:gd name="T110" fmla="*/ 238 w 259"/>
                    <a:gd name="T111" fmla="*/ 140 h 308"/>
                    <a:gd name="T112" fmla="*/ 168 w 259"/>
                    <a:gd name="T113" fmla="*/ 140 h 3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59" h="308">
                      <a:moveTo>
                        <a:pt x="249" y="122"/>
                      </a:moveTo>
                      <a:cubicBezTo>
                        <a:pt x="240" y="114"/>
                        <a:pt x="232" y="107"/>
                        <a:pt x="225" y="101"/>
                      </a:cubicBezTo>
                      <a:cubicBezTo>
                        <a:pt x="224" y="99"/>
                        <a:pt x="223" y="97"/>
                        <a:pt x="221" y="95"/>
                      </a:cubicBezTo>
                      <a:cubicBezTo>
                        <a:pt x="212" y="87"/>
                        <a:pt x="205" y="80"/>
                        <a:pt x="199" y="74"/>
                      </a:cubicBezTo>
                      <a:cubicBezTo>
                        <a:pt x="198" y="72"/>
                        <a:pt x="196" y="69"/>
                        <a:pt x="193" y="67"/>
                      </a:cubicBezTo>
                      <a:cubicBezTo>
                        <a:pt x="130" y="7"/>
                        <a:pt x="130" y="7"/>
                        <a:pt x="130" y="7"/>
                      </a:cubicBezTo>
                      <a:cubicBezTo>
                        <a:pt x="123" y="0"/>
                        <a:pt x="120" y="0"/>
                        <a:pt x="113" y="0"/>
                      </a:cubicBezTo>
                      <a:cubicBezTo>
                        <a:pt x="21" y="0"/>
                        <a:pt x="21" y="0"/>
                        <a:pt x="21" y="0"/>
                      </a:cubicBezTo>
                      <a:cubicBezTo>
                        <a:pt x="11" y="0"/>
                        <a:pt x="0" y="7"/>
                        <a:pt x="0" y="18"/>
                      </a:cubicBezTo>
                      <a:cubicBezTo>
                        <a:pt x="0" y="229"/>
                        <a:pt x="0" y="229"/>
                        <a:pt x="0" y="229"/>
                      </a:cubicBezTo>
                      <a:cubicBezTo>
                        <a:pt x="0" y="239"/>
                        <a:pt x="11" y="253"/>
                        <a:pt x="21" y="253"/>
                      </a:cubicBezTo>
                      <a:cubicBezTo>
                        <a:pt x="24" y="253"/>
                        <a:pt x="26" y="253"/>
                        <a:pt x="28" y="253"/>
                      </a:cubicBezTo>
                      <a:cubicBezTo>
                        <a:pt x="28" y="256"/>
                        <a:pt x="28" y="256"/>
                        <a:pt x="28" y="256"/>
                      </a:cubicBezTo>
                      <a:cubicBezTo>
                        <a:pt x="28" y="267"/>
                        <a:pt x="39" y="281"/>
                        <a:pt x="49" y="281"/>
                      </a:cubicBezTo>
                      <a:cubicBezTo>
                        <a:pt x="52" y="281"/>
                        <a:pt x="54" y="281"/>
                        <a:pt x="56" y="281"/>
                      </a:cubicBezTo>
                      <a:cubicBezTo>
                        <a:pt x="56" y="284"/>
                        <a:pt x="56" y="284"/>
                        <a:pt x="56" y="284"/>
                      </a:cubicBezTo>
                      <a:cubicBezTo>
                        <a:pt x="56" y="294"/>
                        <a:pt x="67" y="308"/>
                        <a:pt x="77" y="308"/>
                      </a:cubicBezTo>
                      <a:cubicBezTo>
                        <a:pt x="231" y="308"/>
                        <a:pt x="231" y="308"/>
                        <a:pt x="231" y="308"/>
                      </a:cubicBezTo>
                      <a:cubicBezTo>
                        <a:pt x="245" y="308"/>
                        <a:pt x="256" y="294"/>
                        <a:pt x="256" y="284"/>
                      </a:cubicBezTo>
                      <a:cubicBezTo>
                        <a:pt x="256" y="140"/>
                        <a:pt x="256" y="140"/>
                        <a:pt x="256" y="140"/>
                      </a:cubicBezTo>
                      <a:cubicBezTo>
                        <a:pt x="256" y="140"/>
                        <a:pt x="259" y="133"/>
                        <a:pt x="249" y="122"/>
                      </a:cubicBezTo>
                      <a:close/>
                      <a:moveTo>
                        <a:pt x="140" y="46"/>
                      </a:moveTo>
                      <a:cubicBezTo>
                        <a:pt x="144" y="49"/>
                        <a:pt x="148" y="53"/>
                        <a:pt x="151" y="56"/>
                      </a:cubicBezTo>
                      <a:cubicBezTo>
                        <a:pt x="147" y="56"/>
                        <a:pt x="144" y="56"/>
                        <a:pt x="140" y="56"/>
                      </a:cubicBezTo>
                      <a:cubicBezTo>
                        <a:pt x="140" y="46"/>
                        <a:pt x="140" y="46"/>
                        <a:pt x="140" y="46"/>
                      </a:cubicBezTo>
                      <a:close/>
                      <a:moveTo>
                        <a:pt x="123" y="28"/>
                      </a:moveTo>
                      <a:cubicBezTo>
                        <a:pt x="120" y="28"/>
                        <a:pt x="116" y="28"/>
                        <a:pt x="113" y="28"/>
                      </a:cubicBezTo>
                      <a:cubicBezTo>
                        <a:pt x="113" y="18"/>
                        <a:pt x="113" y="18"/>
                        <a:pt x="113" y="18"/>
                      </a:cubicBezTo>
                      <a:cubicBezTo>
                        <a:pt x="116" y="21"/>
                        <a:pt x="120" y="25"/>
                        <a:pt x="123" y="28"/>
                      </a:cubicBezTo>
                      <a:close/>
                      <a:moveTo>
                        <a:pt x="18" y="232"/>
                      </a:moveTo>
                      <a:cubicBezTo>
                        <a:pt x="18" y="21"/>
                        <a:pt x="18" y="18"/>
                        <a:pt x="18" y="18"/>
                      </a:cubicBezTo>
                      <a:cubicBezTo>
                        <a:pt x="88" y="18"/>
                        <a:pt x="92" y="18"/>
                        <a:pt x="92" y="18"/>
                      </a:cubicBezTo>
                      <a:cubicBezTo>
                        <a:pt x="92" y="21"/>
                        <a:pt x="92" y="25"/>
                        <a:pt x="92" y="28"/>
                      </a:cubicBezTo>
                      <a:cubicBezTo>
                        <a:pt x="49" y="28"/>
                        <a:pt x="49" y="28"/>
                        <a:pt x="49" y="28"/>
                      </a:cubicBezTo>
                      <a:cubicBezTo>
                        <a:pt x="39" y="28"/>
                        <a:pt x="28" y="35"/>
                        <a:pt x="28" y="46"/>
                      </a:cubicBezTo>
                      <a:cubicBezTo>
                        <a:pt x="28" y="154"/>
                        <a:pt x="28" y="206"/>
                        <a:pt x="28" y="232"/>
                      </a:cubicBezTo>
                      <a:cubicBezTo>
                        <a:pt x="19" y="232"/>
                        <a:pt x="18" y="232"/>
                        <a:pt x="18" y="232"/>
                      </a:cubicBezTo>
                      <a:close/>
                      <a:moveTo>
                        <a:pt x="46" y="260"/>
                      </a:moveTo>
                      <a:cubicBezTo>
                        <a:pt x="46" y="49"/>
                        <a:pt x="46" y="46"/>
                        <a:pt x="46" y="46"/>
                      </a:cubicBezTo>
                      <a:cubicBezTo>
                        <a:pt x="116" y="46"/>
                        <a:pt x="119" y="46"/>
                        <a:pt x="119" y="46"/>
                      </a:cubicBezTo>
                      <a:cubicBezTo>
                        <a:pt x="119" y="49"/>
                        <a:pt x="119" y="53"/>
                        <a:pt x="119" y="56"/>
                      </a:cubicBezTo>
                      <a:cubicBezTo>
                        <a:pt x="77" y="56"/>
                        <a:pt x="77" y="56"/>
                        <a:pt x="77" y="56"/>
                      </a:cubicBezTo>
                      <a:cubicBezTo>
                        <a:pt x="67" y="56"/>
                        <a:pt x="56" y="63"/>
                        <a:pt x="56" y="73"/>
                      </a:cubicBezTo>
                      <a:cubicBezTo>
                        <a:pt x="56" y="182"/>
                        <a:pt x="56" y="234"/>
                        <a:pt x="56" y="260"/>
                      </a:cubicBezTo>
                      <a:cubicBezTo>
                        <a:pt x="47" y="260"/>
                        <a:pt x="46" y="260"/>
                        <a:pt x="46" y="260"/>
                      </a:cubicBezTo>
                      <a:close/>
                      <a:moveTo>
                        <a:pt x="238" y="287"/>
                      </a:moveTo>
                      <a:cubicBezTo>
                        <a:pt x="84" y="287"/>
                        <a:pt x="74" y="287"/>
                        <a:pt x="74" y="287"/>
                      </a:cubicBezTo>
                      <a:cubicBezTo>
                        <a:pt x="74" y="77"/>
                        <a:pt x="74" y="73"/>
                        <a:pt x="74" y="73"/>
                      </a:cubicBezTo>
                      <a:cubicBezTo>
                        <a:pt x="144" y="73"/>
                        <a:pt x="147" y="73"/>
                        <a:pt x="147" y="73"/>
                      </a:cubicBezTo>
                      <a:cubicBezTo>
                        <a:pt x="147" y="136"/>
                        <a:pt x="147" y="140"/>
                        <a:pt x="147" y="140"/>
                      </a:cubicBezTo>
                      <a:cubicBezTo>
                        <a:pt x="147" y="151"/>
                        <a:pt x="154" y="165"/>
                        <a:pt x="168" y="165"/>
                      </a:cubicBezTo>
                      <a:cubicBezTo>
                        <a:pt x="231" y="165"/>
                        <a:pt x="238" y="165"/>
                        <a:pt x="238" y="165"/>
                      </a:cubicBezTo>
                      <a:lnTo>
                        <a:pt x="238" y="287"/>
                      </a:lnTo>
                      <a:close/>
                      <a:moveTo>
                        <a:pt x="168" y="140"/>
                      </a:moveTo>
                      <a:cubicBezTo>
                        <a:pt x="168" y="73"/>
                        <a:pt x="168" y="73"/>
                        <a:pt x="168" y="73"/>
                      </a:cubicBezTo>
                      <a:cubicBezTo>
                        <a:pt x="238" y="140"/>
                        <a:pt x="238" y="140"/>
                        <a:pt x="238" y="140"/>
                      </a:cubicBezTo>
                      <a:lnTo>
                        <a:pt x="168" y="14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/>
                  <a:endParaRPr lang="en-US" sz="1567" kern="0">
                    <a:solidFill>
                      <a:sysClr val="windowText" lastClr="000000"/>
                    </a:solidFill>
                  </a:endParaRPr>
                </a:p>
              </p:txBody>
            </p:sp>
          </p:grpSp>
        </p:grpSp>
        <p:grpSp>
          <p:nvGrpSpPr>
            <p:cNvPr id="10" name="Group 9"/>
            <p:cNvGrpSpPr/>
            <p:nvPr/>
          </p:nvGrpSpPr>
          <p:grpSpPr>
            <a:xfrm>
              <a:off x="6240553" y="4687597"/>
              <a:ext cx="1750409" cy="1910363"/>
              <a:chOff x="6240553" y="4624815"/>
              <a:chExt cx="1750409" cy="1910363"/>
            </a:xfrm>
          </p:grpSpPr>
          <p:grpSp>
            <p:nvGrpSpPr>
              <p:cNvPr id="12" name="Group 11"/>
              <p:cNvGrpSpPr/>
              <p:nvPr/>
            </p:nvGrpSpPr>
            <p:grpSpPr>
              <a:xfrm>
                <a:off x="6240560" y="5639822"/>
                <a:ext cx="743823" cy="895355"/>
                <a:chOff x="6223988" y="4114800"/>
                <a:chExt cx="1373837" cy="1839948"/>
              </a:xfrm>
            </p:grpSpPr>
            <p:grpSp>
              <p:nvGrpSpPr>
                <p:cNvPr id="55" name="Group 54"/>
                <p:cNvGrpSpPr/>
                <p:nvPr/>
              </p:nvGrpSpPr>
              <p:grpSpPr>
                <a:xfrm>
                  <a:off x="6223988" y="4114800"/>
                  <a:ext cx="1373837" cy="1839948"/>
                  <a:chOff x="6223988" y="4114800"/>
                  <a:chExt cx="1373837" cy="1839948"/>
                </a:xfrm>
              </p:grpSpPr>
              <p:sp>
                <p:nvSpPr>
                  <p:cNvPr id="62" name="TextBox 61"/>
                  <p:cNvSpPr txBox="1"/>
                  <p:nvPr/>
                </p:nvSpPr>
                <p:spPr>
                  <a:xfrm>
                    <a:off x="6324009" y="5550254"/>
                    <a:ext cx="1173797" cy="404494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algn="ctr" defTabSz="914225">
                      <a:lnSpc>
                        <a:spcPct val="80000"/>
                      </a:lnSpc>
                      <a:spcBef>
                        <a:spcPct val="20000"/>
                      </a:spcBef>
                      <a:buSzPct val="80000"/>
                    </a:pPr>
                    <a:r>
                      <a:rPr lang="en-US" sz="1567" kern="0" dirty="0">
                        <a:gradFill>
                          <a:gsLst>
                            <a:gs pos="0">
                              <a:schemeClr val="tx1">
                                <a:lumMod val="95000"/>
                                <a:lumOff val="5000"/>
                              </a:schemeClr>
                            </a:gs>
                            <a:gs pos="100000">
                              <a:schemeClr val="tx1">
                                <a:lumMod val="95000"/>
                                <a:lumOff val="5000"/>
                              </a:schemeClr>
                            </a:gs>
                          </a:gsLst>
                          <a:lin ang="5400000" scaled="0"/>
                        </a:gradFill>
                      </a:rPr>
                      <a:t>Server</a:t>
                    </a:r>
                  </a:p>
                </p:txBody>
              </p:sp>
              <p:sp>
                <p:nvSpPr>
                  <p:cNvPr id="63" name="Round Same Side Corner Rectangle 15"/>
                  <p:cNvSpPr/>
                  <p:nvPr/>
                </p:nvSpPr>
                <p:spPr bwMode="auto">
                  <a:xfrm rot="5400000">
                    <a:off x="6223987" y="4114801"/>
                    <a:ext cx="1373839" cy="1373837"/>
                  </a:xfrm>
                  <a:prstGeom prst="round2SameRect">
                    <a:avLst>
                      <a:gd name="adj1" fmla="val 5548"/>
                      <a:gd name="adj2" fmla="val 0"/>
                    </a:avLst>
                  </a:prstGeom>
                  <a:solidFill>
                    <a:srgbClr val="00B0F0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vert="horz" wrap="square" lIns="89626" tIns="44812" rIns="89626" bIns="44812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defTabSz="895919"/>
                    <a:endParaRPr lang="en-US" sz="1567" kern="0" dirty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</a:endParaRPr>
                  </a:p>
                </p:txBody>
              </p:sp>
            </p:grpSp>
            <p:sp>
              <p:nvSpPr>
                <p:cNvPr id="56" name="Freeform 27"/>
                <p:cNvSpPr>
                  <a:spLocks noEditPoints="1"/>
                </p:cNvSpPr>
                <p:nvPr/>
              </p:nvSpPr>
              <p:spPr bwMode="auto">
                <a:xfrm>
                  <a:off x="6408488" y="4205136"/>
                  <a:ext cx="280437" cy="350764"/>
                </a:xfrm>
                <a:custGeom>
                  <a:avLst/>
                  <a:gdLst>
                    <a:gd name="T0" fmla="*/ 525 w 547"/>
                    <a:gd name="T1" fmla="*/ 188 h 684"/>
                    <a:gd name="T2" fmla="*/ 350 w 547"/>
                    <a:gd name="T3" fmla="*/ 22 h 684"/>
                    <a:gd name="T4" fmla="*/ 306 w 547"/>
                    <a:gd name="T5" fmla="*/ 0 h 684"/>
                    <a:gd name="T6" fmla="*/ 66 w 547"/>
                    <a:gd name="T7" fmla="*/ 0 h 684"/>
                    <a:gd name="T8" fmla="*/ 0 w 547"/>
                    <a:gd name="T9" fmla="*/ 55 h 684"/>
                    <a:gd name="T10" fmla="*/ 0 w 547"/>
                    <a:gd name="T11" fmla="*/ 618 h 684"/>
                    <a:gd name="T12" fmla="*/ 66 w 547"/>
                    <a:gd name="T13" fmla="*/ 684 h 684"/>
                    <a:gd name="T14" fmla="*/ 481 w 547"/>
                    <a:gd name="T15" fmla="*/ 684 h 684"/>
                    <a:gd name="T16" fmla="*/ 547 w 547"/>
                    <a:gd name="T17" fmla="*/ 618 h 684"/>
                    <a:gd name="T18" fmla="*/ 547 w 547"/>
                    <a:gd name="T19" fmla="*/ 232 h 684"/>
                    <a:gd name="T20" fmla="*/ 525 w 547"/>
                    <a:gd name="T21" fmla="*/ 188 h 684"/>
                    <a:gd name="T22" fmla="*/ 481 w 547"/>
                    <a:gd name="T23" fmla="*/ 618 h 684"/>
                    <a:gd name="T24" fmla="*/ 66 w 547"/>
                    <a:gd name="T25" fmla="*/ 618 h 684"/>
                    <a:gd name="T26" fmla="*/ 66 w 547"/>
                    <a:gd name="T27" fmla="*/ 55 h 684"/>
                    <a:gd name="T28" fmla="*/ 252 w 547"/>
                    <a:gd name="T29" fmla="*/ 55 h 684"/>
                    <a:gd name="T30" fmla="*/ 252 w 547"/>
                    <a:gd name="T31" fmla="*/ 232 h 684"/>
                    <a:gd name="T32" fmla="*/ 306 w 547"/>
                    <a:gd name="T33" fmla="*/ 298 h 684"/>
                    <a:gd name="T34" fmla="*/ 481 w 547"/>
                    <a:gd name="T35" fmla="*/ 298 h 684"/>
                    <a:gd name="T36" fmla="*/ 481 w 547"/>
                    <a:gd name="T37" fmla="*/ 618 h 684"/>
                    <a:gd name="T38" fmla="*/ 306 w 547"/>
                    <a:gd name="T39" fmla="*/ 232 h 684"/>
                    <a:gd name="T40" fmla="*/ 306 w 547"/>
                    <a:gd name="T41" fmla="*/ 55 h 684"/>
                    <a:gd name="T42" fmla="*/ 481 w 547"/>
                    <a:gd name="T43" fmla="*/ 232 h 684"/>
                    <a:gd name="T44" fmla="*/ 306 w 547"/>
                    <a:gd name="T45" fmla="*/ 232 h 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47" h="684">
                      <a:moveTo>
                        <a:pt x="525" y="188"/>
                      </a:moveTo>
                      <a:cubicBezTo>
                        <a:pt x="350" y="22"/>
                        <a:pt x="350" y="22"/>
                        <a:pt x="350" y="22"/>
                      </a:cubicBezTo>
                      <a:cubicBezTo>
                        <a:pt x="330" y="2"/>
                        <a:pt x="328" y="0"/>
                        <a:pt x="306" y="0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33" y="0"/>
                        <a:pt x="0" y="22"/>
                        <a:pt x="0" y="55"/>
                      </a:cubicBezTo>
                      <a:cubicBezTo>
                        <a:pt x="0" y="618"/>
                        <a:pt x="0" y="618"/>
                        <a:pt x="0" y="618"/>
                      </a:cubicBezTo>
                      <a:cubicBezTo>
                        <a:pt x="0" y="651"/>
                        <a:pt x="33" y="684"/>
                        <a:pt x="66" y="684"/>
                      </a:cubicBezTo>
                      <a:cubicBezTo>
                        <a:pt x="481" y="684"/>
                        <a:pt x="481" y="684"/>
                        <a:pt x="481" y="684"/>
                      </a:cubicBezTo>
                      <a:cubicBezTo>
                        <a:pt x="514" y="684"/>
                        <a:pt x="547" y="651"/>
                        <a:pt x="547" y="618"/>
                      </a:cubicBezTo>
                      <a:cubicBezTo>
                        <a:pt x="547" y="232"/>
                        <a:pt x="547" y="232"/>
                        <a:pt x="547" y="232"/>
                      </a:cubicBezTo>
                      <a:cubicBezTo>
                        <a:pt x="547" y="207"/>
                        <a:pt x="525" y="188"/>
                        <a:pt x="525" y="188"/>
                      </a:cubicBezTo>
                      <a:close/>
                      <a:moveTo>
                        <a:pt x="481" y="618"/>
                      </a:moveTo>
                      <a:cubicBezTo>
                        <a:pt x="66" y="618"/>
                        <a:pt x="66" y="618"/>
                        <a:pt x="66" y="618"/>
                      </a:cubicBezTo>
                      <a:cubicBezTo>
                        <a:pt x="66" y="55"/>
                        <a:pt x="66" y="55"/>
                        <a:pt x="66" y="55"/>
                      </a:cubicBezTo>
                      <a:cubicBezTo>
                        <a:pt x="252" y="55"/>
                        <a:pt x="252" y="55"/>
                        <a:pt x="252" y="55"/>
                      </a:cubicBezTo>
                      <a:cubicBezTo>
                        <a:pt x="252" y="232"/>
                        <a:pt x="252" y="232"/>
                        <a:pt x="252" y="232"/>
                      </a:cubicBezTo>
                      <a:cubicBezTo>
                        <a:pt x="252" y="265"/>
                        <a:pt x="273" y="298"/>
                        <a:pt x="306" y="298"/>
                      </a:cubicBezTo>
                      <a:cubicBezTo>
                        <a:pt x="481" y="298"/>
                        <a:pt x="481" y="298"/>
                        <a:pt x="481" y="298"/>
                      </a:cubicBezTo>
                      <a:lnTo>
                        <a:pt x="481" y="618"/>
                      </a:lnTo>
                      <a:close/>
                      <a:moveTo>
                        <a:pt x="306" y="232"/>
                      </a:moveTo>
                      <a:cubicBezTo>
                        <a:pt x="306" y="55"/>
                        <a:pt x="306" y="55"/>
                        <a:pt x="306" y="55"/>
                      </a:cubicBezTo>
                      <a:cubicBezTo>
                        <a:pt x="481" y="232"/>
                        <a:pt x="481" y="232"/>
                        <a:pt x="481" y="232"/>
                      </a:cubicBezTo>
                      <a:cubicBezTo>
                        <a:pt x="306" y="232"/>
                        <a:pt x="306" y="232"/>
                        <a:pt x="306" y="23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/>
                  <a:endParaRPr lang="en-US" sz="1567" ker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57" name="Freeform 27"/>
                <p:cNvSpPr>
                  <a:spLocks noEditPoints="1"/>
                </p:cNvSpPr>
                <p:nvPr/>
              </p:nvSpPr>
              <p:spPr bwMode="auto">
                <a:xfrm>
                  <a:off x="6408488" y="4631383"/>
                  <a:ext cx="280437" cy="350764"/>
                </a:xfrm>
                <a:custGeom>
                  <a:avLst/>
                  <a:gdLst>
                    <a:gd name="T0" fmla="*/ 525 w 547"/>
                    <a:gd name="T1" fmla="*/ 188 h 684"/>
                    <a:gd name="T2" fmla="*/ 350 w 547"/>
                    <a:gd name="T3" fmla="*/ 22 h 684"/>
                    <a:gd name="T4" fmla="*/ 306 w 547"/>
                    <a:gd name="T5" fmla="*/ 0 h 684"/>
                    <a:gd name="T6" fmla="*/ 66 w 547"/>
                    <a:gd name="T7" fmla="*/ 0 h 684"/>
                    <a:gd name="T8" fmla="*/ 0 w 547"/>
                    <a:gd name="T9" fmla="*/ 55 h 684"/>
                    <a:gd name="T10" fmla="*/ 0 w 547"/>
                    <a:gd name="T11" fmla="*/ 618 h 684"/>
                    <a:gd name="T12" fmla="*/ 66 w 547"/>
                    <a:gd name="T13" fmla="*/ 684 h 684"/>
                    <a:gd name="T14" fmla="*/ 481 w 547"/>
                    <a:gd name="T15" fmla="*/ 684 h 684"/>
                    <a:gd name="T16" fmla="*/ 547 w 547"/>
                    <a:gd name="T17" fmla="*/ 618 h 684"/>
                    <a:gd name="T18" fmla="*/ 547 w 547"/>
                    <a:gd name="T19" fmla="*/ 232 h 684"/>
                    <a:gd name="T20" fmla="*/ 525 w 547"/>
                    <a:gd name="T21" fmla="*/ 188 h 684"/>
                    <a:gd name="T22" fmla="*/ 481 w 547"/>
                    <a:gd name="T23" fmla="*/ 618 h 684"/>
                    <a:gd name="T24" fmla="*/ 66 w 547"/>
                    <a:gd name="T25" fmla="*/ 618 h 684"/>
                    <a:gd name="T26" fmla="*/ 66 w 547"/>
                    <a:gd name="T27" fmla="*/ 55 h 684"/>
                    <a:gd name="T28" fmla="*/ 252 w 547"/>
                    <a:gd name="T29" fmla="*/ 55 h 684"/>
                    <a:gd name="T30" fmla="*/ 252 w 547"/>
                    <a:gd name="T31" fmla="*/ 232 h 684"/>
                    <a:gd name="T32" fmla="*/ 306 w 547"/>
                    <a:gd name="T33" fmla="*/ 298 h 684"/>
                    <a:gd name="T34" fmla="*/ 481 w 547"/>
                    <a:gd name="T35" fmla="*/ 298 h 684"/>
                    <a:gd name="T36" fmla="*/ 481 w 547"/>
                    <a:gd name="T37" fmla="*/ 618 h 684"/>
                    <a:gd name="T38" fmla="*/ 306 w 547"/>
                    <a:gd name="T39" fmla="*/ 232 h 684"/>
                    <a:gd name="T40" fmla="*/ 306 w 547"/>
                    <a:gd name="T41" fmla="*/ 55 h 684"/>
                    <a:gd name="T42" fmla="*/ 481 w 547"/>
                    <a:gd name="T43" fmla="*/ 232 h 684"/>
                    <a:gd name="T44" fmla="*/ 306 w 547"/>
                    <a:gd name="T45" fmla="*/ 232 h 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47" h="684">
                      <a:moveTo>
                        <a:pt x="525" y="188"/>
                      </a:moveTo>
                      <a:cubicBezTo>
                        <a:pt x="350" y="22"/>
                        <a:pt x="350" y="22"/>
                        <a:pt x="350" y="22"/>
                      </a:cubicBezTo>
                      <a:cubicBezTo>
                        <a:pt x="330" y="2"/>
                        <a:pt x="328" y="0"/>
                        <a:pt x="306" y="0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33" y="0"/>
                        <a:pt x="0" y="22"/>
                        <a:pt x="0" y="55"/>
                      </a:cubicBezTo>
                      <a:cubicBezTo>
                        <a:pt x="0" y="618"/>
                        <a:pt x="0" y="618"/>
                        <a:pt x="0" y="618"/>
                      </a:cubicBezTo>
                      <a:cubicBezTo>
                        <a:pt x="0" y="651"/>
                        <a:pt x="33" y="684"/>
                        <a:pt x="66" y="684"/>
                      </a:cubicBezTo>
                      <a:cubicBezTo>
                        <a:pt x="481" y="684"/>
                        <a:pt x="481" y="684"/>
                        <a:pt x="481" y="684"/>
                      </a:cubicBezTo>
                      <a:cubicBezTo>
                        <a:pt x="514" y="684"/>
                        <a:pt x="547" y="651"/>
                        <a:pt x="547" y="618"/>
                      </a:cubicBezTo>
                      <a:cubicBezTo>
                        <a:pt x="547" y="232"/>
                        <a:pt x="547" y="232"/>
                        <a:pt x="547" y="232"/>
                      </a:cubicBezTo>
                      <a:cubicBezTo>
                        <a:pt x="547" y="207"/>
                        <a:pt x="525" y="188"/>
                        <a:pt x="525" y="188"/>
                      </a:cubicBezTo>
                      <a:close/>
                      <a:moveTo>
                        <a:pt x="481" y="618"/>
                      </a:moveTo>
                      <a:cubicBezTo>
                        <a:pt x="66" y="618"/>
                        <a:pt x="66" y="618"/>
                        <a:pt x="66" y="618"/>
                      </a:cubicBezTo>
                      <a:cubicBezTo>
                        <a:pt x="66" y="55"/>
                        <a:pt x="66" y="55"/>
                        <a:pt x="66" y="55"/>
                      </a:cubicBezTo>
                      <a:cubicBezTo>
                        <a:pt x="252" y="55"/>
                        <a:pt x="252" y="55"/>
                        <a:pt x="252" y="55"/>
                      </a:cubicBezTo>
                      <a:cubicBezTo>
                        <a:pt x="252" y="232"/>
                        <a:pt x="252" y="232"/>
                        <a:pt x="252" y="232"/>
                      </a:cubicBezTo>
                      <a:cubicBezTo>
                        <a:pt x="252" y="265"/>
                        <a:pt x="273" y="298"/>
                        <a:pt x="306" y="298"/>
                      </a:cubicBezTo>
                      <a:cubicBezTo>
                        <a:pt x="481" y="298"/>
                        <a:pt x="481" y="298"/>
                        <a:pt x="481" y="298"/>
                      </a:cubicBezTo>
                      <a:lnTo>
                        <a:pt x="481" y="618"/>
                      </a:lnTo>
                      <a:close/>
                      <a:moveTo>
                        <a:pt x="306" y="232"/>
                      </a:moveTo>
                      <a:cubicBezTo>
                        <a:pt x="306" y="55"/>
                        <a:pt x="306" y="55"/>
                        <a:pt x="306" y="55"/>
                      </a:cubicBezTo>
                      <a:cubicBezTo>
                        <a:pt x="481" y="232"/>
                        <a:pt x="481" y="232"/>
                        <a:pt x="481" y="232"/>
                      </a:cubicBezTo>
                      <a:cubicBezTo>
                        <a:pt x="306" y="232"/>
                        <a:pt x="306" y="232"/>
                        <a:pt x="306" y="23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/>
                  <a:endParaRPr lang="en-US" sz="1567" ker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58" name="Freeform 27"/>
                <p:cNvSpPr>
                  <a:spLocks noEditPoints="1"/>
                </p:cNvSpPr>
                <p:nvPr/>
              </p:nvSpPr>
              <p:spPr bwMode="auto">
                <a:xfrm>
                  <a:off x="6777703" y="4631383"/>
                  <a:ext cx="280437" cy="350764"/>
                </a:xfrm>
                <a:custGeom>
                  <a:avLst/>
                  <a:gdLst>
                    <a:gd name="T0" fmla="*/ 525 w 547"/>
                    <a:gd name="T1" fmla="*/ 188 h 684"/>
                    <a:gd name="T2" fmla="*/ 350 w 547"/>
                    <a:gd name="T3" fmla="*/ 22 h 684"/>
                    <a:gd name="T4" fmla="*/ 306 w 547"/>
                    <a:gd name="T5" fmla="*/ 0 h 684"/>
                    <a:gd name="T6" fmla="*/ 66 w 547"/>
                    <a:gd name="T7" fmla="*/ 0 h 684"/>
                    <a:gd name="T8" fmla="*/ 0 w 547"/>
                    <a:gd name="T9" fmla="*/ 55 h 684"/>
                    <a:gd name="T10" fmla="*/ 0 w 547"/>
                    <a:gd name="T11" fmla="*/ 618 h 684"/>
                    <a:gd name="T12" fmla="*/ 66 w 547"/>
                    <a:gd name="T13" fmla="*/ 684 h 684"/>
                    <a:gd name="T14" fmla="*/ 481 w 547"/>
                    <a:gd name="T15" fmla="*/ 684 h 684"/>
                    <a:gd name="T16" fmla="*/ 547 w 547"/>
                    <a:gd name="T17" fmla="*/ 618 h 684"/>
                    <a:gd name="T18" fmla="*/ 547 w 547"/>
                    <a:gd name="T19" fmla="*/ 232 h 684"/>
                    <a:gd name="T20" fmla="*/ 525 w 547"/>
                    <a:gd name="T21" fmla="*/ 188 h 684"/>
                    <a:gd name="T22" fmla="*/ 481 w 547"/>
                    <a:gd name="T23" fmla="*/ 618 h 684"/>
                    <a:gd name="T24" fmla="*/ 66 w 547"/>
                    <a:gd name="T25" fmla="*/ 618 h 684"/>
                    <a:gd name="T26" fmla="*/ 66 w 547"/>
                    <a:gd name="T27" fmla="*/ 55 h 684"/>
                    <a:gd name="T28" fmla="*/ 252 w 547"/>
                    <a:gd name="T29" fmla="*/ 55 h 684"/>
                    <a:gd name="T30" fmla="*/ 252 w 547"/>
                    <a:gd name="T31" fmla="*/ 232 h 684"/>
                    <a:gd name="T32" fmla="*/ 306 w 547"/>
                    <a:gd name="T33" fmla="*/ 298 h 684"/>
                    <a:gd name="T34" fmla="*/ 481 w 547"/>
                    <a:gd name="T35" fmla="*/ 298 h 684"/>
                    <a:gd name="T36" fmla="*/ 481 w 547"/>
                    <a:gd name="T37" fmla="*/ 618 h 684"/>
                    <a:gd name="T38" fmla="*/ 306 w 547"/>
                    <a:gd name="T39" fmla="*/ 232 h 684"/>
                    <a:gd name="T40" fmla="*/ 306 w 547"/>
                    <a:gd name="T41" fmla="*/ 55 h 684"/>
                    <a:gd name="T42" fmla="*/ 481 w 547"/>
                    <a:gd name="T43" fmla="*/ 232 h 684"/>
                    <a:gd name="T44" fmla="*/ 306 w 547"/>
                    <a:gd name="T45" fmla="*/ 232 h 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47" h="684">
                      <a:moveTo>
                        <a:pt x="525" y="188"/>
                      </a:moveTo>
                      <a:cubicBezTo>
                        <a:pt x="350" y="22"/>
                        <a:pt x="350" y="22"/>
                        <a:pt x="350" y="22"/>
                      </a:cubicBezTo>
                      <a:cubicBezTo>
                        <a:pt x="330" y="2"/>
                        <a:pt x="328" y="0"/>
                        <a:pt x="306" y="0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33" y="0"/>
                        <a:pt x="0" y="22"/>
                        <a:pt x="0" y="55"/>
                      </a:cubicBezTo>
                      <a:cubicBezTo>
                        <a:pt x="0" y="618"/>
                        <a:pt x="0" y="618"/>
                        <a:pt x="0" y="618"/>
                      </a:cubicBezTo>
                      <a:cubicBezTo>
                        <a:pt x="0" y="651"/>
                        <a:pt x="33" y="684"/>
                        <a:pt x="66" y="684"/>
                      </a:cubicBezTo>
                      <a:cubicBezTo>
                        <a:pt x="481" y="684"/>
                        <a:pt x="481" y="684"/>
                        <a:pt x="481" y="684"/>
                      </a:cubicBezTo>
                      <a:cubicBezTo>
                        <a:pt x="514" y="684"/>
                        <a:pt x="547" y="651"/>
                        <a:pt x="547" y="618"/>
                      </a:cubicBezTo>
                      <a:cubicBezTo>
                        <a:pt x="547" y="232"/>
                        <a:pt x="547" y="232"/>
                        <a:pt x="547" y="232"/>
                      </a:cubicBezTo>
                      <a:cubicBezTo>
                        <a:pt x="547" y="207"/>
                        <a:pt x="525" y="188"/>
                        <a:pt x="525" y="188"/>
                      </a:cubicBezTo>
                      <a:close/>
                      <a:moveTo>
                        <a:pt x="481" y="618"/>
                      </a:moveTo>
                      <a:cubicBezTo>
                        <a:pt x="66" y="618"/>
                        <a:pt x="66" y="618"/>
                        <a:pt x="66" y="618"/>
                      </a:cubicBezTo>
                      <a:cubicBezTo>
                        <a:pt x="66" y="55"/>
                        <a:pt x="66" y="55"/>
                        <a:pt x="66" y="55"/>
                      </a:cubicBezTo>
                      <a:cubicBezTo>
                        <a:pt x="252" y="55"/>
                        <a:pt x="252" y="55"/>
                        <a:pt x="252" y="55"/>
                      </a:cubicBezTo>
                      <a:cubicBezTo>
                        <a:pt x="252" y="232"/>
                        <a:pt x="252" y="232"/>
                        <a:pt x="252" y="232"/>
                      </a:cubicBezTo>
                      <a:cubicBezTo>
                        <a:pt x="252" y="265"/>
                        <a:pt x="273" y="298"/>
                        <a:pt x="306" y="298"/>
                      </a:cubicBezTo>
                      <a:cubicBezTo>
                        <a:pt x="481" y="298"/>
                        <a:pt x="481" y="298"/>
                        <a:pt x="481" y="298"/>
                      </a:cubicBezTo>
                      <a:lnTo>
                        <a:pt x="481" y="618"/>
                      </a:lnTo>
                      <a:close/>
                      <a:moveTo>
                        <a:pt x="306" y="232"/>
                      </a:moveTo>
                      <a:cubicBezTo>
                        <a:pt x="306" y="55"/>
                        <a:pt x="306" y="55"/>
                        <a:pt x="306" y="55"/>
                      </a:cubicBezTo>
                      <a:cubicBezTo>
                        <a:pt x="481" y="232"/>
                        <a:pt x="481" y="232"/>
                        <a:pt x="481" y="232"/>
                      </a:cubicBezTo>
                      <a:cubicBezTo>
                        <a:pt x="306" y="232"/>
                        <a:pt x="306" y="232"/>
                        <a:pt x="306" y="23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/>
                  <a:endParaRPr lang="en-US" sz="1567" ker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59" name="Freeform 27"/>
                <p:cNvSpPr>
                  <a:spLocks noEditPoints="1"/>
                </p:cNvSpPr>
                <p:nvPr/>
              </p:nvSpPr>
              <p:spPr bwMode="auto">
                <a:xfrm>
                  <a:off x="6408488" y="5057631"/>
                  <a:ext cx="280437" cy="350764"/>
                </a:xfrm>
                <a:custGeom>
                  <a:avLst/>
                  <a:gdLst>
                    <a:gd name="T0" fmla="*/ 525 w 547"/>
                    <a:gd name="T1" fmla="*/ 188 h 684"/>
                    <a:gd name="T2" fmla="*/ 350 w 547"/>
                    <a:gd name="T3" fmla="*/ 22 h 684"/>
                    <a:gd name="T4" fmla="*/ 306 w 547"/>
                    <a:gd name="T5" fmla="*/ 0 h 684"/>
                    <a:gd name="T6" fmla="*/ 66 w 547"/>
                    <a:gd name="T7" fmla="*/ 0 h 684"/>
                    <a:gd name="T8" fmla="*/ 0 w 547"/>
                    <a:gd name="T9" fmla="*/ 55 h 684"/>
                    <a:gd name="T10" fmla="*/ 0 w 547"/>
                    <a:gd name="T11" fmla="*/ 618 h 684"/>
                    <a:gd name="T12" fmla="*/ 66 w 547"/>
                    <a:gd name="T13" fmla="*/ 684 h 684"/>
                    <a:gd name="T14" fmla="*/ 481 w 547"/>
                    <a:gd name="T15" fmla="*/ 684 h 684"/>
                    <a:gd name="T16" fmla="*/ 547 w 547"/>
                    <a:gd name="T17" fmla="*/ 618 h 684"/>
                    <a:gd name="T18" fmla="*/ 547 w 547"/>
                    <a:gd name="T19" fmla="*/ 232 h 684"/>
                    <a:gd name="T20" fmla="*/ 525 w 547"/>
                    <a:gd name="T21" fmla="*/ 188 h 684"/>
                    <a:gd name="T22" fmla="*/ 481 w 547"/>
                    <a:gd name="T23" fmla="*/ 618 h 684"/>
                    <a:gd name="T24" fmla="*/ 66 w 547"/>
                    <a:gd name="T25" fmla="*/ 618 h 684"/>
                    <a:gd name="T26" fmla="*/ 66 w 547"/>
                    <a:gd name="T27" fmla="*/ 55 h 684"/>
                    <a:gd name="T28" fmla="*/ 252 w 547"/>
                    <a:gd name="T29" fmla="*/ 55 h 684"/>
                    <a:gd name="T30" fmla="*/ 252 w 547"/>
                    <a:gd name="T31" fmla="*/ 232 h 684"/>
                    <a:gd name="T32" fmla="*/ 306 w 547"/>
                    <a:gd name="T33" fmla="*/ 298 h 684"/>
                    <a:gd name="T34" fmla="*/ 481 w 547"/>
                    <a:gd name="T35" fmla="*/ 298 h 684"/>
                    <a:gd name="T36" fmla="*/ 481 w 547"/>
                    <a:gd name="T37" fmla="*/ 618 h 684"/>
                    <a:gd name="T38" fmla="*/ 306 w 547"/>
                    <a:gd name="T39" fmla="*/ 232 h 684"/>
                    <a:gd name="T40" fmla="*/ 306 w 547"/>
                    <a:gd name="T41" fmla="*/ 55 h 684"/>
                    <a:gd name="T42" fmla="*/ 481 w 547"/>
                    <a:gd name="T43" fmla="*/ 232 h 684"/>
                    <a:gd name="T44" fmla="*/ 306 w 547"/>
                    <a:gd name="T45" fmla="*/ 232 h 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47" h="684">
                      <a:moveTo>
                        <a:pt x="525" y="188"/>
                      </a:moveTo>
                      <a:cubicBezTo>
                        <a:pt x="350" y="22"/>
                        <a:pt x="350" y="22"/>
                        <a:pt x="350" y="22"/>
                      </a:cubicBezTo>
                      <a:cubicBezTo>
                        <a:pt x="330" y="2"/>
                        <a:pt x="328" y="0"/>
                        <a:pt x="306" y="0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33" y="0"/>
                        <a:pt x="0" y="22"/>
                        <a:pt x="0" y="55"/>
                      </a:cubicBezTo>
                      <a:cubicBezTo>
                        <a:pt x="0" y="618"/>
                        <a:pt x="0" y="618"/>
                        <a:pt x="0" y="618"/>
                      </a:cubicBezTo>
                      <a:cubicBezTo>
                        <a:pt x="0" y="651"/>
                        <a:pt x="33" y="684"/>
                        <a:pt x="66" y="684"/>
                      </a:cubicBezTo>
                      <a:cubicBezTo>
                        <a:pt x="481" y="684"/>
                        <a:pt x="481" y="684"/>
                        <a:pt x="481" y="684"/>
                      </a:cubicBezTo>
                      <a:cubicBezTo>
                        <a:pt x="514" y="684"/>
                        <a:pt x="547" y="651"/>
                        <a:pt x="547" y="618"/>
                      </a:cubicBezTo>
                      <a:cubicBezTo>
                        <a:pt x="547" y="232"/>
                        <a:pt x="547" y="232"/>
                        <a:pt x="547" y="232"/>
                      </a:cubicBezTo>
                      <a:cubicBezTo>
                        <a:pt x="547" y="207"/>
                        <a:pt x="525" y="188"/>
                        <a:pt x="525" y="188"/>
                      </a:cubicBezTo>
                      <a:close/>
                      <a:moveTo>
                        <a:pt x="481" y="618"/>
                      </a:moveTo>
                      <a:cubicBezTo>
                        <a:pt x="66" y="618"/>
                        <a:pt x="66" y="618"/>
                        <a:pt x="66" y="618"/>
                      </a:cubicBezTo>
                      <a:cubicBezTo>
                        <a:pt x="66" y="55"/>
                        <a:pt x="66" y="55"/>
                        <a:pt x="66" y="55"/>
                      </a:cubicBezTo>
                      <a:cubicBezTo>
                        <a:pt x="252" y="55"/>
                        <a:pt x="252" y="55"/>
                        <a:pt x="252" y="55"/>
                      </a:cubicBezTo>
                      <a:cubicBezTo>
                        <a:pt x="252" y="232"/>
                        <a:pt x="252" y="232"/>
                        <a:pt x="252" y="232"/>
                      </a:cubicBezTo>
                      <a:cubicBezTo>
                        <a:pt x="252" y="265"/>
                        <a:pt x="273" y="298"/>
                        <a:pt x="306" y="298"/>
                      </a:cubicBezTo>
                      <a:cubicBezTo>
                        <a:pt x="481" y="298"/>
                        <a:pt x="481" y="298"/>
                        <a:pt x="481" y="298"/>
                      </a:cubicBezTo>
                      <a:lnTo>
                        <a:pt x="481" y="618"/>
                      </a:lnTo>
                      <a:close/>
                      <a:moveTo>
                        <a:pt x="306" y="232"/>
                      </a:moveTo>
                      <a:cubicBezTo>
                        <a:pt x="306" y="55"/>
                        <a:pt x="306" y="55"/>
                        <a:pt x="306" y="55"/>
                      </a:cubicBezTo>
                      <a:cubicBezTo>
                        <a:pt x="481" y="232"/>
                        <a:pt x="481" y="232"/>
                        <a:pt x="481" y="232"/>
                      </a:cubicBezTo>
                      <a:cubicBezTo>
                        <a:pt x="306" y="232"/>
                        <a:pt x="306" y="232"/>
                        <a:pt x="306" y="23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/>
                  <a:endParaRPr lang="en-US" sz="1567" ker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60" name="Freeform 27"/>
                <p:cNvSpPr>
                  <a:spLocks noEditPoints="1"/>
                </p:cNvSpPr>
                <p:nvPr/>
              </p:nvSpPr>
              <p:spPr bwMode="auto">
                <a:xfrm>
                  <a:off x="6777703" y="5057631"/>
                  <a:ext cx="280437" cy="350764"/>
                </a:xfrm>
                <a:custGeom>
                  <a:avLst/>
                  <a:gdLst>
                    <a:gd name="T0" fmla="*/ 525 w 547"/>
                    <a:gd name="T1" fmla="*/ 188 h 684"/>
                    <a:gd name="T2" fmla="*/ 350 w 547"/>
                    <a:gd name="T3" fmla="*/ 22 h 684"/>
                    <a:gd name="T4" fmla="*/ 306 w 547"/>
                    <a:gd name="T5" fmla="*/ 0 h 684"/>
                    <a:gd name="T6" fmla="*/ 66 w 547"/>
                    <a:gd name="T7" fmla="*/ 0 h 684"/>
                    <a:gd name="T8" fmla="*/ 0 w 547"/>
                    <a:gd name="T9" fmla="*/ 55 h 684"/>
                    <a:gd name="T10" fmla="*/ 0 w 547"/>
                    <a:gd name="T11" fmla="*/ 618 h 684"/>
                    <a:gd name="T12" fmla="*/ 66 w 547"/>
                    <a:gd name="T13" fmla="*/ 684 h 684"/>
                    <a:gd name="T14" fmla="*/ 481 w 547"/>
                    <a:gd name="T15" fmla="*/ 684 h 684"/>
                    <a:gd name="T16" fmla="*/ 547 w 547"/>
                    <a:gd name="T17" fmla="*/ 618 h 684"/>
                    <a:gd name="T18" fmla="*/ 547 w 547"/>
                    <a:gd name="T19" fmla="*/ 232 h 684"/>
                    <a:gd name="T20" fmla="*/ 525 w 547"/>
                    <a:gd name="T21" fmla="*/ 188 h 684"/>
                    <a:gd name="T22" fmla="*/ 481 w 547"/>
                    <a:gd name="T23" fmla="*/ 618 h 684"/>
                    <a:gd name="T24" fmla="*/ 66 w 547"/>
                    <a:gd name="T25" fmla="*/ 618 h 684"/>
                    <a:gd name="T26" fmla="*/ 66 w 547"/>
                    <a:gd name="T27" fmla="*/ 55 h 684"/>
                    <a:gd name="T28" fmla="*/ 252 w 547"/>
                    <a:gd name="T29" fmla="*/ 55 h 684"/>
                    <a:gd name="T30" fmla="*/ 252 w 547"/>
                    <a:gd name="T31" fmla="*/ 232 h 684"/>
                    <a:gd name="T32" fmla="*/ 306 w 547"/>
                    <a:gd name="T33" fmla="*/ 298 h 684"/>
                    <a:gd name="T34" fmla="*/ 481 w 547"/>
                    <a:gd name="T35" fmla="*/ 298 h 684"/>
                    <a:gd name="T36" fmla="*/ 481 w 547"/>
                    <a:gd name="T37" fmla="*/ 618 h 684"/>
                    <a:gd name="T38" fmla="*/ 306 w 547"/>
                    <a:gd name="T39" fmla="*/ 232 h 684"/>
                    <a:gd name="T40" fmla="*/ 306 w 547"/>
                    <a:gd name="T41" fmla="*/ 55 h 684"/>
                    <a:gd name="T42" fmla="*/ 481 w 547"/>
                    <a:gd name="T43" fmla="*/ 232 h 684"/>
                    <a:gd name="T44" fmla="*/ 306 w 547"/>
                    <a:gd name="T45" fmla="*/ 232 h 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47" h="684">
                      <a:moveTo>
                        <a:pt x="525" y="188"/>
                      </a:moveTo>
                      <a:cubicBezTo>
                        <a:pt x="350" y="22"/>
                        <a:pt x="350" y="22"/>
                        <a:pt x="350" y="22"/>
                      </a:cubicBezTo>
                      <a:cubicBezTo>
                        <a:pt x="330" y="2"/>
                        <a:pt x="328" y="0"/>
                        <a:pt x="306" y="0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33" y="0"/>
                        <a:pt x="0" y="22"/>
                        <a:pt x="0" y="55"/>
                      </a:cubicBezTo>
                      <a:cubicBezTo>
                        <a:pt x="0" y="618"/>
                        <a:pt x="0" y="618"/>
                        <a:pt x="0" y="618"/>
                      </a:cubicBezTo>
                      <a:cubicBezTo>
                        <a:pt x="0" y="651"/>
                        <a:pt x="33" y="684"/>
                        <a:pt x="66" y="684"/>
                      </a:cubicBezTo>
                      <a:cubicBezTo>
                        <a:pt x="481" y="684"/>
                        <a:pt x="481" y="684"/>
                        <a:pt x="481" y="684"/>
                      </a:cubicBezTo>
                      <a:cubicBezTo>
                        <a:pt x="514" y="684"/>
                        <a:pt x="547" y="651"/>
                        <a:pt x="547" y="618"/>
                      </a:cubicBezTo>
                      <a:cubicBezTo>
                        <a:pt x="547" y="232"/>
                        <a:pt x="547" y="232"/>
                        <a:pt x="547" y="232"/>
                      </a:cubicBezTo>
                      <a:cubicBezTo>
                        <a:pt x="547" y="207"/>
                        <a:pt x="525" y="188"/>
                        <a:pt x="525" y="188"/>
                      </a:cubicBezTo>
                      <a:close/>
                      <a:moveTo>
                        <a:pt x="481" y="618"/>
                      </a:moveTo>
                      <a:cubicBezTo>
                        <a:pt x="66" y="618"/>
                        <a:pt x="66" y="618"/>
                        <a:pt x="66" y="618"/>
                      </a:cubicBezTo>
                      <a:cubicBezTo>
                        <a:pt x="66" y="55"/>
                        <a:pt x="66" y="55"/>
                        <a:pt x="66" y="55"/>
                      </a:cubicBezTo>
                      <a:cubicBezTo>
                        <a:pt x="252" y="55"/>
                        <a:pt x="252" y="55"/>
                        <a:pt x="252" y="55"/>
                      </a:cubicBezTo>
                      <a:cubicBezTo>
                        <a:pt x="252" y="232"/>
                        <a:pt x="252" y="232"/>
                        <a:pt x="252" y="232"/>
                      </a:cubicBezTo>
                      <a:cubicBezTo>
                        <a:pt x="252" y="265"/>
                        <a:pt x="273" y="298"/>
                        <a:pt x="306" y="298"/>
                      </a:cubicBezTo>
                      <a:cubicBezTo>
                        <a:pt x="481" y="298"/>
                        <a:pt x="481" y="298"/>
                        <a:pt x="481" y="298"/>
                      </a:cubicBezTo>
                      <a:lnTo>
                        <a:pt x="481" y="618"/>
                      </a:lnTo>
                      <a:close/>
                      <a:moveTo>
                        <a:pt x="306" y="232"/>
                      </a:moveTo>
                      <a:cubicBezTo>
                        <a:pt x="306" y="55"/>
                        <a:pt x="306" y="55"/>
                        <a:pt x="306" y="55"/>
                      </a:cubicBezTo>
                      <a:cubicBezTo>
                        <a:pt x="481" y="232"/>
                        <a:pt x="481" y="232"/>
                        <a:pt x="481" y="232"/>
                      </a:cubicBezTo>
                      <a:cubicBezTo>
                        <a:pt x="306" y="232"/>
                        <a:pt x="306" y="232"/>
                        <a:pt x="306" y="23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/>
                  <a:endParaRPr lang="en-US" sz="1567" ker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61" name="Freeform 27"/>
                <p:cNvSpPr>
                  <a:spLocks noEditPoints="1"/>
                </p:cNvSpPr>
                <p:nvPr/>
              </p:nvSpPr>
              <p:spPr bwMode="auto">
                <a:xfrm>
                  <a:off x="7146918" y="5057631"/>
                  <a:ext cx="280437" cy="350764"/>
                </a:xfrm>
                <a:custGeom>
                  <a:avLst/>
                  <a:gdLst>
                    <a:gd name="T0" fmla="*/ 525 w 547"/>
                    <a:gd name="T1" fmla="*/ 188 h 684"/>
                    <a:gd name="T2" fmla="*/ 350 w 547"/>
                    <a:gd name="T3" fmla="*/ 22 h 684"/>
                    <a:gd name="T4" fmla="*/ 306 w 547"/>
                    <a:gd name="T5" fmla="*/ 0 h 684"/>
                    <a:gd name="T6" fmla="*/ 66 w 547"/>
                    <a:gd name="T7" fmla="*/ 0 h 684"/>
                    <a:gd name="T8" fmla="*/ 0 w 547"/>
                    <a:gd name="T9" fmla="*/ 55 h 684"/>
                    <a:gd name="T10" fmla="*/ 0 w 547"/>
                    <a:gd name="T11" fmla="*/ 618 h 684"/>
                    <a:gd name="T12" fmla="*/ 66 w 547"/>
                    <a:gd name="T13" fmla="*/ 684 h 684"/>
                    <a:gd name="T14" fmla="*/ 481 w 547"/>
                    <a:gd name="T15" fmla="*/ 684 h 684"/>
                    <a:gd name="T16" fmla="*/ 547 w 547"/>
                    <a:gd name="T17" fmla="*/ 618 h 684"/>
                    <a:gd name="T18" fmla="*/ 547 w 547"/>
                    <a:gd name="T19" fmla="*/ 232 h 684"/>
                    <a:gd name="T20" fmla="*/ 525 w 547"/>
                    <a:gd name="T21" fmla="*/ 188 h 684"/>
                    <a:gd name="T22" fmla="*/ 481 w 547"/>
                    <a:gd name="T23" fmla="*/ 618 h 684"/>
                    <a:gd name="T24" fmla="*/ 66 w 547"/>
                    <a:gd name="T25" fmla="*/ 618 h 684"/>
                    <a:gd name="T26" fmla="*/ 66 w 547"/>
                    <a:gd name="T27" fmla="*/ 55 h 684"/>
                    <a:gd name="T28" fmla="*/ 252 w 547"/>
                    <a:gd name="T29" fmla="*/ 55 h 684"/>
                    <a:gd name="T30" fmla="*/ 252 w 547"/>
                    <a:gd name="T31" fmla="*/ 232 h 684"/>
                    <a:gd name="T32" fmla="*/ 306 w 547"/>
                    <a:gd name="T33" fmla="*/ 298 h 684"/>
                    <a:gd name="T34" fmla="*/ 481 w 547"/>
                    <a:gd name="T35" fmla="*/ 298 h 684"/>
                    <a:gd name="T36" fmla="*/ 481 w 547"/>
                    <a:gd name="T37" fmla="*/ 618 h 684"/>
                    <a:gd name="T38" fmla="*/ 306 w 547"/>
                    <a:gd name="T39" fmla="*/ 232 h 684"/>
                    <a:gd name="T40" fmla="*/ 306 w 547"/>
                    <a:gd name="T41" fmla="*/ 55 h 684"/>
                    <a:gd name="T42" fmla="*/ 481 w 547"/>
                    <a:gd name="T43" fmla="*/ 232 h 684"/>
                    <a:gd name="T44" fmla="*/ 306 w 547"/>
                    <a:gd name="T45" fmla="*/ 232 h 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47" h="684">
                      <a:moveTo>
                        <a:pt x="525" y="188"/>
                      </a:moveTo>
                      <a:cubicBezTo>
                        <a:pt x="350" y="22"/>
                        <a:pt x="350" y="22"/>
                        <a:pt x="350" y="22"/>
                      </a:cubicBezTo>
                      <a:cubicBezTo>
                        <a:pt x="330" y="2"/>
                        <a:pt x="328" y="0"/>
                        <a:pt x="306" y="0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33" y="0"/>
                        <a:pt x="0" y="22"/>
                        <a:pt x="0" y="55"/>
                      </a:cubicBezTo>
                      <a:cubicBezTo>
                        <a:pt x="0" y="618"/>
                        <a:pt x="0" y="618"/>
                        <a:pt x="0" y="618"/>
                      </a:cubicBezTo>
                      <a:cubicBezTo>
                        <a:pt x="0" y="651"/>
                        <a:pt x="33" y="684"/>
                        <a:pt x="66" y="684"/>
                      </a:cubicBezTo>
                      <a:cubicBezTo>
                        <a:pt x="481" y="684"/>
                        <a:pt x="481" y="684"/>
                        <a:pt x="481" y="684"/>
                      </a:cubicBezTo>
                      <a:cubicBezTo>
                        <a:pt x="514" y="684"/>
                        <a:pt x="547" y="651"/>
                        <a:pt x="547" y="618"/>
                      </a:cubicBezTo>
                      <a:cubicBezTo>
                        <a:pt x="547" y="232"/>
                        <a:pt x="547" y="232"/>
                        <a:pt x="547" y="232"/>
                      </a:cubicBezTo>
                      <a:cubicBezTo>
                        <a:pt x="547" y="207"/>
                        <a:pt x="525" y="188"/>
                        <a:pt x="525" y="188"/>
                      </a:cubicBezTo>
                      <a:close/>
                      <a:moveTo>
                        <a:pt x="481" y="618"/>
                      </a:moveTo>
                      <a:cubicBezTo>
                        <a:pt x="66" y="618"/>
                        <a:pt x="66" y="618"/>
                        <a:pt x="66" y="618"/>
                      </a:cubicBezTo>
                      <a:cubicBezTo>
                        <a:pt x="66" y="55"/>
                        <a:pt x="66" y="55"/>
                        <a:pt x="66" y="55"/>
                      </a:cubicBezTo>
                      <a:cubicBezTo>
                        <a:pt x="252" y="55"/>
                        <a:pt x="252" y="55"/>
                        <a:pt x="252" y="55"/>
                      </a:cubicBezTo>
                      <a:cubicBezTo>
                        <a:pt x="252" y="232"/>
                        <a:pt x="252" y="232"/>
                        <a:pt x="252" y="232"/>
                      </a:cubicBezTo>
                      <a:cubicBezTo>
                        <a:pt x="252" y="265"/>
                        <a:pt x="273" y="298"/>
                        <a:pt x="306" y="298"/>
                      </a:cubicBezTo>
                      <a:cubicBezTo>
                        <a:pt x="481" y="298"/>
                        <a:pt x="481" y="298"/>
                        <a:pt x="481" y="298"/>
                      </a:cubicBezTo>
                      <a:lnTo>
                        <a:pt x="481" y="618"/>
                      </a:lnTo>
                      <a:close/>
                      <a:moveTo>
                        <a:pt x="306" y="232"/>
                      </a:moveTo>
                      <a:cubicBezTo>
                        <a:pt x="306" y="55"/>
                        <a:pt x="306" y="55"/>
                        <a:pt x="306" y="55"/>
                      </a:cubicBezTo>
                      <a:cubicBezTo>
                        <a:pt x="481" y="232"/>
                        <a:pt x="481" y="232"/>
                        <a:pt x="481" y="232"/>
                      </a:cubicBezTo>
                      <a:cubicBezTo>
                        <a:pt x="306" y="232"/>
                        <a:pt x="306" y="232"/>
                        <a:pt x="306" y="23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/>
                  <a:endParaRPr lang="en-US" sz="1567" kern="0">
                    <a:solidFill>
                      <a:sysClr val="windowText" lastClr="000000"/>
                    </a:solidFill>
                  </a:endParaRPr>
                </a:p>
              </p:txBody>
            </p:sp>
          </p:grpSp>
          <p:grpSp>
            <p:nvGrpSpPr>
              <p:cNvPr id="13" name="Group 12"/>
              <p:cNvGrpSpPr/>
              <p:nvPr/>
            </p:nvGrpSpPr>
            <p:grpSpPr>
              <a:xfrm>
                <a:off x="7247139" y="4624815"/>
                <a:ext cx="743823" cy="895355"/>
                <a:chOff x="8083133" y="2028969"/>
                <a:chExt cx="1373837" cy="1839948"/>
              </a:xfrm>
            </p:grpSpPr>
            <p:grpSp>
              <p:nvGrpSpPr>
                <p:cNvPr id="44" name="Group 43"/>
                <p:cNvGrpSpPr/>
                <p:nvPr/>
              </p:nvGrpSpPr>
              <p:grpSpPr>
                <a:xfrm>
                  <a:off x="8083133" y="2028969"/>
                  <a:ext cx="1373837" cy="1839948"/>
                  <a:chOff x="8083133" y="2028969"/>
                  <a:chExt cx="1373837" cy="1839948"/>
                </a:xfrm>
              </p:grpSpPr>
              <p:sp>
                <p:nvSpPr>
                  <p:cNvPr id="51" name="TextBox 50"/>
                  <p:cNvSpPr txBox="1"/>
                  <p:nvPr/>
                </p:nvSpPr>
                <p:spPr>
                  <a:xfrm>
                    <a:off x="8209664" y="3464423"/>
                    <a:ext cx="1120775" cy="404494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algn="ctr" defTabSz="914225">
                      <a:lnSpc>
                        <a:spcPct val="80000"/>
                      </a:lnSpc>
                      <a:spcBef>
                        <a:spcPct val="20000"/>
                      </a:spcBef>
                      <a:buSzPct val="80000"/>
                    </a:pPr>
                    <a:r>
                      <a:rPr lang="en-US" sz="1567" kern="0" dirty="0">
                        <a:gradFill>
                          <a:gsLst>
                            <a:gs pos="0">
                              <a:schemeClr val="tx1">
                                <a:lumMod val="95000"/>
                                <a:lumOff val="5000"/>
                              </a:schemeClr>
                            </a:gs>
                            <a:gs pos="100000">
                              <a:schemeClr val="tx1">
                                <a:lumMod val="95000"/>
                                <a:lumOff val="5000"/>
                              </a:schemeClr>
                            </a:gs>
                          </a:gsLst>
                          <a:lin ang="5400000" scaled="0"/>
                        </a:gradFill>
                      </a:rPr>
                      <a:t>Server</a:t>
                    </a:r>
                  </a:p>
                </p:txBody>
              </p:sp>
              <p:sp>
                <p:nvSpPr>
                  <p:cNvPr id="52" name="Round Same Side Corner Rectangle 27"/>
                  <p:cNvSpPr/>
                  <p:nvPr/>
                </p:nvSpPr>
                <p:spPr bwMode="auto">
                  <a:xfrm rot="5400000">
                    <a:off x="8083132" y="2028970"/>
                    <a:ext cx="1373839" cy="1373837"/>
                  </a:xfrm>
                  <a:prstGeom prst="round2SameRect">
                    <a:avLst>
                      <a:gd name="adj1" fmla="val 5548"/>
                      <a:gd name="adj2" fmla="val 0"/>
                    </a:avLst>
                  </a:prstGeom>
                  <a:solidFill>
                    <a:srgbClr val="00B0F0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vert="horz" wrap="square" lIns="89626" tIns="44812" rIns="89626" bIns="44812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defTabSz="895919"/>
                    <a:endParaRPr lang="en-US" sz="1567" kern="0" dirty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</a:endParaRPr>
                  </a:p>
                </p:txBody>
              </p:sp>
            </p:grpSp>
            <p:sp>
              <p:nvSpPr>
                <p:cNvPr id="45" name="Freeform 27"/>
                <p:cNvSpPr>
                  <a:spLocks noEditPoints="1"/>
                </p:cNvSpPr>
                <p:nvPr/>
              </p:nvSpPr>
              <p:spPr bwMode="auto">
                <a:xfrm>
                  <a:off x="8267633" y="2119305"/>
                  <a:ext cx="280437" cy="350764"/>
                </a:xfrm>
                <a:custGeom>
                  <a:avLst/>
                  <a:gdLst>
                    <a:gd name="T0" fmla="*/ 525 w 547"/>
                    <a:gd name="T1" fmla="*/ 188 h 684"/>
                    <a:gd name="T2" fmla="*/ 350 w 547"/>
                    <a:gd name="T3" fmla="*/ 22 h 684"/>
                    <a:gd name="T4" fmla="*/ 306 w 547"/>
                    <a:gd name="T5" fmla="*/ 0 h 684"/>
                    <a:gd name="T6" fmla="*/ 66 w 547"/>
                    <a:gd name="T7" fmla="*/ 0 h 684"/>
                    <a:gd name="T8" fmla="*/ 0 w 547"/>
                    <a:gd name="T9" fmla="*/ 55 h 684"/>
                    <a:gd name="T10" fmla="*/ 0 w 547"/>
                    <a:gd name="T11" fmla="*/ 618 h 684"/>
                    <a:gd name="T12" fmla="*/ 66 w 547"/>
                    <a:gd name="T13" fmla="*/ 684 h 684"/>
                    <a:gd name="T14" fmla="*/ 481 w 547"/>
                    <a:gd name="T15" fmla="*/ 684 h 684"/>
                    <a:gd name="T16" fmla="*/ 547 w 547"/>
                    <a:gd name="T17" fmla="*/ 618 h 684"/>
                    <a:gd name="T18" fmla="*/ 547 w 547"/>
                    <a:gd name="T19" fmla="*/ 232 h 684"/>
                    <a:gd name="T20" fmla="*/ 525 w 547"/>
                    <a:gd name="T21" fmla="*/ 188 h 684"/>
                    <a:gd name="T22" fmla="*/ 481 w 547"/>
                    <a:gd name="T23" fmla="*/ 618 h 684"/>
                    <a:gd name="T24" fmla="*/ 66 w 547"/>
                    <a:gd name="T25" fmla="*/ 618 h 684"/>
                    <a:gd name="T26" fmla="*/ 66 w 547"/>
                    <a:gd name="T27" fmla="*/ 55 h 684"/>
                    <a:gd name="T28" fmla="*/ 252 w 547"/>
                    <a:gd name="T29" fmla="*/ 55 h 684"/>
                    <a:gd name="T30" fmla="*/ 252 w 547"/>
                    <a:gd name="T31" fmla="*/ 232 h 684"/>
                    <a:gd name="T32" fmla="*/ 306 w 547"/>
                    <a:gd name="T33" fmla="*/ 298 h 684"/>
                    <a:gd name="T34" fmla="*/ 481 w 547"/>
                    <a:gd name="T35" fmla="*/ 298 h 684"/>
                    <a:gd name="T36" fmla="*/ 481 w 547"/>
                    <a:gd name="T37" fmla="*/ 618 h 684"/>
                    <a:gd name="T38" fmla="*/ 306 w 547"/>
                    <a:gd name="T39" fmla="*/ 232 h 684"/>
                    <a:gd name="T40" fmla="*/ 306 w 547"/>
                    <a:gd name="T41" fmla="*/ 55 h 684"/>
                    <a:gd name="T42" fmla="*/ 481 w 547"/>
                    <a:gd name="T43" fmla="*/ 232 h 684"/>
                    <a:gd name="T44" fmla="*/ 306 w 547"/>
                    <a:gd name="T45" fmla="*/ 232 h 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47" h="684">
                      <a:moveTo>
                        <a:pt x="525" y="188"/>
                      </a:moveTo>
                      <a:cubicBezTo>
                        <a:pt x="350" y="22"/>
                        <a:pt x="350" y="22"/>
                        <a:pt x="350" y="22"/>
                      </a:cubicBezTo>
                      <a:cubicBezTo>
                        <a:pt x="330" y="2"/>
                        <a:pt x="328" y="0"/>
                        <a:pt x="306" y="0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33" y="0"/>
                        <a:pt x="0" y="22"/>
                        <a:pt x="0" y="55"/>
                      </a:cubicBezTo>
                      <a:cubicBezTo>
                        <a:pt x="0" y="618"/>
                        <a:pt x="0" y="618"/>
                        <a:pt x="0" y="618"/>
                      </a:cubicBezTo>
                      <a:cubicBezTo>
                        <a:pt x="0" y="651"/>
                        <a:pt x="33" y="684"/>
                        <a:pt x="66" y="684"/>
                      </a:cubicBezTo>
                      <a:cubicBezTo>
                        <a:pt x="481" y="684"/>
                        <a:pt x="481" y="684"/>
                        <a:pt x="481" y="684"/>
                      </a:cubicBezTo>
                      <a:cubicBezTo>
                        <a:pt x="514" y="684"/>
                        <a:pt x="547" y="651"/>
                        <a:pt x="547" y="618"/>
                      </a:cubicBezTo>
                      <a:cubicBezTo>
                        <a:pt x="547" y="232"/>
                        <a:pt x="547" y="232"/>
                        <a:pt x="547" y="232"/>
                      </a:cubicBezTo>
                      <a:cubicBezTo>
                        <a:pt x="547" y="207"/>
                        <a:pt x="525" y="188"/>
                        <a:pt x="525" y="188"/>
                      </a:cubicBezTo>
                      <a:close/>
                      <a:moveTo>
                        <a:pt x="481" y="618"/>
                      </a:moveTo>
                      <a:cubicBezTo>
                        <a:pt x="66" y="618"/>
                        <a:pt x="66" y="618"/>
                        <a:pt x="66" y="618"/>
                      </a:cubicBezTo>
                      <a:cubicBezTo>
                        <a:pt x="66" y="55"/>
                        <a:pt x="66" y="55"/>
                        <a:pt x="66" y="55"/>
                      </a:cubicBezTo>
                      <a:cubicBezTo>
                        <a:pt x="252" y="55"/>
                        <a:pt x="252" y="55"/>
                        <a:pt x="252" y="55"/>
                      </a:cubicBezTo>
                      <a:cubicBezTo>
                        <a:pt x="252" y="232"/>
                        <a:pt x="252" y="232"/>
                        <a:pt x="252" y="232"/>
                      </a:cubicBezTo>
                      <a:cubicBezTo>
                        <a:pt x="252" y="265"/>
                        <a:pt x="273" y="298"/>
                        <a:pt x="306" y="298"/>
                      </a:cubicBezTo>
                      <a:cubicBezTo>
                        <a:pt x="481" y="298"/>
                        <a:pt x="481" y="298"/>
                        <a:pt x="481" y="298"/>
                      </a:cubicBezTo>
                      <a:lnTo>
                        <a:pt x="481" y="618"/>
                      </a:lnTo>
                      <a:close/>
                      <a:moveTo>
                        <a:pt x="306" y="232"/>
                      </a:moveTo>
                      <a:cubicBezTo>
                        <a:pt x="306" y="55"/>
                        <a:pt x="306" y="55"/>
                        <a:pt x="306" y="55"/>
                      </a:cubicBezTo>
                      <a:cubicBezTo>
                        <a:pt x="481" y="232"/>
                        <a:pt x="481" y="232"/>
                        <a:pt x="481" y="232"/>
                      </a:cubicBezTo>
                      <a:cubicBezTo>
                        <a:pt x="306" y="232"/>
                        <a:pt x="306" y="232"/>
                        <a:pt x="306" y="23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/>
                  <a:endParaRPr lang="en-US" sz="1567" ker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46" name="Freeform 27"/>
                <p:cNvSpPr>
                  <a:spLocks noEditPoints="1"/>
                </p:cNvSpPr>
                <p:nvPr/>
              </p:nvSpPr>
              <p:spPr bwMode="auto">
                <a:xfrm>
                  <a:off x="8267633" y="2545552"/>
                  <a:ext cx="280437" cy="350764"/>
                </a:xfrm>
                <a:custGeom>
                  <a:avLst/>
                  <a:gdLst>
                    <a:gd name="T0" fmla="*/ 525 w 547"/>
                    <a:gd name="T1" fmla="*/ 188 h 684"/>
                    <a:gd name="T2" fmla="*/ 350 w 547"/>
                    <a:gd name="T3" fmla="*/ 22 h 684"/>
                    <a:gd name="T4" fmla="*/ 306 w 547"/>
                    <a:gd name="T5" fmla="*/ 0 h 684"/>
                    <a:gd name="T6" fmla="*/ 66 w 547"/>
                    <a:gd name="T7" fmla="*/ 0 h 684"/>
                    <a:gd name="T8" fmla="*/ 0 w 547"/>
                    <a:gd name="T9" fmla="*/ 55 h 684"/>
                    <a:gd name="T10" fmla="*/ 0 w 547"/>
                    <a:gd name="T11" fmla="*/ 618 h 684"/>
                    <a:gd name="T12" fmla="*/ 66 w 547"/>
                    <a:gd name="T13" fmla="*/ 684 h 684"/>
                    <a:gd name="T14" fmla="*/ 481 w 547"/>
                    <a:gd name="T15" fmla="*/ 684 h 684"/>
                    <a:gd name="T16" fmla="*/ 547 w 547"/>
                    <a:gd name="T17" fmla="*/ 618 h 684"/>
                    <a:gd name="T18" fmla="*/ 547 w 547"/>
                    <a:gd name="T19" fmla="*/ 232 h 684"/>
                    <a:gd name="T20" fmla="*/ 525 w 547"/>
                    <a:gd name="T21" fmla="*/ 188 h 684"/>
                    <a:gd name="T22" fmla="*/ 481 w 547"/>
                    <a:gd name="T23" fmla="*/ 618 h 684"/>
                    <a:gd name="T24" fmla="*/ 66 w 547"/>
                    <a:gd name="T25" fmla="*/ 618 h 684"/>
                    <a:gd name="T26" fmla="*/ 66 w 547"/>
                    <a:gd name="T27" fmla="*/ 55 h 684"/>
                    <a:gd name="T28" fmla="*/ 252 w 547"/>
                    <a:gd name="T29" fmla="*/ 55 h 684"/>
                    <a:gd name="T30" fmla="*/ 252 w 547"/>
                    <a:gd name="T31" fmla="*/ 232 h 684"/>
                    <a:gd name="T32" fmla="*/ 306 w 547"/>
                    <a:gd name="T33" fmla="*/ 298 h 684"/>
                    <a:gd name="T34" fmla="*/ 481 w 547"/>
                    <a:gd name="T35" fmla="*/ 298 h 684"/>
                    <a:gd name="T36" fmla="*/ 481 w 547"/>
                    <a:gd name="T37" fmla="*/ 618 h 684"/>
                    <a:gd name="T38" fmla="*/ 306 w 547"/>
                    <a:gd name="T39" fmla="*/ 232 h 684"/>
                    <a:gd name="T40" fmla="*/ 306 w 547"/>
                    <a:gd name="T41" fmla="*/ 55 h 684"/>
                    <a:gd name="T42" fmla="*/ 481 w 547"/>
                    <a:gd name="T43" fmla="*/ 232 h 684"/>
                    <a:gd name="T44" fmla="*/ 306 w 547"/>
                    <a:gd name="T45" fmla="*/ 232 h 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47" h="684">
                      <a:moveTo>
                        <a:pt x="525" y="188"/>
                      </a:moveTo>
                      <a:cubicBezTo>
                        <a:pt x="350" y="22"/>
                        <a:pt x="350" y="22"/>
                        <a:pt x="350" y="22"/>
                      </a:cubicBezTo>
                      <a:cubicBezTo>
                        <a:pt x="330" y="2"/>
                        <a:pt x="328" y="0"/>
                        <a:pt x="306" y="0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33" y="0"/>
                        <a:pt x="0" y="22"/>
                        <a:pt x="0" y="55"/>
                      </a:cubicBezTo>
                      <a:cubicBezTo>
                        <a:pt x="0" y="618"/>
                        <a:pt x="0" y="618"/>
                        <a:pt x="0" y="618"/>
                      </a:cubicBezTo>
                      <a:cubicBezTo>
                        <a:pt x="0" y="651"/>
                        <a:pt x="33" y="684"/>
                        <a:pt x="66" y="684"/>
                      </a:cubicBezTo>
                      <a:cubicBezTo>
                        <a:pt x="481" y="684"/>
                        <a:pt x="481" y="684"/>
                        <a:pt x="481" y="684"/>
                      </a:cubicBezTo>
                      <a:cubicBezTo>
                        <a:pt x="514" y="684"/>
                        <a:pt x="547" y="651"/>
                        <a:pt x="547" y="618"/>
                      </a:cubicBezTo>
                      <a:cubicBezTo>
                        <a:pt x="547" y="232"/>
                        <a:pt x="547" y="232"/>
                        <a:pt x="547" y="232"/>
                      </a:cubicBezTo>
                      <a:cubicBezTo>
                        <a:pt x="547" y="207"/>
                        <a:pt x="525" y="188"/>
                        <a:pt x="525" y="188"/>
                      </a:cubicBezTo>
                      <a:close/>
                      <a:moveTo>
                        <a:pt x="481" y="618"/>
                      </a:moveTo>
                      <a:cubicBezTo>
                        <a:pt x="66" y="618"/>
                        <a:pt x="66" y="618"/>
                        <a:pt x="66" y="618"/>
                      </a:cubicBezTo>
                      <a:cubicBezTo>
                        <a:pt x="66" y="55"/>
                        <a:pt x="66" y="55"/>
                        <a:pt x="66" y="55"/>
                      </a:cubicBezTo>
                      <a:cubicBezTo>
                        <a:pt x="252" y="55"/>
                        <a:pt x="252" y="55"/>
                        <a:pt x="252" y="55"/>
                      </a:cubicBezTo>
                      <a:cubicBezTo>
                        <a:pt x="252" y="232"/>
                        <a:pt x="252" y="232"/>
                        <a:pt x="252" y="232"/>
                      </a:cubicBezTo>
                      <a:cubicBezTo>
                        <a:pt x="252" y="265"/>
                        <a:pt x="273" y="298"/>
                        <a:pt x="306" y="298"/>
                      </a:cubicBezTo>
                      <a:cubicBezTo>
                        <a:pt x="481" y="298"/>
                        <a:pt x="481" y="298"/>
                        <a:pt x="481" y="298"/>
                      </a:cubicBezTo>
                      <a:lnTo>
                        <a:pt x="481" y="618"/>
                      </a:lnTo>
                      <a:close/>
                      <a:moveTo>
                        <a:pt x="306" y="232"/>
                      </a:moveTo>
                      <a:cubicBezTo>
                        <a:pt x="306" y="55"/>
                        <a:pt x="306" y="55"/>
                        <a:pt x="306" y="55"/>
                      </a:cubicBezTo>
                      <a:cubicBezTo>
                        <a:pt x="481" y="232"/>
                        <a:pt x="481" y="232"/>
                        <a:pt x="481" y="232"/>
                      </a:cubicBezTo>
                      <a:cubicBezTo>
                        <a:pt x="306" y="232"/>
                        <a:pt x="306" y="232"/>
                        <a:pt x="306" y="23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/>
                  <a:endParaRPr lang="en-US" sz="1567" ker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47" name="Freeform 27"/>
                <p:cNvSpPr>
                  <a:spLocks noEditPoints="1"/>
                </p:cNvSpPr>
                <p:nvPr/>
              </p:nvSpPr>
              <p:spPr bwMode="auto">
                <a:xfrm>
                  <a:off x="8636848" y="2545552"/>
                  <a:ext cx="280437" cy="350764"/>
                </a:xfrm>
                <a:custGeom>
                  <a:avLst/>
                  <a:gdLst>
                    <a:gd name="T0" fmla="*/ 525 w 547"/>
                    <a:gd name="T1" fmla="*/ 188 h 684"/>
                    <a:gd name="T2" fmla="*/ 350 w 547"/>
                    <a:gd name="T3" fmla="*/ 22 h 684"/>
                    <a:gd name="T4" fmla="*/ 306 w 547"/>
                    <a:gd name="T5" fmla="*/ 0 h 684"/>
                    <a:gd name="T6" fmla="*/ 66 w 547"/>
                    <a:gd name="T7" fmla="*/ 0 h 684"/>
                    <a:gd name="T8" fmla="*/ 0 w 547"/>
                    <a:gd name="T9" fmla="*/ 55 h 684"/>
                    <a:gd name="T10" fmla="*/ 0 w 547"/>
                    <a:gd name="T11" fmla="*/ 618 h 684"/>
                    <a:gd name="T12" fmla="*/ 66 w 547"/>
                    <a:gd name="T13" fmla="*/ 684 h 684"/>
                    <a:gd name="T14" fmla="*/ 481 w 547"/>
                    <a:gd name="T15" fmla="*/ 684 h 684"/>
                    <a:gd name="T16" fmla="*/ 547 w 547"/>
                    <a:gd name="T17" fmla="*/ 618 h 684"/>
                    <a:gd name="T18" fmla="*/ 547 w 547"/>
                    <a:gd name="T19" fmla="*/ 232 h 684"/>
                    <a:gd name="T20" fmla="*/ 525 w 547"/>
                    <a:gd name="T21" fmla="*/ 188 h 684"/>
                    <a:gd name="T22" fmla="*/ 481 w 547"/>
                    <a:gd name="T23" fmla="*/ 618 h 684"/>
                    <a:gd name="T24" fmla="*/ 66 w 547"/>
                    <a:gd name="T25" fmla="*/ 618 h 684"/>
                    <a:gd name="T26" fmla="*/ 66 w 547"/>
                    <a:gd name="T27" fmla="*/ 55 h 684"/>
                    <a:gd name="T28" fmla="*/ 252 w 547"/>
                    <a:gd name="T29" fmla="*/ 55 h 684"/>
                    <a:gd name="T30" fmla="*/ 252 w 547"/>
                    <a:gd name="T31" fmla="*/ 232 h 684"/>
                    <a:gd name="T32" fmla="*/ 306 w 547"/>
                    <a:gd name="T33" fmla="*/ 298 h 684"/>
                    <a:gd name="T34" fmla="*/ 481 w 547"/>
                    <a:gd name="T35" fmla="*/ 298 h 684"/>
                    <a:gd name="T36" fmla="*/ 481 w 547"/>
                    <a:gd name="T37" fmla="*/ 618 h 684"/>
                    <a:gd name="T38" fmla="*/ 306 w 547"/>
                    <a:gd name="T39" fmla="*/ 232 h 684"/>
                    <a:gd name="T40" fmla="*/ 306 w 547"/>
                    <a:gd name="T41" fmla="*/ 55 h 684"/>
                    <a:gd name="T42" fmla="*/ 481 w 547"/>
                    <a:gd name="T43" fmla="*/ 232 h 684"/>
                    <a:gd name="T44" fmla="*/ 306 w 547"/>
                    <a:gd name="T45" fmla="*/ 232 h 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47" h="684">
                      <a:moveTo>
                        <a:pt x="525" y="188"/>
                      </a:moveTo>
                      <a:cubicBezTo>
                        <a:pt x="350" y="22"/>
                        <a:pt x="350" y="22"/>
                        <a:pt x="350" y="22"/>
                      </a:cubicBezTo>
                      <a:cubicBezTo>
                        <a:pt x="330" y="2"/>
                        <a:pt x="328" y="0"/>
                        <a:pt x="306" y="0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33" y="0"/>
                        <a:pt x="0" y="22"/>
                        <a:pt x="0" y="55"/>
                      </a:cubicBezTo>
                      <a:cubicBezTo>
                        <a:pt x="0" y="618"/>
                        <a:pt x="0" y="618"/>
                        <a:pt x="0" y="618"/>
                      </a:cubicBezTo>
                      <a:cubicBezTo>
                        <a:pt x="0" y="651"/>
                        <a:pt x="33" y="684"/>
                        <a:pt x="66" y="684"/>
                      </a:cubicBezTo>
                      <a:cubicBezTo>
                        <a:pt x="481" y="684"/>
                        <a:pt x="481" y="684"/>
                        <a:pt x="481" y="684"/>
                      </a:cubicBezTo>
                      <a:cubicBezTo>
                        <a:pt x="514" y="684"/>
                        <a:pt x="547" y="651"/>
                        <a:pt x="547" y="618"/>
                      </a:cubicBezTo>
                      <a:cubicBezTo>
                        <a:pt x="547" y="232"/>
                        <a:pt x="547" y="232"/>
                        <a:pt x="547" y="232"/>
                      </a:cubicBezTo>
                      <a:cubicBezTo>
                        <a:pt x="547" y="207"/>
                        <a:pt x="525" y="188"/>
                        <a:pt x="525" y="188"/>
                      </a:cubicBezTo>
                      <a:close/>
                      <a:moveTo>
                        <a:pt x="481" y="618"/>
                      </a:moveTo>
                      <a:cubicBezTo>
                        <a:pt x="66" y="618"/>
                        <a:pt x="66" y="618"/>
                        <a:pt x="66" y="618"/>
                      </a:cubicBezTo>
                      <a:cubicBezTo>
                        <a:pt x="66" y="55"/>
                        <a:pt x="66" y="55"/>
                        <a:pt x="66" y="55"/>
                      </a:cubicBezTo>
                      <a:cubicBezTo>
                        <a:pt x="252" y="55"/>
                        <a:pt x="252" y="55"/>
                        <a:pt x="252" y="55"/>
                      </a:cubicBezTo>
                      <a:cubicBezTo>
                        <a:pt x="252" y="232"/>
                        <a:pt x="252" y="232"/>
                        <a:pt x="252" y="232"/>
                      </a:cubicBezTo>
                      <a:cubicBezTo>
                        <a:pt x="252" y="265"/>
                        <a:pt x="273" y="298"/>
                        <a:pt x="306" y="298"/>
                      </a:cubicBezTo>
                      <a:cubicBezTo>
                        <a:pt x="481" y="298"/>
                        <a:pt x="481" y="298"/>
                        <a:pt x="481" y="298"/>
                      </a:cubicBezTo>
                      <a:lnTo>
                        <a:pt x="481" y="618"/>
                      </a:lnTo>
                      <a:close/>
                      <a:moveTo>
                        <a:pt x="306" y="232"/>
                      </a:moveTo>
                      <a:cubicBezTo>
                        <a:pt x="306" y="55"/>
                        <a:pt x="306" y="55"/>
                        <a:pt x="306" y="55"/>
                      </a:cubicBezTo>
                      <a:cubicBezTo>
                        <a:pt x="481" y="232"/>
                        <a:pt x="481" y="232"/>
                        <a:pt x="481" y="232"/>
                      </a:cubicBezTo>
                      <a:cubicBezTo>
                        <a:pt x="306" y="232"/>
                        <a:pt x="306" y="232"/>
                        <a:pt x="306" y="23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/>
                  <a:endParaRPr lang="en-US" sz="1567" ker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48" name="Freeform 27"/>
                <p:cNvSpPr>
                  <a:spLocks noEditPoints="1"/>
                </p:cNvSpPr>
                <p:nvPr/>
              </p:nvSpPr>
              <p:spPr bwMode="auto">
                <a:xfrm>
                  <a:off x="8267633" y="2971800"/>
                  <a:ext cx="280437" cy="350764"/>
                </a:xfrm>
                <a:custGeom>
                  <a:avLst/>
                  <a:gdLst>
                    <a:gd name="T0" fmla="*/ 525 w 547"/>
                    <a:gd name="T1" fmla="*/ 188 h 684"/>
                    <a:gd name="T2" fmla="*/ 350 w 547"/>
                    <a:gd name="T3" fmla="*/ 22 h 684"/>
                    <a:gd name="T4" fmla="*/ 306 w 547"/>
                    <a:gd name="T5" fmla="*/ 0 h 684"/>
                    <a:gd name="T6" fmla="*/ 66 w 547"/>
                    <a:gd name="T7" fmla="*/ 0 h 684"/>
                    <a:gd name="T8" fmla="*/ 0 w 547"/>
                    <a:gd name="T9" fmla="*/ 55 h 684"/>
                    <a:gd name="T10" fmla="*/ 0 w 547"/>
                    <a:gd name="T11" fmla="*/ 618 h 684"/>
                    <a:gd name="T12" fmla="*/ 66 w 547"/>
                    <a:gd name="T13" fmla="*/ 684 h 684"/>
                    <a:gd name="T14" fmla="*/ 481 w 547"/>
                    <a:gd name="T15" fmla="*/ 684 h 684"/>
                    <a:gd name="T16" fmla="*/ 547 w 547"/>
                    <a:gd name="T17" fmla="*/ 618 h 684"/>
                    <a:gd name="T18" fmla="*/ 547 w 547"/>
                    <a:gd name="T19" fmla="*/ 232 h 684"/>
                    <a:gd name="T20" fmla="*/ 525 w 547"/>
                    <a:gd name="T21" fmla="*/ 188 h 684"/>
                    <a:gd name="T22" fmla="*/ 481 w 547"/>
                    <a:gd name="T23" fmla="*/ 618 h 684"/>
                    <a:gd name="T24" fmla="*/ 66 w 547"/>
                    <a:gd name="T25" fmla="*/ 618 h 684"/>
                    <a:gd name="T26" fmla="*/ 66 w 547"/>
                    <a:gd name="T27" fmla="*/ 55 h 684"/>
                    <a:gd name="T28" fmla="*/ 252 w 547"/>
                    <a:gd name="T29" fmla="*/ 55 h 684"/>
                    <a:gd name="T30" fmla="*/ 252 w 547"/>
                    <a:gd name="T31" fmla="*/ 232 h 684"/>
                    <a:gd name="T32" fmla="*/ 306 w 547"/>
                    <a:gd name="T33" fmla="*/ 298 h 684"/>
                    <a:gd name="T34" fmla="*/ 481 w 547"/>
                    <a:gd name="T35" fmla="*/ 298 h 684"/>
                    <a:gd name="T36" fmla="*/ 481 w 547"/>
                    <a:gd name="T37" fmla="*/ 618 h 684"/>
                    <a:gd name="T38" fmla="*/ 306 w 547"/>
                    <a:gd name="T39" fmla="*/ 232 h 684"/>
                    <a:gd name="T40" fmla="*/ 306 w 547"/>
                    <a:gd name="T41" fmla="*/ 55 h 684"/>
                    <a:gd name="T42" fmla="*/ 481 w 547"/>
                    <a:gd name="T43" fmla="*/ 232 h 684"/>
                    <a:gd name="T44" fmla="*/ 306 w 547"/>
                    <a:gd name="T45" fmla="*/ 232 h 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47" h="684">
                      <a:moveTo>
                        <a:pt x="525" y="188"/>
                      </a:moveTo>
                      <a:cubicBezTo>
                        <a:pt x="350" y="22"/>
                        <a:pt x="350" y="22"/>
                        <a:pt x="350" y="22"/>
                      </a:cubicBezTo>
                      <a:cubicBezTo>
                        <a:pt x="330" y="2"/>
                        <a:pt x="328" y="0"/>
                        <a:pt x="306" y="0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33" y="0"/>
                        <a:pt x="0" y="22"/>
                        <a:pt x="0" y="55"/>
                      </a:cubicBezTo>
                      <a:cubicBezTo>
                        <a:pt x="0" y="618"/>
                        <a:pt x="0" y="618"/>
                        <a:pt x="0" y="618"/>
                      </a:cubicBezTo>
                      <a:cubicBezTo>
                        <a:pt x="0" y="651"/>
                        <a:pt x="33" y="684"/>
                        <a:pt x="66" y="684"/>
                      </a:cubicBezTo>
                      <a:cubicBezTo>
                        <a:pt x="481" y="684"/>
                        <a:pt x="481" y="684"/>
                        <a:pt x="481" y="684"/>
                      </a:cubicBezTo>
                      <a:cubicBezTo>
                        <a:pt x="514" y="684"/>
                        <a:pt x="547" y="651"/>
                        <a:pt x="547" y="618"/>
                      </a:cubicBezTo>
                      <a:cubicBezTo>
                        <a:pt x="547" y="232"/>
                        <a:pt x="547" y="232"/>
                        <a:pt x="547" y="232"/>
                      </a:cubicBezTo>
                      <a:cubicBezTo>
                        <a:pt x="547" y="207"/>
                        <a:pt x="525" y="188"/>
                        <a:pt x="525" y="188"/>
                      </a:cubicBezTo>
                      <a:close/>
                      <a:moveTo>
                        <a:pt x="481" y="618"/>
                      </a:moveTo>
                      <a:cubicBezTo>
                        <a:pt x="66" y="618"/>
                        <a:pt x="66" y="618"/>
                        <a:pt x="66" y="618"/>
                      </a:cubicBezTo>
                      <a:cubicBezTo>
                        <a:pt x="66" y="55"/>
                        <a:pt x="66" y="55"/>
                        <a:pt x="66" y="55"/>
                      </a:cubicBezTo>
                      <a:cubicBezTo>
                        <a:pt x="252" y="55"/>
                        <a:pt x="252" y="55"/>
                        <a:pt x="252" y="55"/>
                      </a:cubicBezTo>
                      <a:cubicBezTo>
                        <a:pt x="252" y="232"/>
                        <a:pt x="252" y="232"/>
                        <a:pt x="252" y="232"/>
                      </a:cubicBezTo>
                      <a:cubicBezTo>
                        <a:pt x="252" y="265"/>
                        <a:pt x="273" y="298"/>
                        <a:pt x="306" y="298"/>
                      </a:cubicBezTo>
                      <a:cubicBezTo>
                        <a:pt x="481" y="298"/>
                        <a:pt x="481" y="298"/>
                        <a:pt x="481" y="298"/>
                      </a:cubicBezTo>
                      <a:lnTo>
                        <a:pt x="481" y="618"/>
                      </a:lnTo>
                      <a:close/>
                      <a:moveTo>
                        <a:pt x="306" y="232"/>
                      </a:moveTo>
                      <a:cubicBezTo>
                        <a:pt x="306" y="55"/>
                        <a:pt x="306" y="55"/>
                        <a:pt x="306" y="55"/>
                      </a:cubicBezTo>
                      <a:cubicBezTo>
                        <a:pt x="481" y="232"/>
                        <a:pt x="481" y="232"/>
                        <a:pt x="481" y="232"/>
                      </a:cubicBezTo>
                      <a:cubicBezTo>
                        <a:pt x="306" y="232"/>
                        <a:pt x="306" y="232"/>
                        <a:pt x="306" y="23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/>
                  <a:endParaRPr lang="en-US" sz="1567" ker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49" name="Freeform 27"/>
                <p:cNvSpPr>
                  <a:spLocks noEditPoints="1"/>
                </p:cNvSpPr>
                <p:nvPr/>
              </p:nvSpPr>
              <p:spPr bwMode="auto">
                <a:xfrm>
                  <a:off x="8636848" y="2971800"/>
                  <a:ext cx="280437" cy="350764"/>
                </a:xfrm>
                <a:custGeom>
                  <a:avLst/>
                  <a:gdLst>
                    <a:gd name="T0" fmla="*/ 525 w 547"/>
                    <a:gd name="T1" fmla="*/ 188 h 684"/>
                    <a:gd name="T2" fmla="*/ 350 w 547"/>
                    <a:gd name="T3" fmla="*/ 22 h 684"/>
                    <a:gd name="T4" fmla="*/ 306 w 547"/>
                    <a:gd name="T5" fmla="*/ 0 h 684"/>
                    <a:gd name="T6" fmla="*/ 66 w 547"/>
                    <a:gd name="T7" fmla="*/ 0 h 684"/>
                    <a:gd name="T8" fmla="*/ 0 w 547"/>
                    <a:gd name="T9" fmla="*/ 55 h 684"/>
                    <a:gd name="T10" fmla="*/ 0 w 547"/>
                    <a:gd name="T11" fmla="*/ 618 h 684"/>
                    <a:gd name="T12" fmla="*/ 66 w 547"/>
                    <a:gd name="T13" fmla="*/ 684 h 684"/>
                    <a:gd name="T14" fmla="*/ 481 w 547"/>
                    <a:gd name="T15" fmla="*/ 684 h 684"/>
                    <a:gd name="T16" fmla="*/ 547 w 547"/>
                    <a:gd name="T17" fmla="*/ 618 h 684"/>
                    <a:gd name="T18" fmla="*/ 547 w 547"/>
                    <a:gd name="T19" fmla="*/ 232 h 684"/>
                    <a:gd name="T20" fmla="*/ 525 w 547"/>
                    <a:gd name="T21" fmla="*/ 188 h 684"/>
                    <a:gd name="T22" fmla="*/ 481 w 547"/>
                    <a:gd name="T23" fmla="*/ 618 h 684"/>
                    <a:gd name="T24" fmla="*/ 66 w 547"/>
                    <a:gd name="T25" fmla="*/ 618 h 684"/>
                    <a:gd name="T26" fmla="*/ 66 w 547"/>
                    <a:gd name="T27" fmla="*/ 55 h 684"/>
                    <a:gd name="T28" fmla="*/ 252 w 547"/>
                    <a:gd name="T29" fmla="*/ 55 h 684"/>
                    <a:gd name="T30" fmla="*/ 252 w 547"/>
                    <a:gd name="T31" fmla="*/ 232 h 684"/>
                    <a:gd name="T32" fmla="*/ 306 w 547"/>
                    <a:gd name="T33" fmla="*/ 298 h 684"/>
                    <a:gd name="T34" fmla="*/ 481 w 547"/>
                    <a:gd name="T35" fmla="*/ 298 h 684"/>
                    <a:gd name="T36" fmla="*/ 481 w 547"/>
                    <a:gd name="T37" fmla="*/ 618 h 684"/>
                    <a:gd name="T38" fmla="*/ 306 w 547"/>
                    <a:gd name="T39" fmla="*/ 232 h 684"/>
                    <a:gd name="T40" fmla="*/ 306 w 547"/>
                    <a:gd name="T41" fmla="*/ 55 h 684"/>
                    <a:gd name="T42" fmla="*/ 481 w 547"/>
                    <a:gd name="T43" fmla="*/ 232 h 684"/>
                    <a:gd name="T44" fmla="*/ 306 w 547"/>
                    <a:gd name="T45" fmla="*/ 232 h 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47" h="684">
                      <a:moveTo>
                        <a:pt x="525" y="188"/>
                      </a:moveTo>
                      <a:cubicBezTo>
                        <a:pt x="350" y="22"/>
                        <a:pt x="350" y="22"/>
                        <a:pt x="350" y="22"/>
                      </a:cubicBezTo>
                      <a:cubicBezTo>
                        <a:pt x="330" y="2"/>
                        <a:pt x="328" y="0"/>
                        <a:pt x="306" y="0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33" y="0"/>
                        <a:pt x="0" y="22"/>
                        <a:pt x="0" y="55"/>
                      </a:cubicBezTo>
                      <a:cubicBezTo>
                        <a:pt x="0" y="618"/>
                        <a:pt x="0" y="618"/>
                        <a:pt x="0" y="618"/>
                      </a:cubicBezTo>
                      <a:cubicBezTo>
                        <a:pt x="0" y="651"/>
                        <a:pt x="33" y="684"/>
                        <a:pt x="66" y="684"/>
                      </a:cubicBezTo>
                      <a:cubicBezTo>
                        <a:pt x="481" y="684"/>
                        <a:pt x="481" y="684"/>
                        <a:pt x="481" y="684"/>
                      </a:cubicBezTo>
                      <a:cubicBezTo>
                        <a:pt x="514" y="684"/>
                        <a:pt x="547" y="651"/>
                        <a:pt x="547" y="618"/>
                      </a:cubicBezTo>
                      <a:cubicBezTo>
                        <a:pt x="547" y="232"/>
                        <a:pt x="547" y="232"/>
                        <a:pt x="547" y="232"/>
                      </a:cubicBezTo>
                      <a:cubicBezTo>
                        <a:pt x="547" y="207"/>
                        <a:pt x="525" y="188"/>
                        <a:pt x="525" y="188"/>
                      </a:cubicBezTo>
                      <a:close/>
                      <a:moveTo>
                        <a:pt x="481" y="618"/>
                      </a:moveTo>
                      <a:cubicBezTo>
                        <a:pt x="66" y="618"/>
                        <a:pt x="66" y="618"/>
                        <a:pt x="66" y="618"/>
                      </a:cubicBezTo>
                      <a:cubicBezTo>
                        <a:pt x="66" y="55"/>
                        <a:pt x="66" y="55"/>
                        <a:pt x="66" y="55"/>
                      </a:cubicBezTo>
                      <a:cubicBezTo>
                        <a:pt x="252" y="55"/>
                        <a:pt x="252" y="55"/>
                        <a:pt x="252" y="55"/>
                      </a:cubicBezTo>
                      <a:cubicBezTo>
                        <a:pt x="252" y="232"/>
                        <a:pt x="252" y="232"/>
                        <a:pt x="252" y="232"/>
                      </a:cubicBezTo>
                      <a:cubicBezTo>
                        <a:pt x="252" y="265"/>
                        <a:pt x="273" y="298"/>
                        <a:pt x="306" y="298"/>
                      </a:cubicBezTo>
                      <a:cubicBezTo>
                        <a:pt x="481" y="298"/>
                        <a:pt x="481" y="298"/>
                        <a:pt x="481" y="298"/>
                      </a:cubicBezTo>
                      <a:lnTo>
                        <a:pt x="481" y="618"/>
                      </a:lnTo>
                      <a:close/>
                      <a:moveTo>
                        <a:pt x="306" y="232"/>
                      </a:moveTo>
                      <a:cubicBezTo>
                        <a:pt x="306" y="55"/>
                        <a:pt x="306" y="55"/>
                        <a:pt x="306" y="55"/>
                      </a:cubicBezTo>
                      <a:cubicBezTo>
                        <a:pt x="481" y="232"/>
                        <a:pt x="481" y="232"/>
                        <a:pt x="481" y="232"/>
                      </a:cubicBezTo>
                      <a:cubicBezTo>
                        <a:pt x="306" y="232"/>
                        <a:pt x="306" y="232"/>
                        <a:pt x="306" y="23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/>
                  <a:endParaRPr lang="en-US" sz="1567" ker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50" name="Freeform 27"/>
                <p:cNvSpPr>
                  <a:spLocks noEditPoints="1"/>
                </p:cNvSpPr>
                <p:nvPr/>
              </p:nvSpPr>
              <p:spPr bwMode="auto">
                <a:xfrm>
                  <a:off x="9006063" y="2971800"/>
                  <a:ext cx="280437" cy="350764"/>
                </a:xfrm>
                <a:custGeom>
                  <a:avLst/>
                  <a:gdLst>
                    <a:gd name="T0" fmla="*/ 525 w 547"/>
                    <a:gd name="T1" fmla="*/ 188 h 684"/>
                    <a:gd name="T2" fmla="*/ 350 w 547"/>
                    <a:gd name="T3" fmla="*/ 22 h 684"/>
                    <a:gd name="T4" fmla="*/ 306 w 547"/>
                    <a:gd name="T5" fmla="*/ 0 h 684"/>
                    <a:gd name="T6" fmla="*/ 66 w 547"/>
                    <a:gd name="T7" fmla="*/ 0 h 684"/>
                    <a:gd name="T8" fmla="*/ 0 w 547"/>
                    <a:gd name="T9" fmla="*/ 55 h 684"/>
                    <a:gd name="T10" fmla="*/ 0 w 547"/>
                    <a:gd name="T11" fmla="*/ 618 h 684"/>
                    <a:gd name="T12" fmla="*/ 66 w 547"/>
                    <a:gd name="T13" fmla="*/ 684 h 684"/>
                    <a:gd name="T14" fmla="*/ 481 w 547"/>
                    <a:gd name="T15" fmla="*/ 684 h 684"/>
                    <a:gd name="T16" fmla="*/ 547 w 547"/>
                    <a:gd name="T17" fmla="*/ 618 h 684"/>
                    <a:gd name="T18" fmla="*/ 547 w 547"/>
                    <a:gd name="T19" fmla="*/ 232 h 684"/>
                    <a:gd name="T20" fmla="*/ 525 w 547"/>
                    <a:gd name="T21" fmla="*/ 188 h 684"/>
                    <a:gd name="T22" fmla="*/ 481 w 547"/>
                    <a:gd name="T23" fmla="*/ 618 h 684"/>
                    <a:gd name="T24" fmla="*/ 66 w 547"/>
                    <a:gd name="T25" fmla="*/ 618 h 684"/>
                    <a:gd name="T26" fmla="*/ 66 w 547"/>
                    <a:gd name="T27" fmla="*/ 55 h 684"/>
                    <a:gd name="T28" fmla="*/ 252 w 547"/>
                    <a:gd name="T29" fmla="*/ 55 h 684"/>
                    <a:gd name="T30" fmla="*/ 252 w 547"/>
                    <a:gd name="T31" fmla="*/ 232 h 684"/>
                    <a:gd name="T32" fmla="*/ 306 w 547"/>
                    <a:gd name="T33" fmla="*/ 298 h 684"/>
                    <a:gd name="T34" fmla="*/ 481 w 547"/>
                    <a:gd name="T35" fmla="*/ 298 h 684"/>
                    <a:gd name="T36" fmla="*/ 481 w 547"/>
                    <a:gd name="T37" fmla="*/ 618 h 684"/>
                    <a:gd name="T38" fmla="*/ 306 w 547"/>
                    <a:gd name="T39" fmla="*/ 232 h 684"/>
                    <a:gd name="T40" fmla="*/ 306 w 547"/>
                    <a:gd name="T41" fmla="*/ 55 h 684"/>
                    <a:gd name="T42" fmla="*/ 481 w 547"/>
                    <a:gd name="T43" fmla="*/ 232 h 684"/>
                    <a:gd name="T44" fmla="*/ 306 w 547"/>
                    <a:gd name="T45" fmla="*/ 232 h 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47" h="684">
                      <a:moveTo>
                        <a:pt x="525" y="188"/>
                      </a:moveTo>
                      <a:cubicBezTo>
                        <a:pt x="350" y="22"/>
                        <a:pt x="350" y="22"/>
                        <a:pt x="350" y="22"/>
                      </a:cubicBezTo>
                      <a:cubicBezTo>
                        <a:pt x="330" y="2"/>
                        <a:pt x="328" y="0"/>
                        <a:pt x="306" y="0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33" y="0"/>
                        <a:pt x="0" y="22"/>
                        <a:pt x="0" y="55"/>
                      </a:cubicBezTo>
                      <a:cubicBezTo>
                        <a:pt x="0" y="618"/>
                        <a:pt x="0" y="618"/>
                        <a:pt x="0" y="618"/>
                      </a:cubicBezTo>
                      <a:cubicBezTo>
                        <a:pt x="0" y="651"/>
                        <a:pt x="33" y="684"/>
                        <a:pt x="66" y="684"/>
                      </a:cubicBezTo>
                      <a:cubicBezTo>
                        <a:pt x="481" y="684"/>
                        <a:pt x="481" y="684"/>
                        <a:pt x="481" y="684"/>
                      </a:cubicBezTo>
                      <a:cubicBezTo>
                        <a:pt x="514" y="684"/>
                        <a:pt x="547" y="651"/>
                        <a:pt x="547" y="618"/>
                      </a:cubicBezTo>
                      <a:cubicBezTo>
                        <a:pt x="547" y="232"/>
                        <a:pt x="547" y="232"/>
                        <a:pt x="547" y="232"/>
                      </a:cubicBezTo>
                      <a:cubicBezTo>
                        <a:pt x="547" y="207"/>
                        <a:pt x="525" y="188"/>
                        <a:pt x="525" y="188"/>
                      </a:cubicBezTo>
                      <a:close/>
                      <a:moveTo>
                        <a:pt x="481" y="618"/>
                      </a:moveTo>
                      <a:cubicBezTo>
                        <a:pt x="66" y="618"/>
                        <a:pt x="66" y="618"/>
                        <a:pt x="66" y="618"/>
                      </a:cubicBezTo>
                      <a:cubicBezTo>
                        <a:pt x="66" y="55"/>
                        <a:pt x="66" y="55"/>
                        <a:pt x="66" y="55"/>
                      </a:cubicBezTo>
                      <a:cubicBezTo>
                        <a:pt x="252" y="55"/>
                        <a:pt x="252" y="55"/>
                        <a:pt x="252" y="55"/>
                      </a:cubicBezTo>
                      <a:cubicBezTo>
                        <a:pt x="252" y="232"/>
                        <a:pt x="252" y="232"/>
                        <a:pt x="252" y="232"/>
                      </a:cubicBezTo>
                      <a:cubicBezTo>
                        <a:pt x="252" y="265"/>
                        <a:pt x="273" y="298"/>
                        <a:pt x="306" y="298"/>
                      </a:cubicBezTo>
                      <a:cubicBezTo>
                        <a:pt x="481" y="298"/>
                        <a:pt x="481" y="298"/>
                        <a:pt x="481" y="298"/>
                      </a:cubicBezTo>
                      <a:lnTo>
                        <a:pt x="481" y="618"/>
                      </a:lnTo>
                      <a:close/>
                      <a:moveTo>
                        <a:pt x="306" y="232"/>
                      </a:moveTo>
                      <a:cubicBezTo>
                        <a:pt x="306" y="55"/>
                        <a:pt x="306" y="55"/>
                        <a:pt x="306" y="55"/>
                      </a:cubicBezTo>
                      <a:cubicBezTo>
                        <a:pt x="481" y="232"/>
                        <a:pt x="481" y="232"/>
                        <a:pt x="481" y="232"/>
                      </a:cubicBezTo>
                      <a:cubicBezTo>
                        <a:pt x="306" y="232"/>
                        <a:pt x="306" y="232"/>
                        <a:pt x="306" y="23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/>
                  <a:endParaRPr lang="en-US" sz="1567" kern="0">
                    <a:solidFill>
                      <a:sysClr val="windowText" lastClr="000000"/>
                    </a:solidFill>
                  </a:endParaRPr>
                </a:p>
              </p:txBody>
            </p:sp>
          </p:grpSp>
          <p:grpSp>
            <p:nvGrpSpPr>
              <p:cNvPr id="14" name="Group 13"/>
              <p:cNvGrpSpPr/>
              <p:nvPr/>
            </p:nvGrpSpPr>
            <p:grpSpPr>
              <a:xfrm>
                <a:off x="6240553" y="4624815"/>
                <a:ext cx="743822" cy="895355"/>
                <a:chOff x="6223986" y="2028968"/>
                <a:chExt cx="1373837" cy="1839948"/>
              </a:xfrm>
            </p:grpSpPr>
            <p:sp>
              <p:nvSpPr>
                <p:cNvPr id="33" name="TextBox 32"/>
                <p:cNvSpPr txBox="1"/>
                <p:nvPr/>
              </p:nvSpPr>
              <p:spPr>
                <a:xfrm>
                  <a:off x="6324005" y="3464422"/>
                  <a:ext cx="1173794" cy="40449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 defTabSz="914225">
                    <a:lnSpc>
                      <a:spcPct val="80000"/>
                    </a:lnSpc>
                    <a:spcBef>
                      <a:spcPct val="20000"/>
                    </a:spcBef>
                    <a:buSzPct val="80000"/>
                  </a:pPr>
                  <a:r>
                    <a:rPr lang="en-US" sz="1567" kern="0" dirty="0">
                      <a:gradFill>
                        <a:gsLst>
                          <a:gs pos="0">
                            <a:schemeClr val="tx1">
                              <a:lumMod val="95000"/>
                              <a:lumOff val="5000"/>
                            </a:schemeClr>
                          </a:gs>
                          <a:gs pos="100000">
                            <a:schemeClr val="tx1">
                              <a:lumMod val="95000"/>
                              <a:lumOff val="5000"/>
                            </a:schemeClr>
                          </a:gs>
                        </a:gsLst>
                        <a:lin ang="5400000" scaled="0"/>
                      </a:gradFill>
                    </a:rPr>
                    <a:t>Server</a:t>
                  </a:r>
                </a:p>
              </p:txBody>
            </p:sp>
            <p:sp>
              <p:nvSpPr>
                <p:cNvPr id="41" name="Round Same Side Corner Rectangle 39"/>
                <p:cNvSpPr/>
                <p:nvPr/>
              </p:nvSpPr>
              <p:spPr bwMode="auto">
                <a:xfrm rot="5400000">
                  <a:off x="6223985" y="2028969"/>
                  <a:ext cx="1373839" cy="1373837"/>
                </a:xfrm>
                <a:prstGeom prst="round2SameRect">
                  <a:avLst>
                    <a:gd name="adj1" fmla="val 5548"/>
                    <a:gd name="adj2" fmla="val 0"/>
                  </a:avLst>
                </a:prstGeom>
                <a:solidFill>
                  <a:srgbClr val="00B0F0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89626" tIns="44812" rIns="89626" bIns="44812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895919"/>
                  <a:endParaRPr lang="en-US" sz="1567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</a:endParaRPr>
                </a:p>
              </p:txBody>
            </p:sp>
            <p:sp>
              <p:nvSpPr>
                <p:cNvPr id="35" name="Freeform 27"/>
                <p:cNvSpPr>
                  <a:spLocks noEditPoints="1"/>
                </p:cNvSpPr>
                <p:nvPr/>
              </p:nvSpPr>
              <p:spPr bwMode="auto">
                <a:xfrm>
                  <a:off x="6408488" y="2119305"/>
                  <a:ext cx="280437" cy="350764"/>
                </a:xfrm>
                <a:custGeom>
                  <a:avLst/>
                  <a:gdLst>
                    <a:gd name="T0" fmla="*/ 525 w 547"/>
                    <a:gd name="T1" fmla="*/ 188 h 684"/>
                    <a:gd name="T2" fmla="*/ 350 w 547"/>
                    <a:gd name="T3" fmla="*/ 22 h 684"/>
                    <a:gd name="T4" fmla="*/ 306 w 547"/>
                    <a:gd name="T5" fmla="*/ 0 h 684"/>
                    <a:gd name="T6" fmla="*/ 66 w 547"/>
                    <a:gd name="T7" fmla="*/ 0 h 684"/>
                    <a:gd name="T8" fmla="*/ 0 w 547"/>
                    <a:gd name="T9" fmla="*/ 55 h 684"/>
                    <a:gd name="T10" fmla="*/ 0 w 547"/>
                    <a:gd name="T11" fmla="*/ 618 h 684"/>
                    <a:gd name="T12" fmla="*/ 66 w 547"/>
                    <a:gd name="T13" fmla="*/ 684 h 684"/>
                    <a:gd name="T14" fmla="*/ 481 w 547"/>
                    <a:gd name="T15" fmla="*/ 684 h 684"/>
                    <a:gd name="T16" fmla="*/ 547 w 547"/>
                    <a:gd name="T17" fmla="*/ 618 h 684"/>
                    <a:gd name="T18" fmla="*/ 547 w 547"/>
                    <a:gd name="T19" fmla="*/ 232 h 684"/>
                    <a:gd name="T20" fmla="*/ 525 w 547"/>
                    <a:gd name="T21" fmla="*/ 188 h 684"/>
                    <a:gd name="T22" fmla="*/ 481 w 547"/>
                    <a:gd name="T23" fmla="*/ 618 h 684"/>
                    <a:gd name="T24" fmla="*/ 66 w 547"/>
                    <a:gd name="T25" fmla="*/ 618 h 684"/>
                    <a:gd name="T26" fmla="*/ 66 w 547"/>
                    <a:gd name="T27" fmla="*/ 55 h 684"/>
                    <a:gd name="T28" fmla="*/ 252 w 547"/>
                    <a:gd name="T29" fmla="*/ 55 h 684"/>
                    <a:gd name="T30" fmla="*/ 252 w 547"/>
                    <a:gd name="T31" fmla="*/ 232 h 684"/>
                    <a:gd name="T32" fmla="*/ 306 w 547"/>
                    <a:gd name="T33" fmla="*/ 298 h 684"/>
                    <a:gd name="T34" fmla="*/ 481 w 547"/>
                    <a:gd name="T35" fmla="*/ 298 h 684"/>
                    <a:gd name="T36" fmla="*/ 481 w 547"/>
                    <a:gd name="T37" fmla="*/ 618 h 684"/>
                    <a:gd name="T38" fmla="*/ 306 w 547"/>
                    <a:gd name="T39" fmla="*/ 232 h 684"/>
                    <a:gd name="T40" fmla="*/ 306 w 547"/>
                    <a:gd name="T41" fmla="*/ 55 h 684"/>
                    <a:gd name="T42" fmla="*/ 481 w 547"/>
                    <a:gd name="T43" fmla="*/ 232 h 684"/>
                    <a:gd name="T44" fmla="*/ 306 w 547"/>
                    <a:gd name="T45" fmla="*/ 232 h 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47" h="684">
                      <a:moveTo>
                        <a:pt x="525" y="188"/>
                      </a:moveTo>
                      <a:cubicBezTo>
                        <a:pt x="350" y="22"/>
                        <a:pt x="350" y="22"/>
                        <a:pt x="350" y="22"/>
                      </a:cubicBezTo>
                      <a:cubicBezTo>
                        <a:pt x="330" y="2"/>
                        <a:pt x="328" y="0"/>
                        <a:pt x="306" y="0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33" y="0"/>
                        <a:pt x="0" y="22"/>
                        <a:pt x="0" y="55"/>
                      </a:cubicBezTo>
                      <a:cubicBezTo>
                        <a:pt x="0" y="618"/>
                        <a:pt x="0" y="618"/>
                        <a:pt x="0" y="618"/>
                      </a:cubicBezTo>
                      <a:cubicBezTo>
                        <a:pt x="0" y="651"/>
                        <a:pt x="33" y="684"/>
                        <a:pt x="66" y="684"/>
                      </a:cubicBezTo>
                      <a:cubicBezTo>
                        <a:pt x="481" y="684"/>
                        <a:pt x="481" y="684"/>
                        <a:pt x="481" y="684"/>
                      </a:cubicBezTo>
                      <a:cubicBezTo>
                        <a:pt x="514" y="684"/>
                        <a:pt x="547" y="651"/>
                        <a:pt x="547" y="618"/>
                      </a:cubicBezTo>
                      <a:cubicBezTo>
                        <a:pt x="547" y="232"/>
                        <a:pt x="547" y="232"/>
                        <a:pt x="547" y="232"/>
                      </a:cubicBezTo>
                      <a:cubicBezTo>
                        <a:pt x="547" y="207"/>
                        <a:pt x="525" y="188"/>
                        <a:pt x="525" y="188"/>
                      </a:cubicBezTo>
                      <a:close/>
                      <a:moveTo>
                        <a:pt x="481" y="618"/>
                      </a:moveTo>
                      <a:cubicBezTo>
                        <a:pt x="66" y="618"/>
                        <a:pt x="66" y="618"/>
                        <a:pt x="66" y="618"/>
                      </a:cubicBezTo>
                      <a:cubicBezTo>
                        <a:pt x="66" y="55"/>
                        <a:pt x="66" y="55"/>
                        <a:pt x="66" y="55"/>
                      </a:cubicBezTo>
                      <a:cubicBezTo>
                        <a:pt x="252" y="55"/>
                        <a:pt x="252" y="55"/>
                        <a:pt x="252" y="55"/>
                      </a:cubicBezTo>
                      <a:cubicBezTo>
                        <a:pt x="252" y="232"/>
                        <a:pt x="252" y="232"/>
                        <a:pt x="252" y="232"/>
                      </a:cubicBezTo>
                      <a:cubicBezTo>
                        <a:pt x="252" y="265"/>
                        <a:pt x="273" y="298"/>
                        <a:pt x="306" y="298"/>
                      </a:cubicBezTo>
                      <a:cubicBezTo>
                        <a:pt x="481" y="298"/>
                        <a:pt x="481" y="298"/>
                        <a:pt x="481" y="298"/>
                      </a:cubicBezTo>
                      <a:lnTo>
                        <a:pt x="481" y="618"/>
                      </a:lnTo>
                      <a:close/>
                      <a:moveTo>
                        <a:pt x="306" y="232"/>
                      </a:moveTo>
                      <a:cubicBezTo>
                        <a:pt x="306" y="55"/>
                        <a:pt x="306" y="55"/>
                        <a:pt x="306" y="55"/>
                      </a:cubicBezTo>
                      <a:cubicBezTo>
                        <a:pt x="481" y="232"/>
                        <a:pt x="481" y="232"/>
                        <a:pt x="481" y="232"/>
                      </a:cubicBezTo>
                      <a:cubicBezTo>
                        <a:pt x="306" y="232"/>
                        <a:pt x="306" y="232"/>
                        <a:pt x="306" y="23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/>
                  <a:endParaRPr lang="en-US" sz="1567" ker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36" name="Freeform 27"/>
                <p:cNvSpPr>
                  <a:spLocks noEditPoints="1"/>
                </p:cNvSpPr>
                <p:nvPr/>
              </p:nvSpPr>
              <p:spPr bwMode="auto">
                <a:xfrm>
                  <a:off x="6408488" y="2545552"/>
                  <a:ext cx="280437" cy="350764"/>
                </a:xfrm>
                <a:custGeom>
                  <a:avLst/>
                  <a:gdLst>
                    <a:gd name="T0" fmla="*/ 525 w 547"/>
                    <a:gd name="T1" fmla="*/ 188 h 684"/>
                    <a:gd name="T2" fmla="*/ 350 w 547"/>
                    <a:gd name="T3" fmla="*/ 22 h 684"/>
                    <a:gd name="T4" fmla="*/ 306 w 547"/>
                    <a:gd name="T5" fmla="*/ 0 h 684"/>
                    <a:gd name="T6" fmla="*/ 66 w 547"/>
                    <a:gd name="T7" fmla="*/ 0 h 684"/>
                    <a:gd name="T8" fmla="*/ 0 w 547"/>
                    <a:gd name="T9" fmla="*/ 55 h 684"/>
                    <a:gd name="T10" fmla="*/ 0 w 547"/>
                    <a:gd name="T11" fmla="*/ 618 h 684"/>
                    <a:gd name="T12" fmla="*/ 66 w 547"/>
                    <a:gd name="T13" fmla="*/ 684 h 684"/>
                    <a:gd name="T14" fmla="*/ 481 w 547"/>
                    <a:gd name="T15" fmla="*/ 684 h 684"/>
                    <a:gd name="T16" fmla="*/ 547 w 547"/>
                    <a:gd name="T17" fmla="*/ 618 h 684"/>
                    <a:gd name="T18" fmla="*/ 547 w 547"/>
                    <a:gd name="T19" fmla="*/ 232 h 684"/>
                    <a:gd name="T20" fmla="*/ 525 w 547"/>
                    <a:gd name="T21" fmla="*/ 188 h 684"/>
                    <a:gd name="T22" fmla="*/ 481 w 547"/>
                    <a:gd name="T23" fmla="*/ 618 h 684"/>
                    <a:gd name="T24" fmla="*/ 66 w 547"/>
                    <a:gd name="T25" fmla="*/ 618 h 684"/>
                    <a:gd name="T26" fmla="*/ 66 w 547"/>
                    <a:gd name="T27" fmla="*/ 55 h 684"/>
                    <a:gd name="T28" fmla="*/ 252 w 547"/>
                    <a:gd name="T29" fmla="*/ 55 h 684"/>
                    <a:gd name="T30" fmla="*/ 252 w 547"/>
                    <a:gd name="T31" fmla="*/ 232 h 684"/>
                    <a:gd name="T32" fmla="*/ 306 w 547"/>
                    <a:gd name="T33" fmla="*/ 298 h 684"/>
                    <a:gd name="T34" fmla="*/ 481 w 547"/>
                    <a:gd name="T35" fmla="*/ 298 h 684"/>
                    <a:gd name="T36" fmla="*/ 481 w 547"/>
                    <a:gd name="T37" fmla="*/ 618 h 684"/>
                    <a:gd name="T38" fmla="*/ 306 w 547"/>
                    <a:gd name="T39" fmla="*/ 232 h 684"/>
                    <a:gd name="T40" fmla="*/ 306 w 547"/>
                    <a:gd name="T41" fmla="*/ 55 h 684"/>
                    <a:gd name="T42" fmla="*/ 481 w 547"/>
                    <a:gd name="T43" fmla="*/ 232 h 684"/>
                    <a:gd name="T44" fmla="*/ 306 w 547"/>
                    <a:gd name="T45" fmla="*/ 232 h 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47" h="684">
                      <a:moveTo>
                        <a:pt x="525" y="188"/>
                      </a:moveTo>
                      <a:cubicBezTo>
                        <a:pt x="350" y="22"/>
                        <a:pt x="350" y="22"/>
                        <a:pt x="350" y="22"/>
                      </a:cubicBezTo>
                      <a:cubicBezTo>
                        <a:pt x="330" y="2"/>
                        <a:pt x="328" y="0"/>
                        <a:pt x="306" y="0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33" y="0"/>
                        <a:pt x="0" y="22"/>
                        <a:pt x="0" y="55"/>
                      </a:cubicBezTo>
                      <a:cubicBezTo>
                        <a:pt x="0" y="618"/>
                        <a:pt x="0" y="618"/>
                        <a:pt x="0" y="618"/>
                      </a:cubicBezTo>
                      <a:cubicBezTo>
                        <a:pt x="0" y="651"/>
                        <a:pt x="33" y="684"/>
                        <a:pt x="66" y="684"/>
                      </a:cubicBezTo>
                      <a:cubicBezTo>
                        <a:pt x="481" y="684"/>
                        <a:pt x="481" y="684"/>
                        <a:pt x="481" y="684"/>
                      </a:cubicBezTo>
                      <a:cubicBezTo>
                        <a:pt x="514" y="684"/>
                        <a:pt x="547" y="651"/>
                        <a:pt x="547" y="618"/>
                      </a:cubicBezTo>
                      <a:cubicBezTo>
                        <a:pt x="547" y="232"/>
                        <a:pt x="547" y="232"/>
                        <a:pt x="547" y="232"/>
                      </a:cubicBezTo>
                      <a:cubicBezTo>
                        <a:pt x="547" y="207"/>
                        <a:pt x="525" y="188"/>
                        <a:pt x="525" y="188"/>
                      </a:cubicBezTo>
                      <a:close/>
                      <a:moveTo>
                        <a:pt x="481" y="618"/>
                      </a:moveTo>
                      <a:cubicBezTo>
                        <a:pt x="66" y="618"/>
                        <a:pt x="66" y="618"/>
                        <a:pt x="66" y="618"/>
                      </a:cubicBezTo>
                      <a:cubicBezTo>
                        <a:pt x="66" y="55"/>
                        <a:pt x="66" y="55"/>
                        <a:pt x="66" y="55"/>
                      </a:cubicBezTo>
                      <a:cubicBezTo>
                        <a:pt x="252" y="55"/>
                        <a:pt x="252" y="55"/>
                        <a:pt x="252" y="55"/>
                      </a:cubicBezTo>
                      <a:cubicBezTo>
                        <a:pt x="252" y="232"/>
                        <a:pt x="252" y="232"/>
                        <a:pt x="252" y="232"/>
                      </a:cubicBezTo>
                      <a:cubicBezTo>
                        <a:pt x="252" y="265"/>
                        <a:pt x="273" y="298"/>
                        <a:pt x="306" y="298"/>
                      </a:cubicBezTo>
                      <a:cubicBezTo>
                        <a:pt x="481" y="298"/>
                        <a:pt x="481" y="298"/>
                        <a:pt x="481" y="298"/>
                      </a:cubicBezTo>
                      <a:lnTo>
                        <a:pt x="481" y="618"/>
                      </a:lnTo>
                      <a:close/>
                      <a:moveTo>
                        <a:pt x="306" y="232"/>
                      </a:moveTo>
                      <a:cubicBezTo>
                        <a:pt x="306" y="55"/>
                        <a:pt x="306" y="55"/>
                        <a:pt x="306" y="55"/>
                      </a:cubicBezTo>
                      <a:cubicBezTo>
                        <a:pt x="481" y="232"/>
                        <a:pt x="481" y="232"/>
                        <a:pt x="481" y="232"/>
                      </a:cubicBezTo>
                      <a:cubicBezTo>
                        <a:pt x="306" y="232"/>
                        <a:pt x="306" y="232"/>
                        <a:pt x="306" y="23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/>
                  <a:endParaRPr lang="en-US" sz="1567" ker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37" name="Freeform 27"/>
                <p:cNvSpPr>
                  <a:spLocks noEditPoints="1"/>
                </p:cNvSpPr>
                <p:nvPr/>
              </p:nvSpPr>
              <p:spPr bwMode="auto">
                <a:xfrm>
                  <a:off x="6777703" y="2545552"/>
                  <a:ext cx="280437" cy="350764"/>
                </a:xfrm>
                <a:custGeom>
                  <a:avLst/>
                  <a:gdLst>
                    <a:gd name="T0" fmla="*/ 525 w 547"/>
                    <a:gd name="T1" fmla="*/ 188 h 684"/>
                    <a:gd name="T2" fmla="*/ 350 w 547"/>
                    <a:gd name="T3" fmla="*/ 22 h 684"/>
                    <a:gd name="T4" fmla="*/ 306 w 547"/>
                    <a:gd name="T5" fmla="*/ 0 h 684"/>
                    <a:gd name="T6" fmla="*/ 66 w 547"/>
                    <a:gd name="T7" fmla="*/ 0 h 684"/>
                    <a:gd name="T8" fmla="*/ 0 w 547"/>
                    <a:gd name="T9" fmla="*/ 55 h 684"/>
                    <a:gd name="T10" fmla="*/ 0 w 547"/>
                    <a:gd name="T11" fmla="*/ 618 h 684"/>
                    <a:gd name="T12" fmla="*/ 66 w 547"/>
                    <a:gd name="T13" fmla="*/ 684 h 684"/>
                    <a:gd name="T14" fmla="*/ 481 w 547"/>
                    <a:gd name="T15" fmla="*/ 684 h 684"/>
                    <a:gd name="T16" fmla="*/ 547 w 547"/>
                    <a:gd name="T17" fmla="*/ 618 h 684"/>
                    <a:gd name="T18" fmla="*/ 547 w 547"/>
                    <a:gd name="T19" fmla="*/ 232 h 684"/>
                    <a:gd name="T20" fmla="*/ 525 w 547"/>
                    <a:gd name="T21" fmla="*/ 188 h 684"/>
                    <a:gd name="T22" fmla="*/ 481 w 547"/>
                    <a:gd name="T23" fmla="*/ 618 h 684"/>
                    <a:gd name="T24" fmla="*/ 66 w 547"/>
                    <a:gd name="T25" fmla="*/ 618 h 684"/>
                    <a:gd name="T26" fmla="*/ 66 w 547"/>
                    <a:gd name="T27" fmla="*/ 55 h 684"/>
                    <a:gd name="T28" fmla="*/ 252 w 547"/>
                    <a:gd name="T29" fmla="*/ 55 h 684"/>
                    <a:gd name="T30" fmla="*/ 252 w 547"/>
                    <a:gd name="T31" fmla="*/ 232 h 684"/>
                    <a:gd name="T32" fmla="*/ 306 w 547"/>
                    <a:gd name="T33" fmla="*/ 298 h 684"/>
                    <a:gd name="T34" fmla="*/ 481 w 547"/>
                    <a:gd name="T35" fmla="*/ 298 h 684"/>
                    <a:gd name="T36" fmla="*/ 481 w 547"/>
                    <a:gd name="T37" fmla="*/ 618 h 684"/>
                    <a:gd name="T38" fmla="*/ 306 w 547"/>
                    <a:gd name="T39" fmla="*/ 232 h 684"/>
                    <a:gd name="T40" fmla="*/ 306 w 547"/>
                    <a:gd name="T41" fmla="*/ 55 h 684"/>
                    <a:gd name="T42" fmla="*/ 481 w 547"/>
                    <a:gd name="T43" fmla="*/ 232 h 684"/>
                    <a:gd name="T44" fmla="*/ 306 w 547"/>
                    <a:gd name="T45" fmla="*/ 232 h 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47" h="684">
                      <a:moveTo>
                        <a:pt x="525" y="188"/>
                      </a:moveTo>
                      <a:cubicBezTo>
                        <a:pt x="350" y="22"/>
                        <a:pt x="350" y="22"/>
                        <a:pt x="350" y="22"/>
                      </a:cubicBezTo>
                      <a:cubicBezTo>
                        <a:pt x="330" y="2"/>
                        <a:pt x="328" y="0"/>
                        <a:pt x="306" y="0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33" y="0"/>
                        <a:pt x="0" y="22"/>
                        <a:pt x="0" y="55"/>
                      </a:cubicBezTo>
                      <a:cubicBezTo>
                        <a:pt x="0" y="618"/>
                        <a:pt x="0" y="618"/>
                        <a:pt x="0" y="618"/>
                      </a:cubicBezTo>
                      <a:cubicBezTo>
                        <a:pt x="0" y="651"/>
                        <a:pt x="33" y="684"/>
                        <a:pt x="66" y="684"/>
                      </a:cubicBezTo>
                      <a:cubicBezTo>
                        <a:pt x="481" y="684"/>
                        <a:pt x="481" y="684"/>
                        <a:pt x="481" y="684"/>
                      </a:cubicBezTo>
                      <a:cubicBezTo>
                        <a:pt x="514" y="684"/>
                        <a:pt x="547" y="651"/>
                        <a:pt x="547" y="618"/>
                      </a:cubicBezTo>
                      <a:cubicBezTo>
                        <a:pt x="547" y="232"/>
                        <a:pt x="547" y="232"/>
                        <a:pt x="547" y="232"/>
                      </a:cubicBezTo>
                      <a:cubicBezTo>
                        <a:pt x="547" y="207"/>
                        <a:pt x="525" y="188"/>
                        <a:pt x="525" y="188"/>
                      </a:cubicBezTo>
                      <a:close/>
                      <a:moveTo>
                        <a:pt x="481" y="618"/>
                      </a:moveTo>
                      <a:cubicBezTo>
                        <a:pt x="66" y="618"/>
                        <a:pt x="66" y="618"/>
                        <a:pt x="66" y="618"/>
                      </a:cubicBezTo>
                      <a:cubicBezTo>
                        <a:pt x="66" y="55"/>
                        <a:pt x="66" y="55"/>
                        <a:pt x="66" y="55"/>
                      </a:cubicBezTo>
                      <a:cubicBezTo>
                        <a:pt x="252" y="55"/>
                        <a:pt x="252" y="55"/>
                        <a:pt x="252" y="55"/>
                      </a:cubicBezTo>
                      <a:cubicBezTo>
                        <a:pt x="252" y="232"/>
                        <a:pt x="252" y="232"/>
                        <a:pt x="252" y="232"/>
                      </a:cubicBezTo>
                      <a:cubicBezTo>
                        <a:pt x="252" y="265"/>
                        <a:pt x="273" y="298"/>
                        <a:pt x="306" y="298"/>
                      </a:cubicBezTo>
                      <a:cubicBezTo>
                        <a:pt x="481" y="298"/>
                        <a:pt x="481" y="298"/>
                        <a:pt x="481" y="298"/>
                      </a:cubicBezTo>
                      <a:lnTo>
                        <a:pt x="481" y="618"/>
                      </a:lnTo>
                      <a:close/>
                      <a:moveTo>
                        <a:pt x="306" y="232"/>
                      </a:moveTo>
                      <a:cubicBezTo>
                        <a:pt x="306" y="55"/>
                        <a:pt x="306" y="55"/>
                        <a:pt x="306" y="55"/>
                      </a:cubicBezTo>
                      <a:cubicBezTo>
                        <a:pt x="481" y="232"/>
                        <a:pt x="481" y="232"/>
                        <a:pt x="481" y="232"/>
                      </a:cubicBezTo>
                      <a:cubicBezTo>
                        <a:pt x="306" y="232"/>
                        <a:pt x="306" y="232"/>
                        <a:pt x="306" y="23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/>
                  <a:endParaRPr lang="en-US" sz="1567" ker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38" name="Freeform 27"/>
                <p:cNvSpPr>
                  <a:spLocks noEditPoints="1"/>
                </p:cNvSpPr>
                <p:nvPr/>
              </p:nvSpPr>
              <p:spPr bwMode="auto">
                <a:xfrm>
                  <a:off x="6408488" y="2971800"/>
                  <a:ext cx="280437" cy="350764"/>
                </a:xfrm>
                <a:custGeom>
                  <a:avLst/>
                  <a:gdLst>
                    <a:gd name="T0" fmla="*/ 525 w 547"/>
                    <a:gd name="T1" fmla="*/ 188 h 684"/>
                    <a:gd name="T2" fmla="*/ 350 w 547"/>
                    <a:gd name="T3" fmla="*/ 22 h 684"/>
                    <a:gd name="T4" fmla="*/ 306 w 547"/>
                    <a:gd name="T5" fmla="*/ 0 h 684"/>
                    <a:gd name="T6" fmla="*/ 66 w 547"/>
                    <a:gd name="T7" fmla="*/ 0 h 684"/>
                    <a:gd name="T8" fmla="*/ 0 w 547"/>
                    <a:gd name="T9" fmla="*/ 55 h 684"/>
                    <a:gd name="T10" fmla="*/ 0 w 547"/>
                    <a:gd name="T11" fmla="*/ 618 h 684"/>
                    <a:gd name="T12" fmla="*/ 66 w 547"/>
                    <a:gd name="T13" fmla="*/ 684 h 684"/>
                    <a:gd name="T14" fmla="*/ 481 w 547"/>
                    <a:gd name="T15" fmla="*/ 684 h 684"/>
                    <a:gd name="T16" fmla="*/ 547 w 547"/>
                    <a:gd name="T17" fmla="*/ 618 h 684"/>
                    <a:gd name="T18" fmla="*/ 547 w 547"/>
                    <a:gd name="T19" fmla="*/ 232 h 684"/>
                    <a:gd name="T20" fmla="*/ 525 w 547"/>
                    <a:gd name="T21" fmla="*/ 188 h 684"/>
                    <a:gd name="T22" fmla="*/ 481 w 547"/>
                    <a:gd name="T23" fmla="*/ 618 h 684"/>
                    <a:gd name="T24" fmla="*/ 66 w 547"/>
                    <a:gd name="T25" fmla="*/ 618 h 684"/>
                    <a:gd name="T26" fmla="*/ 66 w 547"/>
                    <a:gd name="T27" fmla="*/ 55 h 684"/>
                    <a:gd name="T28" fmla="*/ 252 w 547"/>
                    <a:gd name="T29" fmla="*/ 55 h 684"/>
                    <a:gd name="T30" fmla="*/ 252 w 547"/>
                    <a:gd name="T31" fmla="*/ 232 h 684"/>
                    <a:gd name="T32" fmla="*/ 306 w 547"/>
                    <a:gd name="T33" fmla="*/ 298 h 684"/>
                    <a:gd name="T34" fmla="*/ 481 w 547"/>
                    <a:gd name="T35" fmla="*/ 298 h 684"/>
                    <a:gd name="T36" fmla="*/ 481 w 547"/>
                    <a:gd name="T37" fmla="*/ 618 h 684"/>
                    <a:gd name="T38" fmla="*/ 306 w 547"/>
                    <a:gd name="T39" fmla="*/ 232 h 684"/>
                    <a:gd name="T40" fmla="*/ 306 w 547"/>
                    <a:gd name="T41" fmla="*/ 55 h 684"/>
                    <a:gd name="T42" fmla="*/ 481 w 547"/>
                    <a:gd name="T43" fmla="*/ 232 h 684"/>
                    <a:gd name="T44" fmla="*/ 306 w 547"/>
                    <a:gd name="T45" fmla="*/ 232 h 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47" h="684">
                      <a:moveTo>
                        <a:pt x="525" y="188"/>
                      </a:moveTo>
                      <a:cubicBezTo>
                        <a:pt x="350" y="22"/>
                        <a:pt x="350" y="22"/>
                        <a:pt x="350" y="22"/>
                      </a:cubicBezTo>
                      <a:cubicBezTo>
                        <a:pt x="330" y="2"/>
                        <a:pt x="328" y="0"/>
                        <a:pt x="306" y="0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33" y="0"/>
                        <a:pt x="0" y="22"/>
                        <a:pt x="0" y="55"/>
                      </a:cubicBezTo>
                      <a:cubicBezTo>
                        <a:pt x="0" y="618"/>
                        <a:pt x="0" y="618"/>
                        <a:pt x="0" y="618"/>
                      </a:cubicBezTo>
                      <a:cubicBezTo>
                        <a:pt x="0" y="651"/>
                        <a:pt x="33" y="684"/>
                        <a:pt x="66" y="684"/>
                      </a:cubicBezTo>
                      <a:cubicBezTo>
                        <a:pt x="481" y="684"/>
                        <a:pt x="481" y="684"/>
                        <a:pt x="481" y="684"/>
                      </a:cubicBezTo>
                      <a:cubicBezTo>
                        <a:pt x="514" y="684"/>
                        <a:pt x="547" y="651"/>
                        <a:pt x="547" y="618"/>
                      </a:cubicBezTo>
                      <a:cubicBezTo>
                        <a:pt x="547" y="232"/>
                        <a:pt x="547" y="232"/>
                        <a:pt x="547" y="232"/>
                      </a:cubicBezTo>
                      <a:cubicBezTo>
                        <a:pt x="547" y="207"/>
                        <a:pt x="525" y="188"/>
                        <a:pt x="525" y="188"/>
                      </a:cubicBezTo>
                      <a:close/>
                      <a:moveTo>
                        <a:pt x="481" y="618"/>
                      </a:moveTo>
                      <a:cubicBezTo>
                        <a:pt x="66" y="618"/>
                        <a:pt x="66" y="618"/>
                        <a:pt x="66" y="618"/>
                      </a:cubicBezTo>
                      <a:cubicBezTo>
                        <a:pt x="66" y="55"/>
                        <a:pt x="66" y="55"/>
                        <a:pt x="66" y="55"/>
                      </a:cubicBezTo>
                      <a:cubicBezTo>
                        <a:pt x="252" y="55"/>
                        <a:pt x="252" y="55"/>
                        <a:pt x="252" y="55"/>
                      </a:cubicBezTo>
                      <a:cubicBezTo>
                        <a:pt x="252" y="232"/>
                        <a:pt x="252" y="232"/>
                        <a:pt x="252" y="232"/>
                      </a:cubicBezTo>
                      <a:cubicBezTo>
                        <a:pt x="252" y="265"/>
                        <a:pt x="273" y="298"/>
                        <a:pt x="306" y="298"/>
                      </a:cubicBezTo>
                      <a:cubicBezTo>
                        <a:pt x="481" y="298"/>
                        <a:pt x="481" y="298"/>
                        <a:pt x="481" y="298"/>
                      </a:cubicBezTo>
                      <a:lnTo>
                        <a:pt x="481" y="618"/>
                      </a:lnTo>
                      <a:close/>
                      <a:moveTo>
                        <a:pt x="306" y="232"/>
                      </a:moveTo>
                      <a:cubicBezTo>
                        <a:pt x="306" y="55"/>
                        <a:pt x="306" y="55"/>
                        <a:pt x="306" y="55"/>
                      </a:cubicBezTo>
                      <a:cubicBezTo>
                        <a:pt x="481" y="232"/>
                        <a:pt x="481" y="232"/>
                        <a:pt x="481" y="232"/>
                      </a:cubicBezTo>
                      <a:cubicBezTo>
                        <a:pt x="306" y="232"/>
                        <a:pt x="306" y="232"/>
                        <a:pt x="306" y="23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/>
                  <a:endParaRPr lang="en-US" sz="1567" ker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39" name="Freeform 27"/>
                <p:cNvSpPr>
                  <a:spLocks noEditPoints="1"/>
                </p:cNvSpPr>
                <p:nvPr/>
              </p:nvSpPr>
              <p:spPr bwMode="auto">
                <a:xfrm>
                  <a:off x="6777703" y="2971800"/>
                  <a:ext cx="280437" cy="350764"/>
                </a:xfrm>
                <a:custGeom>
                  <a:avLst/>
                  <a:gdLst>
                    <a:gd name="T0" fmla="*/ 525 w 547"/>
                    <a:gd name="T1" fmla="*/ 188 h 684"/>
                    <a:gd name="T2" fmla="*/ 350 w 547"/>
                    <a:gd name="T3" fmla="*/ 22 h 684"/>
                    <a:gd name="T4" fmla="*/ 306 w 547"/>
                    <a:gd name="T5" fmla="*/ 0 h 684"/>
                    <a:gd name="T6" fmla="*/ 66 w 547"/>
                    <a:gd name="T7" fmla="*/ 0 h 684"/>
                    <a:gd name="T8" fmla="*/ 0 w 547"/>
                    <a:gd name="T9" fmla="*/ 55 h 684"/>
                    <a:gd name="T10" fmla="*/ 0 w 547"/>
                    <a:gd name="T11" fmla="*/ 618 h 684"/>
                    <a:gd name="T12" fmla="*/ 66 w 547"/>
                    <a:gd name="T13" fmla="*/ 684 h 684"/>
                    <a:gd name="T14" fmla="*/ 481 w 547"/>
                    <a:gd name="T15" fmla="*/ 684 h 684"/>
                    <a:gd name="T16" fmla="*/ 547 w 547"/>
                    <a:gd name="T17" fmla="*/ 618 h 684"/>
                    <a:gd name="T18" fmla="*/ 547 w 547"/>
                    <a:gd name="T19" fmla="*/ 232 h 684"/>
                    <a:gd name="T20" fmla="*/ 525 w 547"/>
                    <a:gd name="T21" fmla="*/ 188 h 684"/>
                    <a:gd name="T22" fmla="*/ 481 w 547"/>
                    <a:gd name="T23" fmla="*/ 618 h 684"/>
                    <a:gd name="T24" fmla="*/ 66 w 547"/>
                    <a:gd name="T25" fmla="*/ 618 h 684"/>
                    <a:gd name="T26" fmla="*/ 66 w 547"/>
                    <a:gd name="T27" fmla="*/ 55 h 684"/>
                    <a:gd name="T28" fmla="*/ 252 w 547"/>
                    <a:gd name="T29" fmla="*/ 55 h 684"/>
                    <a:gd name="T30" fmla="*/ 252 w 547"/>
                    <a:gd name="T31" fmla="*/ 232 h 684"/>
                    <a:gd name="T32" fmla="*/ 306 w 547"/>
                    <a:gd name="T33" fmla="*/ 298 h 684"/>
                    <a:gd name="T34" fmla="*/ 481 w 547"/>
                    <a:gd name="T35" fmla="*/ 298 h 684"/>
                    <a:gd name="T36" fmla="*/ 481 w 547"/>
                    <a:gd name="T37" fmla="*/ 618 h 684"/>
                    <a:gd name="T38" fmla="*/ 306 w 547"/>
                    <a:gd name="T39" fmla="*/ 232 h 684"/>
                    <a:gd name="T40" fmla="*/ 306 w 547"/>
                    <a:gd name="T41" fmla="*/ 55 h 684"/>
                    <a:gd name="T42" fmla="*/ 481 w 547"/>
                    <a:gd name="T43" fmla="*/ 232 h 684"/>
                    <a:gd name="T44" fmla="*/ 306 w 547"/>
                    <a:gd name="T45" fmla="*/ 232 h 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47" h="684">
                      <a:moveTo>
                        <a:pt x="525" y="188"/>
                      </a:moveTo>
                      <a:cubicBezTo>
                        <a:pt x="350" y="22"/>
                        <a:pt x="350" y="22"/>
                        <a:pt x="350" y="22"/>
                      </a:cubicBezTo>
                      <a:cubicBezTo>
                        <a:pt x="330" y="2"/>
                        <a:pt x="328" y="0"/>
                        <a:pt x="306" y="0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33" y="0"/>
                        <a:pt x="0" y="22"/>
                        <a:pt x="0" y="55"/>
                      </a:cubicBezTo>
                      <a:cubicBezTo>
                        <a:pt x="0" y="618"/>
                        <a:pt x="0" y="618"/>
                        <a:pt x="0" y="618"/>
                      </a:cubicBezTo>
                      <a:cubicBezTo>
                        <a:pt x="0" y="651"/>
                        <a:pt x="33" y="684"/>
                        <a:pt x="66" y="684"/>
                      </a:cubicBezTo>
                      <a:cubicBezTo>
                        <a:pt x="481" y="684"/>
                        <a:pt x="481" y="684"/>
                        <a:pt x="481" y="684"/>
                      </a:cubicBezTo>
                      <a:cubicBezTo>
                        <a:pt x="514" y="684"/>
                        <a:pt x="547" y="651"/>
                        <a:pt x="547" y="618"/>
                      </a:cubicBezTo>
                      <a:cubicBezTo>
                        <a:pt x="547" y="232"/>
                        <a:pt x="547" y="232"/>
                        <a:pt x="547" y="232"/>
                      </a:cubicBezTo>
                      <a:cubicBezTo>
                        <a:pt x="547" y="207"/>
                        <a:pt x="525" y="188"/>
                        <a:pt x="525" y="188"/>
                      </a:cubicBezTo>
                      <a:close/>
                      <a:moveTo>
                        <a:pt x="481" y="618"/>
                      </a:moveTo>
                      <a:cubicBezTo>
                        <a:pt x="66" y="618"/>
                        <a:pt x="66" y="618"/>
                        <a:pt x="66" y="618"/>
                      </a:cubicBezTo>
                      <a:cubicBezTo>
                        <a:pt x="66" y="55"/>
                        <a:pt x="66" y="55"/>
                        <a:pt x="66" y="55"/>
                      </a:cubicBezTo>
                      <a:cubicBezTo>
                        <a:pt x="252" y="55"/>
                        <a:pt x="252" y="55"/>
                        <a:pt x="252" y="55"/>
                      </a:cubicBezTo>
                      <a:cubicBezTo>
                        <a:pt x="252" y="232"/>
                        <a:pt x="252" y="232"/>
                        <a:pt x="252" y="232"/>
                      </a:cubicBezTo>
                      <a:cubicBezTo>
                        <a:pt x="252" y="265"/>
                        <a:pt x="273" y="298"/>
                        <a:pt x="306" y="298"/>
                      </a:cubicBezTo>
                      <a:cubicBezTo>
                        <a:pt x="481" y="298"/>
                        <a:pt x="481" y="298"/>
                        <a:pt x="481" y="298"/>
                      </a:cubicBezTo>
                      <a:lnTo>
                        <a:pt x="481" y="618"/>
                      </a:lnTo>
                      <a:close/>
                      <a:moveTo>
                        <a:pt x="306" y="232"/>
                      </a:moveTo>
                      <a:cubicBezTo>
                        <a:pt x="306" y="55"/>
                        <a:pt x="306" y="55"/>
                        <a:pt x="306" y="55"/>
                      </a:cubicBezTo>
                      <a:cubicBezTo>
                        <a:pt x="481" y="232"/>
                        <a:pt x="481" y="232"/>
                        <a:pt x="481" y="232"/>
                      </a:cubicBezTo>
                      <a:cubicBezTo>
                        <a:pt x="306" y="232"/>
                        <a:pt x="306" y="232"/>
                        <a:pt x="306" y="23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/>
                  <a:endParaRPr lang="en-US" sz="1567" ker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40" name="Freeform 27"/>
                <p:cNvSpPr>
                  <a:spLocks noEditPoints="1"/>
                </p:cNvSpPr>
                <p:nvPr/>
              </p:nvSpPr>
              <p:spPr bwMode="auto">
                <a:xfrm>
                  <a:off x="7146918" y="2971800"/>
                  <a:ext cx="280437" cy="350764"/>
                </a:xfrm>
                <a:custGeom>
                  <a:avLst/>
                  <a:gdLst>
                    <a:gd name="T0" fmla="*/ 525 w 547"/>
                    <a:gd name="T1" fmla="*/ 188 h 684"/>
                    <a:gd name="T2" fmla="*/ 350 w 547"/>
                    <a:gd name="T3" fmla="*/ 22 h 684"/>
                    <a:gd name="T4" fmla="*/ 306 w 547"/>
                    <a:gd name="T5" fmla="*/ 0 h 684"/>
                    <a:gd name="T6" fmla="*/ 66 w 547"/>
                    <a:gd name="T7" fmla="*/ 0 h 684"/>
                    <a:gd name="T8" fmla="*/ 0 w 547"/>
                    <a:gd name="T9" fmla="*/ 55 h 684"/>
                    <a:gd name="T10" fmla="*/ 0 w 547"/>
                    <a:gd name="T11" fmla="*/ 618 h 684"/>
                    <a:gd name="T12" fmla="*/ 66 w 547"/>
                    <a:gd name="T13" fmla="*/ 684 h 684"/>
                    <a:gd name="T14" fmla="*/ 481 w 547"/>
                    <a:gd name="T15" fmla="*/ 684 h 684"/>
                    <a:gd name="T16" fmla="*/ 547 w 547"/>
                    <a:gd name="T17" fmla="*/ 618 h 684"/>
                    <a:gd name="T18" fmla="*/ 547 w 547"/>
                    <a:gd name="T19" fmla="*/ 232 h 684"/>
                    <a:gd name="T20" fmla="*/ 525 w 547"/>
                    <a:gd name="T21" fmla="*/ 188 h 684"/>
                    <a:gd name="T22" fmla="*/ 481 w 547"/>
                    <a:gd name="T23" fmla="*/ 618 h 684"/>
                    <a:gd name="T24" fmla="*/ 66 w 547"/>
                    <a:gd name="T25" fmla="*/ 618 h 684"/>
                    <a:gd name="T26" fmla="*/ 66 w 547"/>
                    <a:gd name="T27" fmla="*/ 55 h 684"/>
                    <a:gd name="T28" fmla="*/ 252 w 547"/>
                    <a:gd name="T29" fmla="*/ 55 h 684"/>
                    <a:gd name="T30" fmla="*/ 252 w 547"/>
                    <a:gd name="T31" fmla="*/ 232 h 684"/>
                    <a:gd name="T32" fmla="*/ 306 w 547"/>
                    <a:gd name="T33" fmla="*/ 298 h 684"/>
                    <a:gd name="T34" fmla="*/ 481 w 547"/>
                    <a:gd name="T35" fmla="*/ 298 h 684"/>
                    <a:gd name="T36" fmla="*/ 481 w 547"/>
                    <a:gd name="T37" fmla="*/ 618 h 684"/>
                    <a:gd name="T38" fmla="*/ 306 w 547"/>
                    <a:gd name="T39" fmla="*/ 232 h 684"/>
                    <a:gd name="T40" fmla="*/ 306 w 547"/>
                    <a:gd name="T41" fmla="*/ 55 h 684"/>
                    <a:gd name="T42" fmla="*/ 481 w 547"/>
                    <a:gd name="T43" fmla="*/ 232 h 684"/>
                    <a:gd name="T44" fmla="*/ 306 w 547"/>
                    <a:gd name="T45" fmla="*/ 232 h 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47" h="684">
                      <a:moveTo>
                        <a:pt x="525" y="188"/>
                      </a:moveTo>
                      <a:cubicBezTo>
                        <a:pt x="350" y="22"/>
                        <a:pt x="350" y="22"/>
                        <a:pt x="350" y="22"/>
                      </a:cubicBezTo>
                      <a:cubicBezTo>
                        <a:pt x="330" y="2"/>
                        <a:pt x="328" y="0"/>
                        <a:pt x="306" y="0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33" y="0"/>
                        <a:pt x="0" y="22"/>
                        <a:pt x="0" y="55"/>
                      </a:cubicBezTo>
                      <a:cubicBezTo>
                        <a:pt x="0" y="618"/>
                        <a:pt x="0" y="618"/>
                        <a:pt x="0" y="618"/>
                      </a:cubicBezTo>
                      <a:cubicBezTo>
                        <a:pt x="0" y="651"/>
                        <a:pt x="33" y="684"/>
                        <a:pt x="66" y="684"/>
                      </a:cubicBezTo>
                      <a:cubicBezTo>
                        <a:pt x="481" y="684"/>
                        <a:pt x="481" y="684"/>
                        <a:pt x="481" y="684"/>
                      </a:cubicBezTo>
                      <a:cubicBezTo>
                        <a:pt x="514" y="684"/>
                        <a:pt x="547" y="651"/>
                        <a:pt x="547" y="618"/>
                      </a:cubicBezTo>
                      <a:cubicBezTo>
                        <a:pt x="547" y="232"/>
                        <a:pt x="547" y="232"/>
                        <a:pt x="547" y="232"/>
                      </a:cubicBezTo>
                      <a:cubicBezTo>
                        <a:pt x="547" y="207"/>
                        <a:pt x="525" y="188"/>
                        <a:pt x="525" y="188"/>
                      </a:cubicBezTo>
                      <a:close/>
                      <a:moveTo>
                        <a:pt x="481" y="618"/>
                      </a:moveTo>
                      <a:cubicBezTo>
                        <a:pt x="66" y="618"/>
                        <a:pt x="66" y="618"/>
                        <a:pt x="66" y="618"/>
                      </a:cubicBezTo>
                      <a:cubicBezTo>
                        <a:pt x="66" y="55"/>
                        <a:pt x="66" y="55"/>
                        <a:pt x="66" y="55"/>
                      </a:cubicBezTo>
                      <a:cubicBezTo>
                        <a:pt x="252" y="55"/>
                        <a:pt x="252" y="55"/>
                        <a:pt x="252" y="55"/>
                      </a:cubicBezTo>
                      <a:cubicBezTo>
                        <a:pt x="252" y="232"/>
                        <a:pt x="252" y="232"/>
                        <a:pt x="252" y="232"/>
                      </a:cubicBezTo>
                      <a:cubicBezTo>
                        <a:pt x="252" y="265"/>
                        <a:pt x="273" y="298"/>
                        <a:pt x="306" y="298"/>
                      </a:cubicBezTo>
                      <a:cubicBezTo>
                        <a:pt x="481" y="298"/>
                        <a:pt x="481" y="298"/>
                        <a:pt x="481" y="298"/>
                      </a:cubicBezTo>
                      <a:lnTo>
                        <a:pt x="481" y="618"/>
                      </a:lnTo>
                      <a:close/>
                      <a:moveTo>
                        <a:pt x="306" y="232"/>
                      </a:moveTo>
                      <a:cubicBezTo>
                        <a:pt x="306" y="55"/>
                        <a:pt x="306" y="55"/>
                        <a:pt x="306" y="55"/>
                      </a:cubicBezTo>
                      <a:cubicBezTo>
                        <a:pt x="481" y="232"/>
                        <a:pt x="481" y="232"/>
                        <a:pt x="481" y="232"/>
                      </a:cubicBezTo>
                      <a:cubicBezTo>
                        <a:pt x="306" y="232"/>
                        <a:pt x="306" y="232"/>
                        <a:pt x="306" y="23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/>
                  <a:endParaRPr lang="en-US" sz="1567" kern="0">
                    <a:solidFill>
                      <a:sysClr val="windowText" lastClr="000000"/>
                    </a:solidFill>
                  </a:endParaRPr>
                </a:p>
              </p:txBody>
            </p:sp>
          </p:grpSp>
          <p:sp>
            <p:nvSpPr>
              <p:cNvPr id="15" name="Freeform 27"/>
              <p:cNvSpPr>
                <a:spLocks noEditPoints="1"/>
              </p:cNvSpPr>
              <p:nvPr/>
            </p:nvSpPr>
            <p:spPr bwMode="auto">
              <a:xfrm>
                <a:off x="6540351" y="4668775"/>
                <a:ext cx="151834" cy="170689"/>
              </a:xfrm>
              <a:custGeom>
                <a:avLst/>
                <a:gdLst>
                  <a:gd name="T0" fmla="*/ 525 w 547"/>
                  <a:gd name="T1" fmla="*/ 188 h 684"/>
                  <a:gd name="T2" fmla="*/ 350 w 547"/>
                  <a:gd name="T3" fmla="*/ 22 h 684"/>
                  <a:gd name="T4" fmla="*/ 306 w 547"/>
                  <a:gd name="T5" fmla="*/ 0 h 684"/>
                  <a:gd name="T6" fmla="*/ 66 w 547"/>
                  <a:gd name="T7" fmla="*/ 0 h 684"/>
                  <a:gd name="T8" fmla="*/ 0 w 547"/>
                  <a:gd name="T9" fmla="*/ 55 h 684"/>
                  <a:gd name="T10" fmla="*/ 0 w 547"/>
                  <a:gd name="T11" fmla="*/ 618 h 684"/>
                  <a:gd name="T12" fmla="*/ 66 w 547"/>
                  <a:gd name="T13" fmla="*/ 684 h 684"/>
                  <a:gd name="T14" fmla="*/ 481 w 547"/>
                  <a:gd name="T15" fmla="*/ 684 h 684"/>
                  <a:gd name="T16" fmla="*/ 547 w 547"/>
                  <a:gd name="T17" fmla="*/ 618 h 684"/>
                  <a:gd name="T18" fmla="*/ 547 w 547"/>
                  <a:gd name="T19" fmla="*/ 232 h 684"/>
                  <a:gd name="T20" fmla="*/ 525 w 547"/>
                  <a:gd name="T21" fmla="*/ 188 h 684"/>
                  <a:gd name="T22" fmla="*/ 481 w 547"/>
                  <a:gd name="T23" fmla="*/ 618 h 684"/>
                  <a:gd name="T24" fmla="*/ 66 w 547"/>
                  <a:gd name="T25" fmla="*/ 618 h 684"/>
                  <a:gd name="T26" fmla="*/ 66 w 547"/>
                  <a:gd name="T27" fmla="*/ 55 h 684"/>
                  <a:gd name="T28" fmla="*/ 252 w 547"/>
                  <a:gd name="T29" fmla="*/ 55 h 684"/>
                  <a:gd name="T30" fmla="*/ 252 w 547"/>
                  <a:gd name="T31" fmla="*/ 232 h 684"/>
                  <a:gd name="T32" fmla="*/ 306 w 547"/>
                  <a:gd name="T33" fmla="*/ 298 h 684"/>
                  <a:gd name="T34" fmla="*/ 481 w 547"/>
                  <a:gd name="T35" fmla="*/ 298 h 684"/>
                  <a:gd name="T36" fmla="*/ 481 w 547"/>
                  <a:gd name="T37" fmla="*/ 618 h 684"/>
                  <a:gd name="T38" fmla="*/ 306 w 547"/>
                  <a:gd name="T39" fmla="*/ 232 h 684"/>
                  <a:gd name="T40" fmla="*/ 306 w 547"/>
                  <a:gd name="T41" fmla="*/ 55 h 684"/>
                  <a:gd name="T42" fmla="*/ 481 w 547"/>
                  <a:gd name="T43" fmla="*/ 232 h 684"/>
                  <a:gd name="T44" fmla="*/ 306 w 547"/>
                  <a:gd name="T45" fmla="*/ 232 h 6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47" h="684">
                    <a:moveTo>
                      <a:pt x="525" y="188"/>
                    </a:moveTo>
                    <a:cubicBezTo>
                      <a:pt x="350" y="22"/>
                      <a:pt x="350" y="22"/>
                      <a:pt x="350" y="22"/>
                    </a:cubicBezTo>
                    <a:cubicBezTo>
                      <a:pt x="330" y="2"/>
                      <a:pt x="328" y="0"/>
                      <a:pt x="30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33" y="0"/>
                      <a:pt x="0" y="22"/>
                      <a:pt x="0" y="55"/>
                    </a:cubicBezTo>
                    <a:cubicBezTo>
                      <a:pt x="0" y="618"/>
                      <a:pt x="0" y="618"/>
                      <a:pt x="0" y="618"/>
                    </a:cubicBezTo>
                    <a:cubicBezTo>
                      <a:pt x="0" y="651"/>
                      <a:pt x="33" y="684"/>
                      <a:pt x="66" y="684"/>
                    </a:cubicBezTo>
                    <a:cubicBezTo>
                      <a:pt x="481" y="684"/>
                      <a:pt x="481" y="684"/>
                      <a:pt x="481" y="684"/>
                    </a:cubicBezTo>
                    <a:cubicBezTo>
                      <a:pt x="514" y="684"/>
                      <a:pt x="547" y="651"/>
                      <a:pt x="547" y="618"/>
                    </a:cubicBezTo>
                    <a:cubicBezTo>
                      <a:pt x="547" y="232"/>
                      <a:pt x="547" y="232"/>
                      <a:pt x="547" y="232"/>
                    </a:cubicBezTo>
                    <a:cubicBezTo>
                      <a:pt x="547" y="207"/>
                      <a:pt x="525" y="188"/>
                      <a:pt x="525" y="188"/>
                    </a:cubicBezTo>
                    <a:close/>
                    <a:moveTo>
                      <a:pt x="481" y="618"/>
                    </a:moveTo>
                    <a:cubicBezTo>
                      <a:pt x="66" y="618"/>
                      <a:pt x="66" y="618"/>
                      <a:pt x="66" y="618"/>
                    </a:cubicBezTo>
                    <a:cubicBezTo>
                      <a:pt x="66" y="55"/>
                      <a:pt x="66" y="55"/>
                      <a:pt x="66" y="55"/>
                    </a:cubicBezTo>
                    <a:cubicBezTo>
                      <a:pt x="252" y="55"/>
                      <a:pt x="252" y="55"/>
                      <a:pt x="252" y="55"/>
                    </a:cubicBezTo>
                    <a:cubicBezTo>
                      <a:pt x="252" y="232"/>
                      <a:pt x="252" y="232"/>
                      <a:pt x="252" y="232"/>
                    </a:cubicBezTo>
                    <a:cubicBezTo>
                      <a:pt x="252" y="265"/>
                      <a:pt x="273" y="298"/>
                      <a:pt x="306" y="298"/>
                    </a:cubicBezTo>
                    <a:cubicBezTo>
                      <a:pt x="481" y="298"/>
                      <a:pt x="481" y="298"/>
                      <a:pt x="481" y="298"/>
                    </a:cubicBezTo>
                    <a:lnTo>
                      <a:pt x="481" y="618"/>
                    </a:lnTo>
                    <a:close/>
                    <a:moveTo>
                      <a:pt x="306" y="232"/>
                    </a:moveTo>
                    <a:cubicBezTo>
                      <a:pt x="306" y="55"/>
                      <a:pt x="306" y="55"/>
                      <a:pt x="306" y="55"/>
                    </a:cubicBezTo>
                    <a:cubicBezTo>
                      <a:pt x="481" y="232"/>
                      <a:pt x="481" y="232"/>
                      <a:pt x="481" y="232"/>
                    </a:cubicBezTo>
                    <a:cubicBezTo>
                      <a:pt x="306" y="232"/>
                      <a:pt x="306" y="232"/>
                      <a:pt x="306" y="2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sz="1567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6" name="Freeform 27"/>
              <p:cNvSpPr>
                <a:spLocks noEditPoints="1"/>
              </p:cNvSpPr>
              <p:nvPr/>
            </p:nvSpPr>
            <p:spPr bwMode="auto">
              <a:xfrm>
                <a:off x="6740252" y="4876195"/>
                <a:ext cx="151834" cy="170689"/>
              </a:xfrm>
              <a:custGeom>
                <a:avLst/>
                <a:gdLst>
                  <a:gd name="T0" fmla="*/ 525 w 547"/>
                  <a:gd name="T1" fmla="*/ 188 h 684"/>
                  <a:gd name="T2" fmla="*/ 350 w 547"/>
                  <a:gd name="T3" fmla="*/ 22 h 684"/>
                  <a:gd name="T4" fmla="*/ 306 w 547"/>
                  <a:gd name="T5" fmla="*/ 0 h 684"/>
                  <a:gd name="T6" fmla="*/ 66 w 547"/>
                  <a:gd name="T7" fmla="*/ 0 h 684"/>
                  <a:gd name="T8" fmla="*/ 0 w 547"/>
                  <a:gd name="T9" fmla="*/ 55 h 684"/>
                  <a:gd name="T10" fmla="*/ 0 w 547"/>
                  <a:gd name="T11" fmla="*/ 618 h 684"/>
                  <a:gd name="T12" fmla="*/ 66 w 547"/>
                  <a:gd name="T13" fmla="*/ 684 h 684"/>
                  <a:gd name="T14" fmla="*/ 481 w 547"/>
                  <a:gd name="T15" fmla="*/ 684 h 684"/>
                  <a:gd name="T16" fmla="*/ 547 w 547"/>
                  <a:gd name="T17" fmla="*/ 618 h 684"/>
                  <a:gd name="T18" fmla="*/ 547 w 547"/>
                  <a:gd name="T19" fmla="*/ 232 h 684"/>
                  <a:gd name="T20" fmla="*/ 525 w 547"/>
                  <a:gd name="T21" fmla="*/ 188 h 684"/>
                  <a:gd name="T22" fmla="*/ 481 w 547"/>
                  <a:gd name="T23" fmla="*/ 618 h 684"/>
                  <a:gd name="T24" fmla="*/ 66 w 547"/>
                  <a:gd name="T25" fmla="*/ 618 h 684"/>
                  <a:gd name="T26" fmla="*/ 66 w 547"/>
                  <a:gd name="T27" fmla="*/ 55 h 684"/>
                  <a:gd name="T28" fmla="*/ 252 w 547"/>
                  <a:gd name="T29" fmla="*/ 55 h 684"/>
                  <a:gd name="T30" fmla="*/ 252 w 547"/>
                  <a:gd name="T31" fmla="*/ 232 h 684"/>
                  <a:gd name="T32" fmla="*/ 306 w 547"/>
                  <a:gd name="T33" fmla="*/ 298 h 684"/>
                  <a:gd name="T34" fmla="*/ 481 w 547"/>
                  <a:gd name="T35" fmla="*/ 298 h 684"/>
                  <a:gd name="T36" fmla="*/ 481 w 547"/>
                  <a:gd name="T37" fmla="*/ 618 h 684"/>
                  <a:gd name="T38" fmla="*/ 306 w 547"/>
                  <a:gd name="T39" fmla="*/ 232 h 684"/>
                  <a:gd name="T40" fmla="*/ 306 w 547"/>
                  <a:gd name="T41" fmla="*/ 55 h 684"/>
                  <a:gd name="T42" fmla="*/ 481 w 547"/>
                  <a:gd name="T43" fmla="*/ 232 h 684"/>
                  <a:gd name="T44" fmla="*/ 306 w 547"/>
                  <a:gd name="T45" fmla="*/ 232 h 6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47" h="684">
                    <a:moveTo>
                      <a:pt x="525" y="188"/>
                    </a:moveTo>
                    <a:cubicBezTo>
                      <a:pt x="350" y="22"/>
                      <a:pt x="350" y="22"/>
                      <a:pt x="350" y="22"/>
                    </a:cubicBezTo>
                    <a:cubicBezTo>
                      <a:pt x="330" y="2"/>
                      <a:pt x="328" y="0"/>
                      <a:pt x="30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33" y="0"/>
                      <a:pt x="0" y="22"/>
                      <a:pt x="0" y="55"/>
                    </a:cubicBezTo>
                    <a:cubicBezTo>
                      <a:pt x="0" y="618"/>
                      <a:pt x="0" y="618"/>
                      <a:pt x="0" y="618"/>
                    </a:cubicBezTo>
                    <a:cubicBezTo>
                      <a:pt x="0" y="651"/>
                      <a:pt x="33" y="684"/>
                      <a:pt x="66" y="684"/>
                    </a:cubicBezTo>
                    <a:cubicBezTo>
                      <a:pt x="481" y="684"/>
                      <a:pt x="481" y="684"/>
                      <a:pt x="481" y="684"/>
                    </a:cubicBezTo>
                    <a:cubicBezTo>
                      <a:pt x="514" y="684"/>
                      <a:pt x="547" y="651"/>
                      <a:pt x="547" y="618"/>
                    </a:cubicBezTo>
                    <a:cubicBezTo>
                      <a:pt x="547" y="232"/>
                      <a:pt x="547" y="232"/>
                      <a:pt x="547" y="232"/>
                    </a:cubicBezTo>
                    <a:cubicBezTo>
                      <a:pt x="547" y="207"/>
                      <a:pt x="525" y="188"/>
                      <a:pt x="525" y="188"/>
                    </a:cubicBezTo>
                    <a:close/>
                    <a:moveTo>
                      <a:pt x="481" y="618"/>
                    </a:moveTo>
                    <a:cubicBezTo>
                      <a:pt x="66" y="618"/>
                      <a:pt x="66" y="618"/>
                      <a:pt x="66" y="618"/>
                    </a:cubicBezTo>
                    <a:cubicBezTo>
                      <a:pt x="66" y="55"/>
                      <a:pt x="66" y="55"/>
                      <a:pt x="66" y="55"/>
                    </a:cubicBezTo>
                    <a:cubicBezTo>
                      <a:pt x="252" y="55"/>
                      <a:pt x="252" y="55"/>
                      <a:pt x="252" y="55"/>
                    </a:cubicBezTo>
                    <a:cubicBezTo>
                      <a:pt x="252" y="232"/>
                      <a:pt x="252" y="232"/>
                      <a:pt x="252" y="232"/>
                    </a:cubicBezTo>
                    <a:cubicBezTo>
                      <a:pt x="252" y="265"/>
                      <a:pt x="273" y="298"/>
                      <a:pt x="306" y="298"/>
                    </a:cubicBezTo>
                    <a:cubicBezTo>
                      <a:pt x="481" y="298"/>
                      <a:pt x="481" y="298"/>
                      <a:pt x="481" y="298"/>
                    </a:cubicBezTo>
                    <a:lnTo>
                      <a:pt x="481" y="618"/>
                    </a:lnTo>
                    <a:close/>
                    <a:moveTo>
                      <a:pt x="306" y="232"/>
                    </a:moveTo>
                    <a:cubicBezTo>
                      <a:pt x="306" y="55"/>
                      <a:pt x="306" y="55"/>
                      <a:pt x="306" y="55"/>
                    </a:cubicBezTo>
                    <a:cubicBezTo>
                      <a:pt x="481" y="232"/>
                      <a:pt x="481" y="232"/>
                      <a:pt x="481" y="232"/>
                    </a:cubicBezTo>
                    <a:cubicBezTo>
                      <a:pt x="306" y="232"/>
                      <a:pt x="306" y="232"/>
                      <a:pt x="306" y="2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sz="1567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7" name="Freeform 27"/>
              <p:cNvSpPr>
                <a:spLocks noEditPoints="1"/>
              </p:cNvSpPr>
              <p:nvPr/>
            </p:nvSpPr>
            <p:spPr bwMode="auto">
              <a:xfrm>
                <a:off x="7546930" y="4668775"/>
                <a:ext cx="151834" cy="170689"/>
              </a:xfrm>
              <a:custGeom>
                <a:avLst/>
                <a:gdLst>
                  <a:gd name="T0" fmla="*/ 525 w 547"/>
                  <a:gd name="T1" fmla="*/ 188 h 684"/>
                  <a:gd name="T2" fmla="*/ 350 w 547"/>
                  <a:gd name="T3" fmla="*/ 22 h 684"/>
                  <a:gd name="T4" fmla="*/ 306 w 547"/>
                  <a:gd name="T5" fmla="*/ 0 h 684"/>
                  <a:gd name="T6" fmla="*/ 66 w 547"/>
                  <a:gd name="T7" fmla="*/ 0 h 684"/>
                  <a:gd name="T8" fmla="*/ 0 w 547"/>
                  <a:gd name="T9" fmla="*/ 55 h 684"/>
                  <a:gd name="T10" fmla="*/ 0 w 547"/>
                  <a:gd name="T11" fmla="*/ 618 h 684"/>
                  <a:gd name="T12" fmla="*/ 66 w 547"/>
                  <a:gd name="T13" fmla="*/ 684 h 684"/>
                  <a:gd name="T14" fmla="*/ 481 w 547"/>
                  <a:gd name="T15" fmla="*/ 684 h 684"/>
                  <a:gd name="T16" fmla="*/ 547 w 547"/>
                  <a:gd name="T17" fmla="*/ 618 h 684"/>
                  <a:gd name="T18" fmla="*/ 547 w 547"/>
                  <a:gd name="T19" fmla="*/ 232 h 684"/>
                  <a:gd name="T20" fmla="*/ 525 w 547"/>
                  <a:gd name="T21" fmla="*/ 188 h 684"/>
                  <a:gd name="T22" fmla="*/ 481 w 547"/>
                  <a:gd name="T23" fmla="*/ 618 h 684"/>
                  <a:gd name="T24" fmla="*/ 66 w 547"/>
                  <a:gd name="T25" fmla="*/ 618 h 684"/>
                  <a:gd name="T26" fmla="*/ 66 w 547"/>
                  <a:gd name="T27" fmla="*/ 55 h 684"/>
                  <a:gd name="T28" fmla="*/ 252 w 547"/>
                  <a:gd name="T29" fmla="*/ 55 h 684"/>
                  <a:gd name="T30" fmla="*/ 252 w 547"/>
                  <a:gd name="T31" fmla="*/ 232 h 684"/>
                  <a:gd name="T32" fmla="*/ 306 w 547"/>
                  <a:gd name="T33" fmla="*/ 298 h 684"/>
                  <a:gd name="T34" fmla="*/ 481 w 547"/>
                  <a:gd name="T35" fmla="*/ 298 h 684"/>
                  <a:gd name="T36" fmla="*/ 481 w 547"/>
                  <a:gd name="T37" fmla="*/ 618 h 684"/>
                  <a:gd name="T38" fmla="*/ 306 w 547"/>
                  <a:gd name="T39" fmla="*/ 232 h 684"/>
                  <a:gd name="T40" fmla="*/ 306 w 547"/>
                  <a:gd name="T41" fmla="*/ 55 h 684"/>
                  <a:gd name="T42" fmla="*/ 481 w 547"/>
                  <a:gd name="T43" fmla="*/ 232 h 684"/>
                  <a:gd name="T44" fmla="*/ 306 w 547"/>
                  <a:gd name="T45" fmla="*/ 232 h 6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47" h="684">
                    <a:moveTo>
                      <a:pt x="525" y="188"/>
                    </a:moveTo>
                    <a:cubicBezTo>
                      <a:pt x="350" y="22"/>
                      <a:pt x="350" y="22"/>
                      <a:pt x="350" y="22"/>
                    </a:cubicBezTo>
                    <a:cubicBezTo>
                      <a:pt x="330" y="2"/>
                      <a:pt x="328" y="0"/>
                      <a:pt x="30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33" y="0"/>
                      <a:pt x="0" y="22"/>
                      <a:pt x="0" y="55"/>
                    </a:cubicBezTo>
                    <a:cubicBezTo>
                      <a:pt x="0" y="618"/>
                      <a:pt x="0" y="618"/>
                      <a:pt x="0" y="618"/>
                    </a:cubicBezTo>
                    <a:cubicBezTo>
                      <a:pt x="0" y="651"/>
                      <a:pt x="33" y="684"/>
                      <a:pt x="66" y="684"/>
                    </a:cubicBezTo>
                    <a:cubicBezTo>
                      <a:pt x="481" y="684"/>
                      <a:pt x="481" y="684"/>
                      <a:pt x="481" y="684"/>
                    </a:cubicBezTo>
                    <a:cubicBezTo>
                      <a:pt x="514" y="684"/>
                      <a:pt x="547" y="651"/>
                      <a:pt x="547" y="618"/>
                    </a:cubicBezTo>
                    <a:cubicBezTo>
                      <a:pt x="547" y="232"/>
                      <a:pt x="547" y="232"/>
                      <a:pt x="547" y="232"/>
                    </a:cubicBezTo>
                    <a:cubicBezTo>
                      <a:pt x="547" y="207"/>
                      <a:pt x="525" y="188"/>
                      <a:pt x="525" y="188"/>
                    </a:cubicBezTo>
                    <a:close/>
                    <a:moveTo>
                      <a:pt x="481" y="618"/>
                    </a:moveTo>
                    <a:cubicBezTo>
                      <a:pt x="66" y="618"/>
                      <a:pt x="66" y="618"/>
                      <a:pt x="66" y="618"/>
                    </a:cubicBezTo>
                    <a:cubicBezTo>
                      <a:pt x="66" y="55"/>
                      <a:pt x="66" y="55"/>
                      <a:pt x="66" y="55"/>
                    </a:cubicBezTo>
                    <a:cubicBezTo>
                      <a:pt x="252" y="55"/>
                      <a:pt x="252" y="55"/>
                      <a:pt x="252" y="55"/>
                    </a:cubicBezTo>
                    <a:cubicBezTo>
                      <a:pt x="252" y="232"/>
                      <a:pt x="252" y="232"/>
                      <a:pt x="252" y="232"/>
                    </a:cubicBezTo>
                    <a:cubicBezTo>
                      <a:pt x="252" y="265"/>
                      <a:pt x="273" y="298"/>
                      <a:pt x="306" y="298"/>
                    </a:cubicBezTo>
                    <a:cubicBezTo>
                      <a:pt x="481" y="298"/>
                      <a:pt x="481" y="298"/>
                      <a:pt x="481" y="298"/>
                    </a:cubicBezTo>
                    <a:lnTo>
                      <a:pt x="481" y="618"/>
                    </a:lnTo>
                    <a:close/>
                    <a:moveTo>
                      <a:pt x="306" y="232"/>
                    </a:moveTo>
                    <a:cubicBezTo>
                      <a:pt x="306" y="55"/>
                      <a:pt x="306" y="55"/>
                      <a:pt x="306" y="55"/>
                    </a:cubicBezTo>
                    <a:cubicBezTo>
                      <a:pt x="481" y="232"/>
                      <a:pt x="481" y="232"/>
                      <a:pt x="481" y="232"/>
                    </a:cubicBezTo>
                    <a:cubicBezTo>
                      <a:pt x="306" y="232"/>
                      <a:pt x="306" y="232"/>
                      <a:pt x="306" y="2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sz="1567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8" name="Freeform 27"/>
              <p:cNvSpPr>
                <a:spLocks noEditPoints="1"/>
              </p:cNvSpPr>
              <p:nvPr/>
            </p:nvSpPr>
            <p:spPr bwMode="auto">
              <a:xfrm>
                <a:off x="7746830" y="4668775"/>
                <a:ext cx="151834" cy="170689"/>
              </a:xfrm>
              <a:custGeom>
                <a:avLst/>
                <a:gdLst>
                  <a:gd name="T0" fmla="*/ 525 w 547"/>
                  <a:gd name="T1" fmla="*/ 188 h 684"/>
                  <a:gd name="T2" fmla="*/ 350 w 547"/>
                  <a:gd name="T3" fmla="*/ 22 h 684"/>
                  <a:gd name="T4" fmla="*/ 306 w 547"/>
                  <a:gd name="T5" fmla="*/ 0 h 684"/>
                  <a:gd name="T6" fmla="*/ 66 w 547"/>
                  <a:gd name="T7" fmla="*/ 0 h 684"/>
                  <a:gd name="T8" fmla="*/ 0 w 547"/>
                  <a:gd name="T9" fmla="*/ 55 h 684"/>
                  <a:gd name="T10" fmla="*/ 0 w 547"/>
                  <a:gd name="T11" fmla="*/ 618 h 684"/>
                  <a:gd name="T12" fmla="*/ 66 w 547"/>
                  <a:gd name="T13" fmla="*/ 684 h 684"/>
                  <a:gd name="T14" fmla="*/ 481 w 547"/>
                  <a:gd name="T15" fmla="*/ 684 h 684"/>
                  <a:gd name="T16" fmla="*/ 547 w 547"/>
                  <a:gd name="T17" fmla="*/ 618 h 684"/>
                  <a:gd name="T18" fmla="*/ 547 w 547"/>
                  <a:gd name="T19" fmla="*/ 232 h 684"/>
                  <a:gd name="T20" fmla="*/ 525 w 547"/>
                  <a:gd name="T21" fmla="*/ 188 h 684"/>
                  <a:gd name="T22" fmla="*/ 481 w 547"/>
                  <a:gd name="T23" fmla="*/ 618 h 684"/>
                  <a:gd name="T24" fmla="*/ 66 w 547"/>
                  <a:gd name="T25" fmla="*/ 618 h 684"/>
                  <a:gd name="T26" fmla="*/ 66 w 547"/>
                  <a:gd name="T27" fmla="*/ 55 h 684"/>
                  <a:gd name="T28" fmla="*/ 252 w 547"/>
                  <a:gd name="T29" fmla="*/ 55 h 684"/>
                  <a:gd name="T30" fmla="*/ 252 w 547"/>
                  <a:gd name="T31" fmla="*/ 232 h 684"/>
                  <a:gd name="T32" fmla="*/ 306 w 547"/>
                  <a:gd name="T33" fmla="*/ 298 h 684"/>
                  <a:gd name="T34" fmla="*/ 481 w 547"/>
                  <a:gd name="T35" fmla="*/ 298 h 684"/>
                  <a:gd name="T36" fmla="*/ 481 w 547"/>
                  <a:gd name="T37" fmla="*/ 618 h 684"/>
                  <a:gd name="T38" fmla="*/ 306 w 547"/>
                  <a:gd name="T39" fmla="*/ 232 h 684"/>
                  <a:gd name="T40" fmla="*/ 306 w 547"/>
                  <a:gd name="T41" fmla="*/ 55 h 684"/>
                  <a:gd name="T42" fmla="*/ 481 w 547"/>
                  <a:gd name="T43" fmla="*/ 232 h 684"/>
                  <a:gd name="T44" fmla="*/ 306 w 547"/>
                  <a:gd name="T45" fmla="*/ 232 h 6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47" h="684">
                    <a:moveTo>
                      <a:pt x="525" y="188"/>
                    </a:moveTo>
                    <a:cubicBezTo>
                      <a:pt x="350" y="22"/>
                      <a:pt x="350" y="22"/>
                      <a:pt x="350" y="22"/>
                    </a:cubicBezTo>
                    <a:cubicBezTo>
                      <a:pt x="330" y="2"/>
                      <a:pt x="328" y="0"/>
                      <a:pt x="30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33" y="0"/>
                      <a:pt x="0" y="22"/>
                      <a:pt x="0" y="55"/>
                    </a:cubicBezTo>
                    <a:cubicBezTo>
                      <a:pt x="0" y="618"/>
                      <a:pt x="0" y="618"/>
                      <a:pt x="0" y="618"/>
                    </a:cubicBezTo>
                    <a:cubicBezTo>
                      <a:pt x="0" y="651"/>
                      <a:pt x="33" y="684"/>
                      <a:pt x="66" y="684"/>
                    </a:cubicBezTo>
                    <a:cubicBezTo>
                      <a:pt x="481" y="684"/>
                      <a:pt x="481" y="684"/>
                      <a:pt x="481" y="684"/>
                    </a:cubicBezTo>
                    <a:cubicBezTo>
                      <a:pt x="514" y="684"/>
                      <a:pt x="547" y="651"/>
                      <a:pt x="547" y="618"/>
                    </a:cubicBezTo>
                    <a:cubicBezTo>
                      <a:pt x="547" y="232"/>
                      <a:pt x="547" y="232"/>
                      <a:pt x="547" y="232"/>
                    </a:cubicBezTo>
                    <a:cubicBezTo>
                      <a:pt x="547" y="207"/>
                      <a:pt x="525" y="188"/>
                      <a:pt x="525" y="188"/>
                    </a:cubicBezTo>
                    <a:close/>
                    <a:moveTo>
                      <a:pt x="481" y="618"/>
                    </a:moveTo>
                    <a:cubicBezTo>
                      <a:pt x="66" y="618"/>
                      <a:pt x="66" y="618"/>
                      <a:pt x="66" y="618"/>
                    </a:cubicBezTo>
                    <a:cubicBezTo>
                      <a:pt x="66" y="55"/>
                      <a:pt x="66" y="55"/>
                      <a:pt x="66" y="55"/>
                    </a:cubicBezTo>
                    <a:cubicBezTo>
                      <a:pt x="252" y="55"/>
                      <a:pt x="252" y="55"/>
                      <a:pt x="252" y="55"/>
                    </a:cubicBezTo>
                    <a:cubicBezTo>
                      <a:pt x="252" y="232"/>
                      <a:pt x="252" y="232"/>
                      <a:pt x="252" y="232"/>
                    </a:cubicBezTo>
                    <a:cubicBezTo>
                      <a:pt x="252" y="265"/>
                      <a:pt x="273" y="298"/>
                      <a:pt x="306" y="298"/>
                    </a:cubicBezTo>
                    <a:cubicBezTo>
                      <a:pt x="481" y="298"/>
                      <a:pt x="481" y="298"/>
                      <a:pt x="481" y="298"/>
                    </a:cubicBezTo>
                    <a:lnTo>
                      <a:pt x="481" y="618"/>
                    </a:lnTo>
                    <a:close/>
                    <a:moveTo>
                      <a:pt x="306" y="232"/>
                    </a:moveTo>
                    <a:cubicBezTo>
                      <a:pt x="306" y="55"/>
                      <a:pt x="306" y="55"/>
                      <a:pt x="306" y="55"/>
                    </a:cubicBezTo>
                    <a:cubicBezTo>
                      <a:pt x="481" y="232"/>
                      <a:pt x="481" y="232"/>
                      <a:pt x="481" y="232"/>
                    </a:cubicBezTo>
                    <a:cubicBezTo>
                      <a:pt x="306" y="232"/>
                      <a:pt x="306" y="232"/>
                      <a:pt x="306" y="2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sz="1567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9" name="Freeform 27"/>
              <p:cNvSpPr>
                <a:spLocks noEditPoints="1"/>
              </p:cNvSpPr>
              <p:nvPr/>
            </p:nvSpPr>
            <p:spPr bwMode="auto">
              <a:xfrm>
                <a:off x="7746830" y="4876195"/>
                <a:ext cx="151834" cy="170689"/>
              </a:xfrm>
              <a:custGeom>
                <a:avLst/>
                <a:gdLst>
                  <a:gd name="T0" fmla="*/ 525 w 547"/>
                  <a:gd name="T1" fmla="*/ 188 h 684"/>
                  <a:gd name="T2" fmla="*/ 350 w 547"/>
                  <a:gd name="T3" fmla="*/ 22 h 684"/>
                  <a:gd name="T4" fmla="*/ 306 w 547"/>
                  <a:gd name="T5" fmla="*/ 0 h 684"/>
                  <a:gd name="T6" fmla="*/ 66 w 547"/>
                  <a:gd name="T7" fmla="*/ 0 h 684"/>
                  <a:gd name="T8" fmla="*/ 0 w 547"/>
                  <a:gd name="T9" fmla="*/ 55 h 684"/>
                  <a:gd name="T10" fmla="*/ 0 w 547"/>
                  <a:gd name="T11" fmla="*/ 618 h 684"/>
                  <a:gd name="T12" fmla="*/ 66 w 547"/>
                  <a:gd name="T13" fmla="*/ 684 h 684"/>
                  <a:gd name="T14" fmla="*/ 481 w 547"/>
                  <a:gd name="T15" fmla="*/ 684 h 684"/>
                  <a:gd name="T16" fmla="*/ 547 w 547"/>
                  <a:gd name="T17" fmla="*/ 618 h 684"/>
                  <a:gd name="T18" fmla="*/ 547 w 547"/>
                  <a:gd name="T19" fmla="*/ 232 h 684"/>
                  <a:gd name="T20" fmla="*/ 525 w 547"/>
                  <a:gd name="T21" fmla="*/ 188 h 684"/>
                  <a:gd name="T22" fmla="*/ 481 w 547"/>
                  <a:gd name="T23" fmla="*/ 618 h 684"/>
                  <a:gd name="T24" fmla="*/ 66 w 547"/>
                  <a:gd name="T25" fmla="*/ 618 h 684"/>
                  <a:gd name="T26" fmla="*/ 66 w 547"/>
                  <a:gd name="T27" fmla="*/ 55 h 684"/>
                  <a:gd name="T28" fmla="*/ 252 w 547"/>
                  <a:gd name="T29" fmla="*/ 55 h 684"/>
                  <a:gd name="T30" fmla="*/ 252 w 547"/>
                  <a:gd name="T31" fmla="*/ 232 h 684"/>
                  <a:gd name="T32" fmla="*/ 306 w 547"/>
                  <a:gd name="T33" fmla="*/ 298 h 684"/>
                  <a:gd name="T34" fmla="*/ 481 w 547"/>
                  <a:gd name="T35" fmla="*/ 298 h 684"/>
                  <a:gd name="T36" fmla="*/ 481 w 547"/>
                  <a:gd name="T37" fmla="*/ 618 h 684"/>
                  <a:gd name="T38" fmla="*/ 306 w 547"/>
                  <a:gd name="T39" fmla="*/ 232 h 684"/>
                  <a:gd name="T40" fmla="*/ 306 w 547"/>
                  <a:gd name="T41" fmla="*/ 55 h 684"/>
                  <a:gd name="T42" fmla="*/ 481 w 547"/>
                  <a:gd name="T43" fmla="*/ 232 h 684"/>
                  <a:gd name="T44" fmla="*/ 306 w 547"/>
                  <a:gd name="T45" fmla="*/ 232 h 6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47" h="684">
                    <a:moveTo>
                      <a:pt x="525" y="188"/>
                    </a:moveTo>
                    <a:cubicBezTo>
                      <a:pt x="350" y="22"/>
                      <a:pt x="350" y="22"/>
                      <a:pt x="350" y="22"/>
                    </a:cubicBezTo>
                    <a:cubicBezTo>
                      <a:pt x="330" y="2"/>
                      <a:pt x="328" y="0"/>
                      <a:pt x="30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33" y="0"/>
                      <a:pt x="0" y="22"/>
                      <a:pt x="0" y="55"/>
                    </a:cubicBezTo>
                    <a:cubicBezTo>
                      <a:pt x="0" y="618"/>
                      <a:pt x="0" y="618"/>
                      <a:pt x="0" y="618"/>
                    </a:cubicBezTo>
                    <a:cubicBezTo>
                      <a:pt x="0" y="651"/>
                      <a:pt x="33" y="684"/>
                      <a:pt x="66" y="684"/>
                    </a:cubicBezTo>
                    <a:cubicBezTo>
                      <a:pt x="481" y="684"/>
                      <a:pt x="481" y="684"/>
                      <a:pt x="481" y="684"/>
                    </a:cubicBezTo>
                    <a:cubicBezTo>
                      <a:pt x="514" y="684"/>
                      <a:pt x="547" y="651"/>
                      <a:pt x="547" y="618"/>
                    </a:cubicBezTo>
                    <a:cubicBezTo>
                      <a:pt x="547" y="232"/>
                      <a:pt x="547" y="232"/>
                      <a:pt x="547" y="232"/>
                    </a:cubicBezTo>
                    <a:cubicBezTo>
                      <a:pt x="547" y="207"/>
                      <a:pt x="525" y="188"/>
                      <a:pt x="525" y="188"/>
                    </a:cubicBezTo>
                    <a:close/>
                    <a:moveTo>
                      <a:pt x="481" y="618"/>
                    </a:moveTo>
                    <a:cubicBezTo>
                      <a:pt x="66" y="618"/>
                      <a:pt x="66" y="618"/>
                      <a:pt x="66" y="618"/>
                    </a:cubicBezTo>
                    <a:cubicBezTo>
                      <a:pt x="66" y="55"/>
                      <a:pt x="66" y="55"/>
                      <a:pt x="66" y="55"/>
                    </a:cubicBezTo>
                    <a:cubicBezTo>
                      <a:pt x="252" y="55"/>
                      <a:pt x="252" y="55"/>
                      <a:pt x="252" y="55"/>
                    </a:cubicBezTo>
                    <a:cubicBezTo>
                      <a:pt x="252" y="232"/>
                      <a:pt x="252" y="232"/>
                      <a:pt x="252" y="232"/>
                    </a:cubicBezTo>
                    <a:cubicBezTo>
                      <a:pt x="252" y="265"/>
                      <a:pt x="273" y="298"/>
                      <a:pt x="306" y="298"/>
                    </a:cubicBezTo>
                    <a:cubicBezTo>
                      <a:pt x="481" y="298"/>
                      <a:pt x="481" y="298"/>
                      <a:pt x="481" y="298"/>
                    </a:cubicBezTo>
                    <a:lnTo>
                      <a:pt x="481" y="618"/>
                    </a:lnTo>
                    <a:close/>
                    <a:moveTo>
                      <a:pt x="306" y="232"/>
                    </a:moveTo>
                    <a:cubicBezTo>
                      <a:pt x="306" y="55"/>
                      <a:pt x="306" y="55"/>
                      <a:pt x="306" y="55"/>
                    </a:cubicBezTo>
                    <a:cubicBezTo>
                      <a:pt x="481" y="232"/>
                      <a:pt x="481" y="232"/>
                      <a:pt x="481" y="232"/>
                    </a:cubicBezTo>
                    <a:cubicBezTo>
                      <a:pt x="306" y="232"/>
                      <a:pt x="306" y="232"/>
                      <a:pt x="306" y="2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sz="1567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0" name="Freeform 27"/>
              <p:cNvSpPr>
                <a:spLocks noEditPoints="1"/>
              </p:cNvSpPr>
              <p:nvPr/>
            </p:nvSpPr>
            <p:spPr bwMode="auto">
              <a:xfrm>
                <a:off x="6540351" y="5683781"/>
                <a:ext cx="151834" cy="170689"/>
              </a:xfrm>
              <a:custGeom>
                <a:avLst/>
                <a:gdLst>
                  <a:gd name="T0" fmla="*/ 525 w 547"/>
                  <a:gd name="T1" fmla="*/ 188 h 684"/>
                  <a:gd name="T2" fmla="*/ 350 w 547"/>
                  <a:gd name="T3" fmla="*/ 22 h 684"/>
                  <a:gd name="T4" fmla="*/ 306 w 547"/>
                  <a:gd name="T5" fmla="*/ 0 h 684"/>
                  <a:gd name="T6" fmla="*/ 66 w 547"/>
                  <a:gd name="T7" fmla="*/ 0 h 684"/>
                  <a:gd name="T8" fmla="*/ 0 w 547"/>
                  <a:gd name="T9" fmla="*/ 55 h 684"/>
                  <a:gd name="T10" fmla="*/ 0 w 547"/>
                  <a:gd name="T11" fmla="*/ 618 h 684"/>
                  <a:gd name="T12" fmla="*/ 66 w 547"/>
                  <a:gd name="T13" fmla="*/ 684 h 684"/>
                  <a:gd name="T14" fmla="*/ 481 w 547"/>
                  <a:gd name="T15" fmla="*/ 684 h 684"/>
                  <a:gd name="T16" fmla="*/ 547 w 547"/>
                  <a:gd name="T17" fmla="*/ 618 h 684"/>
                  <a:gd name="T18" fmla="*/ 547 w 547"/>
                  <a:gd name="T19" fmla="*/ 232 h 684"/>
                  <a:gd name="T20" fmla="*/ 525 w 547"/>
                  <a:gd name="T21" fmla="*/ 188 h 684"/>
                  <a:gd name="T22" fmla="*/ 481 w 547"/>
                  <a:gd name="T23" fmla="*/ 618 h 684"/>
                  <a:gd name="T24" fmla="*/ 66 w 547"/>
                  <a:gd name="T25" fmla="*/ 618 h 684"/>
                  <a:gd name="T26" fmla="*/ 66 w 547"/>
                  <a:gd name="T27" fmla="*/ 55 h 684"/>
                  <a:gd name="T28" fmla="*/ 252 w 547"/>
                  <a:gd name="T29" fmla="*/ 55 h 684"/>
                  <a:gd name="T30" fmla="*/ 252 w 547"/>
                  <a:gd name="T31" fmla="*/ 232 h 684"/>
                  <a:gd name="T32" fmla="*/ 306 w 547"/>
                  <a:gd name="T33" fmla="*/ 298 h 684"/>
                  <a:gd name="T34" fmla="*/ 481 w 547"/>
                  <a:gd name="T35" fmla="*/ 298 h 684"/>
                  <a:gd name="T36" fmla="*/ 481 w 547"/>
                  <a:gd name="T37" fmla="*/ 618 h 684"/>
                  <a:gd name="T38" fmla="*/ 306 w 547"/>
                  <a:gd name="T39" fmla="*/ 232 h 684"/>
                  <a:gd name="T40" fmla="*/ 306 w 547"/>
                  <a:gd name="T41" fmla="*/ 55 h 684"/>
                  <a:gd name="T42" fmla="*/ 481 w 547"/>
                  <a:gd name="T43" fmla="*/ 232 h 684"/>
                  <a:gd name="T44" fmla="*/ 306 w 547"/>
                  <a:gd name="T45" fmla="*/ 232 h 6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47" h="684">
                    <a:moveTo>
                      <a:pt x="525" y="188"/>
                    </a:moveTo>
                    <a:cubicBezTo>
                      <a:pt x="350" y="22"/>
                      <a:pt x="350" y="22"/>
                      <a:pt x="350" y="22"/>
                    </a:cubicBezTo>
                    <a:cubicBezTo>
                      <a:pt x="330" y="2"/>
                      <a:pt x="328" y="0"/>
                      <a:pt x="30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33" y="0"/>
                      <a:pt x="0" y="22"/>
                      <a:pt x="0" y="55"/>
                    </a:cubicBezTo>
                    <a:cubicBezTo>
                      <a:pt x="0" y="618"/>
                      <a:pt x="0" y="618"/>
                      <a:pt x="0" y="618"/>
                    </a:cubicBezTo>
                    <a:cubicBezTo>
                      <a:pt x="0" y="651"/>
                      <a:pt x="33" y="684"/>
                      <a:pt x="66" y="684"/>
                    </a:cubicBezTo>
                    <a:cubicBezTo>
                      <a:pt x="481" y="684"/>
                      <a:pt x="481" y="684"/>
                      <a:pt x="481" y="684"/>
                    </a:cubicBezTo>
                    <a:cubicBezTo>
                      <a:pt x="514" y="684"/>
                      <a:pt x="547" y="651"/>
                      <a:pt x="547" y="618"/>
                    </a:cubicBezTo>
                    <a:cubicBezTo>
                      <a:pt x="547" y="232"/>
                      <a:pt x="547" y="232"/>
                      <a:pt x="547" y="232"/>
                    </a:cubicBezTo>
                    <a:cubicBezTo>
                      <a:pt x="547" y="207"/>
                      <a:pt x="525" y="188"/>
                      <a:pt x="525" y="188"/>
                    </a:cubicBezTo>
                    <a:close/>
                    <a:moveTo>
                      <a:pt x="481" y="618"/>
                    </a:moveTo>
                    <a:cubicBezTo>
                      <a:pt x="66" y="618"/>
                      <a:pt x="66" y="618"/>
                      <a:pt x="66" y="618"/>
                    </a:cubicBezTo>
                    <a:cubicBezTo>
                      <a:pt x="66" y="55"/>
                      <a:pt x="66" y="55"/>
                      <a:pt x="66" y="55"/>
                    </a:cubicBezTo>
                    <a:cubicBezTo>
                      <a:pt x="252" y="55"/>
                      <a:pt x="252" y="55"/>
                      <a:pt x="252" y="55"/>
                    </a:cubicBezTo>
                    <a:cubicBezTo>
                      <a:pt x="252" y="232"/>
                      <a:pt x="252" y="232"/>
                      <a:pt x="252" y="232"/>
                    </a:cubicBezTo>
                    <a:cubicBezTo>
                      <a:pt x="252" y="265"/>
                      <a:pt x="273" y="298"/>
                      <a:pt x="306" y="298"/>
                    </a:cubicBezTo>
                    <a:cubicBezTo>
                      <a:pt x="481" y="298"/>
                      <a:pt x="481" y="298"/>
                      <a:pt x="481" y="298"/>
                    </a:cubicBezTo>
                    <a:lnTo>
                      <a:pt x="481" y="618"/>
                    </a:lnTo>
                    <a:close/>
                    <a:moveTo>
                      <a:pt x="306" y="232"/>
                    </a:moveTo>
                    <a:cubicBezTo>
                      <a:pt x="306" y="55"/>
                      <a:pt x="306" y="55"/>
                      <a:pt x="306" y="55"/>
                    </a:cubicBezTo>
                    <a:cubicBezTo>
                      <a:pt x="481" y="232"/>
                      <a:pt x="481" y="232"/>
                      <a:pt x="481" y="232"/>
                    </a:cubicBezTo>
                    <a:cubicBezTo>
                      <a:pt x="306" y="232"/>
                      <a:pt x="306" y="232"/>
                      <a:pt x="306" y="2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sz="1567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1" name="Freeform 27"/>
              <p:cNvSpPr>
                <a:spLocks noEditPoints="1"/>
              </p:cNvSpPr>
              <p:nvPr/>
            </p:nvSpPr>
            <p:spPr bwMode="auto">
              <a:xfrm>
                <a:off x="6740252" y="5891201"/>
                <a:ext cx="151834" cy="170689"/>
              </a:xfrm>
              <a:custGeom>
                <a:avLst/>
                <a:gdLst>
                  <a:gd name="T0" fmla="*/ 525 w 547"/>
                  <a:gd name="T1" fmla="*/ 188 h 684"/>
                  <a:gd name="T2" fmla="*/ 350 w 547"/>
                  <a:gd name="T3" fmla="*/ 22 h 684"/>
                  <a:gd name="T4" fmla="*/ 306 w 547"/>
                  <a:gd name="T5" fmla="*/ 0 h 684"/>
                  <a:gd name="T6" fmla="*/ 66 w 547"/>
                  <a:gd name="T7" fmla="*/ 0 h 684"/>
                  <a:gd name="T8" fmla="*/ 0 w 547"/>
                  <a:gd name="T9" fmla="*/ 55 h 684"/>
                  <a:gd name="T10" fmla="*/ 0 w 547"/>
                  <a:gd name="T11" fmla="*/ 618 h 684"/>
                  <a:gd name="T12" fmla="*/ 66 w 547"/>
                  <a:gd name="T13" fmla="*/ 684 h 684"/>
                  <a:gd name="T14" fmla="*/ 481 w 547"/>
                  <a:gd name="T15" fmla="*/ 684 h 684"/>
                  <a:gd name="T16" fmla="*/ 547 w 547"/>
                  <a:gd name="T17" fmla="*/ 618 h 684"/>
                  <a:gd name="T18" fmla="*/ 547 w 547"/>
                  <a:gd name="T19" fmla="*/ 232 h 684"/>
                  <a:gd name="T20" fmla="*/ 525 w 547"/>
                  <a:gd name="T21" fmla="*/ 188 h 684"/>
                  <a:gd name="T22" fmla="*/ 481 w 547"/>
                  <a:gd name="T23" fmla="*/ 618 h 684"/>
                  <a:gd name="T24" fmla="*/ 66 w 547"/>
                  <a:gd name="T25" fmla="*/ 618 h 684"/>
                  <a:gd name="T26" fmla="*/ 66 w 547"/>
                  <a:gd name="T27" fmla="*/ 55 h 684"/>
                  <a:gd name="T28" fmla="*/ 252 w 547"/>
                  <a:gd name="T29" fmla="*/ 55 h 684"/>
                  <a:gd name="T30" fmla="*/ 252 w 547"/>
                  <a:gd name="T31" fmla="*/ 232 h 684"/>
                  <a:gd name="T32" fmla="*/ 306 w 547"/>
                  <a:gd name="T33" fmla="*/ 298 h 684"/>
                  <a:gd name="T34" fmla="*/ 481 w 547"/>
                  <a:gd name="T35" fmla="*/ 298 h 684"/>
                  <a:gd name="T36" fmla="*/ 481 w 547"/>
                  <a:gd name="T37" fmla="*/ 618 h 684"/>
                  <a:gd name="T38" fmla="*/ 306 w 547"/>
                  <a:gd name="T39" fmla="*/ 232 h 684"/>
                  <a:gd name="T40" fmla="*/ 306 w 547"/>
                  <a:gd name="T41" fmla="*/ 55 h 684"/>
                  <a:gd name="T42" fmla="*/ 481 w 547"/>
                  <a:gd name="T43" fmla="*/ 232 h 684"/>
                  <a:gd name="T44" fmla="*/ 306 w 547"/>
                  <a:gd name="T45" fmla="*/ 232 h 6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47" h="684">
                    <a:moveTo>
                      <a:pt x="525" y="188"/>
                    </a:moveTo>
                    <a:cubicBezTo>
                      <a:pt x="350" y="22"/>
                      <a:pt x="350" y="22"/>
                      <a:pt x="350" y="22"/>
                    </a:cubicBezTo>
                    <a:cubicBezTo>
                      <a:pt x="330" y="2"/>
                      <a:pt x="328" y="0"/>
                      <a:pt x="30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33" y="0"/>
                      <a:pt x="0" y="22"/>
                      <a:pt x="0" y="55"/>
                    </a:cubicBezTo>
                    <a:cubicBezTo>
                      <a:pt x="0" y="618"/>
                      <a:pt x="0" y="618"/>
                      <a:pt x="0" y="618"/>
                    </a:cubicBezTo>
                    <a:cubicBezTo>
                      <a:pt x="0" y="651"/>
                      <a:pt x="33" y="684"/>
                      <a:pt x="66" y="684"/>
                    </a:cubicBezTo>
                    <a:cubicBezTo>
                      <a:pt x="481" y="684"/>
                      <a:pt x="481" y="684"/>
                      <a:pt x="481" y="684"/>
                    </a:cubicBezTo>
                    <a:cubicBezTo>
                      <a:pt x="514" y="684"/>
                      <a:pt x="547" y="651"/>
                      <a:pt x="547" y="618"/>
                    </a:cubicBezTo>
                    <a:cubicBezTo>
                      <a:pt x="547" y="232"/>
                      <a:pt x="547" y="232"/>
                      <a:pt x="547" y="232"/>
                    </a:cubicBezTo>
                    <a:cubicBezTo>
                      <a:pt x="547" y="207"/>
                      <a:pt x="525" y="188"/>
                      <a:pt x="525" y="188"/>
                    </a:cubicBezTo>
                    <a:close/>
                    <a:moveTo>
                      <a:pt x="481" y="618"/>
                    </a:moveTo>
                    <a:cubicBezTo>
                      <a:pt x="66" y="618"/>
                      <a:pt x="66" y="618"/>
                      <a:pt x="66" y="618"/>
                    </a:cubicBezTo>
                    <a:cubicBezTo>
                      <a:pt x="66" y="55"/>
                      <a:pt x="66" y="55"/>
                      <a:pt x="66" y="55"/>
                    </a:cubicBezTo>
                    <a:cubicBezTo>
                      <a:pt x="252" y="55"/>
                      <a:pt x="252" y="55"/>
                      <a:pt x="252" y="55"/>
                    </a:cubicBezTo>
                    <a:cubicBezTo>
                      <a:pt x="252" y="232"/>
                      <a:pt x="252" y="232"/>
                      <a:pt x="252" y="232"/>
                    </a:cubicBezTo>
                    <a:cubicBezTo>
                      <a:pt x="252" y="265"/>
                      <a:pt x="273" y="298"/>
                      <a:pt x="306" y="298"/>
                    </a:cubicBezTo>
                    <a:cubicBezTo>
                      <a:pt x="481" y="298"/>
                      <a:pt x="481" y="298"/>
                      <a:pt x="481" y="298"/>
                    </a:cubicBezTo>
                    <a:lnTo>
                      <a:pt x="481" y="618"/>
                    </a:lnTo>
                    <a:close/>
                    <a:moveTo>
                      <a:pt x="306" y="232"/>
                    </a:moveTo>
                    <a:cubicBezTo>
                      <a:pt x="306" y="55"/>
                      <a:pt x="306" y="55"/>
                      <a:pt x="306" y="55"/>
                    </a:cubicBezTo>
                    <a:cubicBezTo>
                      <a:pt x="481" y="232"/>
                      <a:pt x="481" y="232"/>
                      <a:pt x="481" y="232"/>
                    </a:cubicBezTo>
                    <a:cubicBezTo>
                      <a:pt x="306" y="232"/>
                      <a:pt x="306" y="232"/>
                      <a:pt x="306" y="2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sz="1567" kern="0">
                  <a:solidFill>
                    <a:sysClr val="windowText" lastClr="000000"/>
                  </a:solidFill>
                </a:endParaRPr>
              </a:p>
            </p:txBody>
          </p:sp>
          <p:grpSp>
            <p:nvGrpSpPr>
              <p:cNvPr id="22" name="Group 21"/>
              <p:cNvGrpSpPr/>
              <p:nvPr/>
            </p:nvGrpSpPr>
            <p:grpSpPr>
              <a:xfrm>
                <a:off x="7247133" y="5639823"/>
                <a:ext cx="743822" cy="895355"/>
                <a:chOff x="8083133" y="4114800"/>
                <a:chExt cx="1373837" cy="1839947"/>
              </a:xfrm>
            </p:grpSpPr>
            <p:sp>
              <p:nvSpPr>
                <p:cNvPr id="29" name="TextBox 28"/>
                <p:cNvSpPr txBox="1"/>
                <p:nvPr/>
              </p:nvSpPr>
              <p:spPr>
                <a:xfrm>
                  <a:off x="8196792" y="5550253"/>
                  <a:ext cx="1146518" cy="40449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 defTabSz="914225">
                    <a:lnSpc>
                      <a:spcPct val="80000"/>
                    </a:lnSpc>
                    <a:spcBef>
                      <a:spcPct val="20000"/>
                    </a:spcBef>
                    <a:buSzPct val="80000"/>
                  </a:pPr>
                  <a:r>
                    <a:rPr lang="en-US" sz="1567" kern="0" dirty="0">
                      <a:gradFill>
                        <a:gsLst>
                          <a:gs pos="0">
                            <a:schemeClr val="tx1">
                              <a:lumMod val="95000"/>
                              <a:lumOff val="5000"/>
                            </a:schemeClr>
                          </a:gs>
                          <a:gs pos="100000">
                            <a:schemeClr val="tx1">
                              <a:lumMod val="95000"/>
                              <a:lumOff val="5000"/>
                            </a:schemeClr>
                          </a:gs>
                        </a:gsLst>
                        <a:lin ang="5400000" scaled="0"/>
                      </a:gradFill>
                    </a:rPr>
                    <a:t>Server</a:t>
                  </a:r>
                </a:p>
              </p:txBody>
            </p:sp>
            <p:sp>
              <p:nvSpPr>
                <p:cNvPr id="30" name="Round Same Side Corner Rectangle 57"/>
                <p:cNvSpPr/>
                <p:nvPr/>
              </p:nvSpPr>
              <p:spPr bwMode="auto">
                <a:xfrm rot="5400000">
                  <a:off x="8083132" y="4114801"/>
                  <a:ext cx="1373839" cy="1373837"/>
                </a:xfrm>
                <a:prstGeom prst="round2SameRect">
                  <a:avLst>
                    <a:gd name="adj1" fmla="val 5548"/>
                    <a:gd name="adj2" fmla="val 0"/>
                  </a:avLst>
                </a:prstGeom>
                <a:solidFill>
                  <a:srgbClr val="00B0F0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89626" tIns="44812" rIns="89626" bIns="44812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895919"/>
                  <a:endParaRPr lang="en-US" sz="1567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</a:endParaRPr>
                </a:p>
              </p:txBody>
            </p:sp>
          </p:grpSp>
          <p:sp>
            <p:nvSpPr>
              <p:cNvPr id="23" name="Freeform 27"/>
              <p:cNvSpPr>
                <a:spLocks noEditPoints="1"/>
              </p:cNvSpPr>
              <p:nvPr/>
            </p:nvSpPr>
            <p:spPr bwMode="auto">
              <a:xfrm>
                <a:off x="7347029" y="5683781"/>
                <a:ext cx="151834" cy="170689"/>
              </a:xfrm>
              <a:custGeom>
                <a:avLst/>
                <a:gdLst>
                  <a:gd name="T0" fmla="*/ 525 w 547"/>
                  <a:gd name="T1" fmla="*/ 188 h 684"/>
                  <a:gd name="T2" fmla="*/ 350 w 547"/>
                  <a:gd name="T3" fmla="*/ 22 h 684"/>
                  <a:gd name="T4" fmla="*/ 306 w 547"/>
                  <a:gd name="T5" fmla="*/ 0 h 684"/>
                  <a:gd name="T6" fmla="*/ 66 w 547"/>
                  <a:gd name="T7" fmla="*/ 0 h 684"/>
                  <a:gd name="T8" fmla="*/ 0 w 547"/>
                  <a:gd name="T9" fmla="*/ 55 h 684"/>
                  <a:gd name="T10" fmla="*/ 0 w 547"/>
                  <a:gd name="T11" fmla="*/ 618 h 684"/>
                  <a:gd name="T12" fmla="*/ 66 w 547"/>
                  <a:gd name="T13" fmla="*/ 684 h 684"/>
                  <a:gd name="T14" fmla="*/ 481 w 547"/>
                  <a:gd name="T15" fmla="*/ 684 h 684"/>
                  <a:gd name="T16" fmla="*/ 547 w 547"/>
                  <a:gd name="T17" fmla="*/ 618 h 684"/>
                  <a:gd name="T18" fmla="*/ 547 w 547"/>
                  <a:gd name="T19" fmla="*/ 232 h 684"/>
                  <a:gd name="T20" fmla="*/ 525 w 547"/>
                  <a:gd name="T21" fmla="*/ 188 h 684"/>
                  <a:gd name="T22" fmla="*/ 481 w 547"/>
                  <a:gd name="T23" fmla="*/ 618 h 684"/>
                  <a:gd name="T24" fmla="*/ 66 w 547"/>
                  <a:gd name="T25" fmla="*/ 618 h 684"/>
                  <a:gd name="T26" fmla="*/ 66 w 547"/>
                  <a:gd name="T27" fmla="*/ 55 h 684"/>
                  <a:gd name="T28" fmla="*/ 252 w 547"/>
                  <a:gd name="T29" fmla="*/ 55 h 684"/>
                  <a:gd name="T30" fmla="*/ 252 w 547"/>
                  <a:gd name="T31" fmla="*/ 232 h 684"/>
                  <a:gd name="T32" fmla="*/ 306 w 547"/>
                  <a:gd name="T33" fmla="*/ 298 h 684"/>
                  <a:gd name="T34" fmla="*/ 481 w 547"/>
                  <a:gd name="T35" fmla="*/ 298 h 684"/>
                  <a:gd name="T36" fmla="*/ 481 w 547"/>
                  <a:gd name="T37" fmla="*/ 618 h 684"/>
                  <a:gd name="T38" fmla="*/ 306 w 547"/>
                  <a:gd name="T39" fmla="*/ 232 h 684"/>
                  <a:gd name="T40" fmla="*/ 306 w 547"/>
                  <a:gd name="T41" fmla="*/ 55 h 684"/>
                  <a:gd name="T42" fmla="*/ 481 w 547"/>
                  <a:gd name="T43" fmla="*/ 232 h 684"/>
                  <a:gd name="T44" fmla="*/ 306 w 547"/>
                  <a:gd name="T45" fmla="*/ 232 h 6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47" h="684">
                    <a:moveTo>
                      <a:pt x="525" y="188"/>
                    </a:moveTo>
                    <a:cubicBezTo>
                      <a:pt x="350" y="22"/>
                      <a:pt x="350" y="22"/>
                      <a:pt x="350" y="22"/>
                    </a:cubicBezTo>
                    <a:cubicBezTo>
                      <a:pt x="330" y="2"/>
                      <a:pt x="328" y="0"/>
                      <a:pt x="30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33" y="0"/>
                      <a:pt x="0" y="22"/>
                      <a:pt x="0" y="55"/>
                    </a:cubicBezTo>
                    <a:cubicBezTo>
                      <a:pt x="0" y="618"/>
                      <a:pt x="0" y="618"/>
                      <a:pt x="0" y="618"/>
                    </a:cubicBezTo>
                    <a:cubicBezTo>
                      <a:pt x="0" y="651"/>
                      <a:pt x="33" y="684"/>
                      <a:pt x="66" y="684"/>
                    </a:cubicBezTo>
                    <a:cubicBezTo>
                      <a:pt x="481" y="684"/>
                      <a:pt x="481" y="684"/>
                      <a:pt x="481" y="684"/>
                    </a:cubicBezTo>
                    <a:cubicBezTo>
                      <a:pt x="514" y="684"/>
                      <a:pt x="547" y="651"/>
                      <a:pt x="547" y="618"/>
                    </a:cubicBezTo>
                    <a:cubicBezTo>
                      <a:pt x="547" y="232"/>
                      <a:pt x="547" y="232"/>
                      <a:pt x="547" y="232"/>
                    </a:cubicBezTo>
                    <a:cubicBezTo>
                      <a:pt x="547" y="207"/>
                      <a:pt x="525" y="188"/>
                      <a:pt x="525" y="188"/>
                    </a:cubicBezTo>
                    <a:close/>
                    <a:moveTo>
                      <a:pt x="481" y="618"/>
                    </a:moveTo>
                    <a:cubicBezTo>
                      <a:pt x="66" y="618"/>
                      <a:pt x="66" y="618"/>
                      <a:pt x="66" y="618"/>
                    </a:cubicBezTo>
                    <a:cubicBezTo>
                      <a:pt x="66" y="55"/>
                      <a:pt x="66" y="55"/>
                      <a:pt x="66" y="55"/>
                    </a:cubicBezTo>
                    <a:cubicBezTo>
                      <a:pt x="252" y="55"/>
                      <a:pt x="252" y="55"/>
                      <a:pt x="252" y="55"/>
                    </a:cubicBezTo>
                    <a:cubicBezTo>
                      <a:pt x="252" y="232"/>
                      <a:pt x="252" y="232"/>
                      <a:pt x="252" y="232"/>
                    </a:cubicBezTo>
                    <a:cubicBezTo>
                      <a:pt x="252" y="265"/>
                      <a:pt x="273" y="298"/>
                      <a:pt x="306" y="298"/>
                    </a:cubicBezTo>
                    <a:cubicBezTo>
                      <a:pt x="481" y="298"/>
                      <a:pt x="481" y="298"/>
                      <a:pt x="481" y="298"/>
                    </a:cubicBezTo>
                    <a:lnTo>
                      <a:pt x="481" y="618"/>
                    </a:lnTo>
                    <a:close/>
                    <a:moveTo>
                      <a:pt x="306" y="232"/>
                    </a:moveTo>
                    <a:cubicBezTo>
                      <a:pt x="306" y="55"/>
                      <a:pt x="306" y="55"/>
                      <a:pt x="306" y="55"/>
                    </a:cubicBezTo>
                    <a:cubicBezTo>
                      <a:pt x="481" y="232"/>
                      <a:pt x="481" y="232"/>
                      <a:pt x="481" y="232"/>
                    </a:cubicBezTo>
                    <a:cubicBezTo>
                      <a:pt x="306" y="232"/>
                      <a:pt x="306" y="232"/>
                      <a:pt x="306" y="2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sz="1567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4" name="Freeform 27"/>
              <p:cNvSpPr>
                <a:spLocks noEditPoints="1"/>
              </p:cNvSpPr>
              <p:nvPr/>
            </p:nvSpPr>
            <p:spPr bwMode="auto">
              <a:xfrm>
                <a:off x="7347029" y="5891201"/>
                <a:ext cx="151834" cy="170689"/>
              </a:xfrm>
              <a:custGeom>
                <a:avLst/>
                <a:gdLst>
                  <a:gd name="T0" fmla="*/ 525 w 547"/>
                  <a:gd name="T1" fmla="*/ 188 h 684"/>
                  <a:gd name="T2" fmla="*/ 350 w 547"/>
                  <a:gd name="T3" fmla="*/ 22 h 684"/>
                  <a:gd name="T4" fmla="*/ 306 w 547"/>
                  <a:gd name="T5" fmla="*/ 0 h 684"/>
                  <a:gd name="T6" fmla="*/ 66 w 547"/>
                  <a:gd name="T7" fmla="*/ 0 h 684"/>
                  <a:gd name="T8" fmla="*/ 0 w 547"/>
                  <a:gd name="T9" fmla="*/ 55 h 684"/>
                  <a:gd name="T10" fmla="*/ 0 w 547"/>
                  <a:gd name="T11" fmla="*/ 618 h 684"/>
                  <a:gd name="T12" fmla="*/ 66 w 547"/>
                  <a:gd name="T13" fmla="*/ 684 h 684"/>
                  <a:gd name="T14" fmla="*/ 481 w 547"/>
                  <a:gd name="T15" fmla="*/ 684 h 684"/>
                  <a:gd name="T16" fmla="*/ 547 w 547"/>
                  <a:gd name="T17" fmla="*/ 618 h 684"/>
                  <a:gd name="T18" fmla="*/ 547 w 547"/>
                  <a:gd name="T19" fmla="*/ 232 h 684"/>
                  <a:gd name="T20" fmla="*/ 525 w 547"/>
                  <a:gd name="T21" fmla="*/ 188 h 684"/>
                  <a:gd name="T22" fmla="*/ 481 w 547"/>
                  <a:gd name="T23" fmla="*/ 618 h 684"/>
                  <a:gd name="T24" fmla="*/ 66 w 547"/>
                  <a:gd name="T25" fmla="*/ 618 h 684"/>
                  <a:gd name="T26" fmla="*/ 66 w 547"/>
                  <a:gd name="T27" fmla="*/ 55 h 684"/>
                  <a:gd name="T28" fmla="*/ 252 w 547"/>
                  <a:gd name="T29" fmla="*/ 55 h 684"/>
                  <a:gd name="T30" fmla="*/ 252 w 547"/>
                  <a:gd name="T31" fmla="*/ 232 h 684"/>
                  <a:gd name="T32" fmla="*/ 306 w 547"/>
                  <a:gd name="T33" fmla="*/ 298 h 684"/>
                  <a:gd name="T34" fmla="*/ 481 w 547"/>
                  <a:gd name="T35" fmla="*/ 298 h 684"/>
                  <a:gd name="T36" fmla="*/ 481 w 547"/>
                  <a:gd name="T37" fmla="*/ 618 h 684"/>
                  <a:gd name="T38" fmla="*/ 306 w 547"/>
                  <a:gd name="T39" fmla="*/ 232 h 684"/>
                  <a:gd name="T40" fmla="*/ 306 w 547"/>
                  <a:gd name="T41" fmla="*/ 55 h 684"/>
                  <a:gd name="T42" fmla="*/ 481 w 547"/>
                  <a:gd name="T43" fmla="*/ 232 h 684"/>
                  <a:gd name="T44" fmla="*/ 306 w 547"/>
                  <a:gd name="T45" fmla="*/ 232 h 6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47" h="684">
                    <a:moveTo>
                      <a:pt x="525" y="188"/>
                    </a:moveTo>
                    <a:cubicBezTo>
                      <a:pt x="350" y="22"/>
                      <a:pt x="350" y="22"/>
                      <a:pt x="350" y="22"/>
                    </a:cubicBezTo>
                    <a:cubicBezTo>
                      <a:pt x="330" y="2"/>
                      <a:pt x="328" y="0"/>
                      <a:pt x="30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33" y="0"/>
                      <a:pt x="0" y="22"/>
                      <a:pt x="0" y="55"/>
                    </a:cubicBezTo>
                    <a:cubicBezTo>
                      <a:pt x="0" y="618"/>
                      <a:pt x="0" y="618"/>
                      <a:pt x="0" y="618"/>
                    </a:cubicBezTo>
                    <a:cubicBezTo>
                      <a:pt x="0" y="651"/>
                      <a:pt x="33" y="684"/>
                      <a:pt x="66" y="684"/>
                    </a:cubicBezTo>
                    <a:cubicBezTo>
                      <a:pt x="481" y="684"/>
                      <a:pt x="481" y="684"/>
                      <a:pt x="481" y="684"/>
                    </a:cubicBezTo>
                    <a:cubicBezTo>
                      <a:pt x="514" y="684"/>
                      <a:pt x="547" y="651"/>
                      <a:pt x="547" y="618"/>
                    </a:cubicBezTo>
                    <a:cubicBezTo>
                      <a:pt x="547" y="232"/>
                      <a:pt x="547" y="232"/>
                      <a:pt x="547" y="232"/>
                    </a:cubicBezTo>
                    <a:cubicBezTo>
                      <a:pt x="547" y="207"/>
                      <a:pt x="525" y="188"/>
                      <a:pt x="525" y="188"/>
                    </a:cubicBezTo>
                    <a:close/>
                    <a:moveTo>
                      <a:pt x="481" y="618"/>
                    </a:moveTo>
                    <a:cubicBezTo>
                      <a:pt x="66" y="618"/>
                      <a:pt x="66" y="618"/>
                      <a:pt x="66" y="618"/>
                    </a:cubicBezTo>
                    <a:cubicBezTo>
                      <a:pt x="66" y="55"/>
                      <a:pt x="66" y="55"/>
                      <a:pt x="66" y="55"/>
                    </a:cubicBezTo>
                    <a:cubicBezTo>
                      <a:pt x="252" y="55"/>
                      <a:pt x="252" y="55"/>
                      <a:pt x="252" y="55"/>
                    </a:cubicBezTo>
                    <a:cubicBezTo>
                      <a:pt x="252" y="232"/>
                      <a:pt x="252" y="232"/>
                      <a:pt x="252" y="232"/>
                    </a:cubicBezTo>
                    <a:cubicBezTo>
                      <a:pt x="252" y="265"/>
                      <a:pt x="273" y="298"/>
                      <a:pt x="306" y="298"/>
                    </a:cubicBezTo>
                    <a:cubicBezTo>
                      <a:pt x="481" y="298"/>
                      <a:pt x="481" y="298"/>
                      <a:pt x="481" y="298"/>
                    </a:cubicBezTo>
                    <a:lnTo>
                      <a:pt x="481" y="618"/>
                    </a:lnTo>
                    <a:close/>
                    <a:moveTo>
                      <a:pt x="306" y="232"/>
                    </a:moveTo>
                    <a:cubicBezTo>
                      <a:pt x="306" y="55"/>
                      <a:pt x="306" y="55"/>
                      <a:pt x="306" y="55"/>
                    </a:cubicBezTo>
                    <a:cubicBezTo>
                      <a:pt x="481" y="232"/>
                      <a:pt x="481" y="232"/>
                      <a:pt x="481" y="232"/>
                    </a:cubicBezTo>
                    <a:cubicBezTo>
                      <a:pt x="306" y="232"/>
                      <a:pt x="306" y="232"/>
                      <a:pt x="306" y="2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sz="1567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5" name="Freeform 27"/>
              <p:cNvSpPr>
                <a:spLocks noEditPoints="1"/>
              </p:cNvSpPr>
              <p:nvPr/>
            </p:nvSpPr>
            <p:spPr bwMode="auto">
              <a:xfrm>
                <a:off x="7546930" y="5891201"/>
                <a:ext cx="151834" cy="170689"/>
              </a:xfrm>
              <a:custGeom>
                <a:avLst/>
                <a:gdLst>
                  <a:gd name="T0" fmla="*/ 525 w 547"/>
                  <a:gd name="T1" fmla="*/ 188 h 684"/>
                  <a:gd name="T2" fmla="*/ 350 w 547"/>
                  <a:gd name="T3" fmla="*/ 22 h 684"/>
                  <a:gd name="T4" fmla="*/ 306 w 547"/>
                  <a:gd name="T5" fmla="*/ 0 h 684"/>
                  <a:gd name="T6" fmla="*/ 66 w 547"/>
                  <a:gd name="T7" fmla="*/ 0 h 684"/>
                  <a:gd name="T8" fmla="*/ 0 w 547"/>
                  <a:gd name="T9" fmla="*/ 55 h 684"/>
                  <a:gd name="T10" fmla="*/ 0 w 547"/>
                  <a:gd name="T11" fmla="*/ 618 h 684"/>
                  <a:gd name="T12" fmla="*/ 66 w 547"/>
                  <a:gd name="T13" fmla="*/ 684 h 684"/>
                  <a:gd name="T14" fmla="*/ 481 w 547"/>
                  <a:gd name="T15" fmla="*/ 684 h 684"/>
                  <a:gd name="T16" fmla="*/ 547 w 547"/>
                  <a:gd name="T17" fmla="*/ 618 h 684"/>
                  <a:gd name="T18" fmla="*/ 547 w 547"/>
                  <a:gd name="T19" fmla="*/ 232 h 684"/>
                  <a:gd name="T20" fmla="*/ 525 w 547"/>
                  <a:gd name="T21" fmla="*/ 188 h 684"/>
                  <a:gd name="T22" fmla="*/ 481 w 547"/>
                  <a:gd name="T23" fmla="*/ 618 h 684"/>
                  <a:gd name="T24" fmla="*/ 66 w 547"/>
                  <a:gd name="T25" fmla="*/ 618 h 684"/>
                  <a:gd name="T26" fmla="*/ 66 w 547"/>
                  <a:gd name="T27" fmla="*/ 55 h 684"/>
                  <a:gd name="T28" fmla="*/ 252 w 547"/>
                  <a:gd name="T29" fmla="*/ 55 h 684"/>
                  <a:gd name="T30" fmla="*/ 252 w 547"/>
                  <a:gd name="T31" fmla="*/ 232 h 684"/>
                  <a:gd name="T32" fmla="*/ 306 w 547"/>
                  <a:gd name="T33" fmla="*/ 298 h 684"/>
                  <a:gd name="T34" fmla="*/ 481 w 547"/>
                  <a:gd name="T35" fmla="*/ 298 h 684"/>
                  <a:gd name="T36" fmla="*/ 481 w 547"/>
                  <a:gd name="T37" fmla="*/ 618 h 684"/>
                  <a:gd name="T38" fmla="*/ 306 w 547"/>
                  <a:gd name="T39" fmla="*/ 232 h 684"/>
                  <a:gd name="T40" fmla="*/ 306 w 547"/>
                  <a:gd name="T41" fmla="*/ 55 h 684"/>
                  <a:gd name="T42" fmla="*/ 481 w 547"/>
                  <a:gd name="T43" fmla="*/ 232 h 684"/>
                  <a:gd name="T44" fmla="*/ 306 w 547"/>
                  <a:gd name="T45" fmla="*/ 232 h 6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47" h="684">
                    <a:moveTo>
                      <a:pt x="525" y="188"/>
                    </a:moveTo>
                    <a:cubicBezTo>
                      <a:pt x="350" y="22"/>
                      <a:pt x="350" y="22"/>
                      <a:pt x="350" y="22"/>
                    </a:cubicBezTo>
                    <a:cubicBezTo>
                      <a:pt x="330" y="2"/>
                      <a:pt x="328" y="0"/>
                      <a:pt x="30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33" y="0"/>
                      <a:pt x="0" y="22"/>
                      <a:pt x="0" y="55"/>
                    </a:cubicBezTo>
                    <a:cubicBezTo>
                      <a:pt x="0" y="618"/>
                      <a:pt x="0" y="618"/>
                      <a:pt x="0" y="618"/>
                    </a:cubicBezTo>
                    <a:cubicBezTo>
                      <a:pt x="0" y="651"/>
                      <a:pt x="33" y="684"/>
                      <a:pt x="66" y="684"/>
                    </a:cubicBezTo>
                    <a:cubicBezTo>
                      <a:pt x="481" y="684"/>
                      <a:pt x="481" y="684"/>
                      <a:pt x="481" y="684"/>
                    </a:cubicBezTo>
                    <a:cubicBezTo>
                      <a:pt x="514" y="684"/>
                      <a:pt x="547" y="651"/>
                      <a:pt x="547" y="618"/>
                    </a:cubicBezTo>
                    <a:cubicBezTo>
                      <a:pt x="547" y="232"/>
                      <a:pt x="547" y="232"/>
                      <a:pt x="547" y="232"/>
                    </a:cubicBezTo>
                    <a:cubicBezTo>
                      <a:pt x="547" y="207"/>
                      <a:pt x="525" y="188"/>
                      <a:pt x="525" y="188"/>
                    </a:cubicBezTo>
                    <a:close/>
                    <a:moveTo>
                      <a:pt x="481" y="618"/>
                    </a:moveTo>
                    <a:cubicBezTo>
                      <a:pt x="66" y="618"/>
                      <a:pt x="66" y="618"/>
                      <a:pt x="66" y="618"/>
                    </a:cubicBezTo>
                    <a:cubicBezTo>
                      <a:pt x="66" y="55"/>
                      <a:pt x="66" y="55"/>
                      <a:pt x="66" y="55"/>
                    </a:cubicBezTo>
                    <a:cubicBezTo>
                      <a:pt x="252" y="55"/>
                      <a:pt x="252" y="55"/>
                      <a:pt x="252" y="55"/>
                    </a:cubicBezTo>
                    <a:cubicBezTo>
                      <a:pt x="252" y="232"/>
                      <a:pt x="252" y="232"/>
                      <a:pt x="252" y="232"/>
                    </a:cubicBezTo>
                    <a:cubicBezTo>
                      <a:pt x="252" y="265"/>
                      <a:pt x="273" y="298"/>
                      <a:pt x="306" y="298"/>
                    </a:cubicBezTo>
                    <a:cubicBezTo>
                      <a:pt x="481" y="298"/>
                      <a:pt x="481" y="298"/>
                      <a:pt x="481" y="298"/>
                    </a:cubicBezTo>
                    <a:lnTo>
                      <a:pt x="481" y="618"/>
                    </a:lnTo>
                    <a:close/>
                    <a:moveTo>
                      <a:pt x="306" y="232"/>
                    </a:moveTo>
                    <a:cubicBezTo>
                      <a:pt x="306" y="55"/>
                      <a:pt x="306" y="55"/>
                      <a:pt x="306" y="55"/>
                    </a:cubicBezTo>
                    <a:cubicBezTo>
                      <a:pt x="481" y="232"/>
                      <a:pt x="481" y="232"/>
                      <a:pt x="481" y="232"/>
                    </a:cubicBezTo>
                    <a:cubicBezTo>
                      <a:pt x="306" y="232"/>
                      <a:pt x="306" y="232"/>
                      <a:pt x="306" y="2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sz="1567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6" name="Freeform 27"/>
              <p:cNvSpPr>
                <a:spLocks noEditPoints="1"/>
              </p:cNvSpPr>
              <p:nvPr/>
            </p:nvSpPr>
            <p:spPr bwMode="auto">
              <a:xfrm>
                <a:off x="7347029" y="6098622"/>
                <a:ext cx="151834" cy="170689"/>
              </a:xfrm>
              <a:custGeom>
                <a:avLst/>
                <a:gdLst>
                  <a:gd name="T0" fmla="*/ 525 w 547"/>
                  <a:gd name="T1" fmla="*/ 188 h 684"/>
                  <a:gd name="T2" fmla="*/ 350 w 547"/>
                  <a:gd name="T3" fmla="*/ 22 h 684"/>
                  <a:gd name="T4" fmla="*/ 306 w 547"/>
                  <a:gd name="T5" fmla="*/ 0 h 684"/>
                  <a:gd name="T6" fmla="*/ 66 w 547"/>
                  <a:gd name="T7" fmla="*/ 0 h 684"/>
                  <a:gd name="T8" fmla="*/ 0 w 547"/>
                  <a:gd name="T9" fmla="*/ 55 h 684"/>
                  <a:gd name="T10" fmla="*/ 0 w 547"/>
                  <a:gd name="T11" fmla="*/ 618 h 684"/>
                  <a:gd name="T12" fmla="*/ 66 w 547"/>
                  <a:gd name="T13" fmla="*/ 684 h 684"/>
                  <a:gd name="T14" fmla="*/ 481 w 547"/>
                  <a:gd name="T15" fmla="*/ 684 h 684"/>
                  <a:gd name="T16" fmla="*/ 547 w 547"/>
                  <a:gd name="T17" fmla="*/ 618 h 684"/>
                  <a:gd name="T18" fmla="*/ 547 w 547"/>
                  <a:gd name="T19" fmla="*/ 232 h 684"/>
                  <a:gd name="T20" fmla="*/ 525 w 547"/>
                  <a:gd name="T21" fmla="*/ 188 h 684"/>
                  <a:gd name="T22" fmla="*/ 481 w 547"/>
                  <a:gd name="T23" fmla="*/ 618 h 684"/>
                  <a:gd name="T24" fmla="*/ 66 w 547"/>
                  <a:gd name="T25" fmla="*/ 618 h 684"/>
                  <a:gd name="T26" fmla="*/ 66 w 547"/>
                  <a:gd name="T27" fmla="*/ 55 h 684"/>
                  <a:gd name="T28" fmla="*/ 252 w 547"/>
                  <a:gd name="T29" fmla="*/ 55 h 684"/>
                  <a:gd name="T30" fmla="*/ 252 w 547"/>
                  <a:gd name="T31" fmla="*/ 232 h 684"/>
                  <a:gd name="T32" fmla="*/ 306 w 547"/>
                  <a:gd name="T33" fmla="*/ 298 h 684"/>
                  <a:gd name="T34" fmla="*/ 481 w 547"/>
                  <a:gd name="T35" fmla="*/ 298 h 684"/>
                  <a:gd name="T36" fmla="*/ 481 w 547"/>
                  <a:gd name="T37" fmla="*/ 618 h 684"/>
                  <a:gd name="T38" fmla="*/ 306 w 547"/>
                  <a:gd name="T39" fmla="*/ 232 h 684"/>
                  <a:gd name="T40" fmla="*/ 306 w 547"/>
                  <a:gd name="T41" fmla="*/ 55 h 684"/>
                  <a:gd name="T42" fmla="*/ 481 w 547"/>
                  <a:gd name="T43" fmla="*/ 232 h 684"/>
                  <a:gd name="T44" fmla="*/ 306 w 547"/>
                  <a:gd name="T45" fmla="*/ 232 h 6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47" h="684">
                    <a:moveTo>
                      <a:pt x="525" y="188"/>
                    </a:moveTo>
                    <a:cubicBezTo>
                      <a:pt x="350" y="22"/>
                      <a:pt x="350" y="22"/>
                      <a:pt x="350" y="22"/>
                    </a:cubicBezTo>
                    <a:cubicBezTo>
                      <a:pt x="330" y="2"/>
                      <a:pt x="328" y="0"/>
                      <a:pt x="30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33" y="0"/>
                      <a:pt x="0" y="22"/>
                      <a:pt x="0" y="55"/>
                    </a:cubicBezTo>
                    <a:cubicBezTo>
                      <a:pt x="0" y="618"/>
                      <a:pt x="0" y="618"/>
                      <a:pt x="0" y="618"/>
                    </a:cubicBezTo>
                    <a:cubicBezTo>
                      <a:pt x="0" y="651"/>
                      <a:pt x="33" y="684"/>
                      <a:pt x="66" y="684"/>
                    </a:cubicBezTo>
                    <a:cubicBezTo>
                      <a:pt x="481" y="684"/>
                      <a:pt x="481" y="684"/>
                      <a:pt x="481" y="684"/>
                    </a:cubicBezTo>
                    <a:cubicBezTo>
                      <a:pt x="514" y="684"/>
                      <a:pt x="547" y="651"/>
                      <a:pt x="547" y="618"/>
                    </a:cubicBezTo>
                    <a:cubicBezTo>
                      <a:pt x="547" y="232"/>
                      <a:pt x="547" y="232"/>
                      <a:pt x="547" y="232"/>
                    </a:cubicBezTo>
                    <a:cubicBezTo>
                      <a:pt x="547" y="207"/>
                      <a:pt x="525" y="188"/>
                      <a:pt x="525" y="188"/>
                    </a:cubicBezTo>
                    <a:close/>
                    <a:moveTo>
                      <a:pt x="481" y="618"/>
                    </a:moveTo>
                    <a:cubicBezTo>
                      <a:pt x="66" y="618"/>
                      <a:pt x="66" y="618"/>
                      <a:pt x="66" y="618"/>
                    </a:cubicBezTo>
                    <a:cubicBezTo>
                      <a:pt x="66" y="55"/>
                      <a:pt x="66" y="55"/>
                      <a:pt x="66" y="55"/>
                    </a:cubicBezTo>
                    <a:cubicBezTo>
                      <a:pt x="252" y="55"/>
                      <a:pt x="252" y="55"/>
                      <a:pt x="252" y="55"/>
                    </a:cubicBezTo>
                    <a:cubicBezTo>
                      <a:pt x="252" y="232"/>
                      <a:pt x="252" y="232"/>
                      <a:pt x="252" y="232"/>
                    </a:cubicBezTo>
                    <a:cubicBezTo>
                      <a:pt x="252" y="265"/>
                      <a:pt x="273" y="298"/>
                      <a:pt x="306" y="298"/>
                    </a:cubicBezTo>
                    <a:cubicBezTo>
                      <a:pt x="481" y="298"/>
                      <a:pt x="481" y="298"/>
                      <a:pt x="481" y="298"/>
                    </a:cubicBezTo>
                    <a:lnTo>
                      <a:pt x="481" y="618"/>
                    </a:lnTo>
                    <a:close/>
                    <a:moveTo>
                      <a:pt x="306" y="232"/>
                    </a:moveTo>
                    <a:cubicBezTo>
                      <a:pt x="306" y="55"/>
                      <a:pt x="306" y="55"/>
                      <a:pt x="306" y="55"/>
                    </a:cubicBezTo>
                    <a:cubicBezTo>
                      <a:pt x="481" y="232"/>
                      <a:pt x="481" y="232"/>
                      <a:pt x="481" y="232"/>
                    </a:cubicBezTo>
                    <a:cubicBezTo>
                      <a:pt x="306" y="232"/>
                      <a:pt x="306" y="232"/>
                      <a:pt x="306" y="2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sz="1567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7" name="Freeform 27"/>
              <p:cNvSpPr>
                <a:spLocks noEditPoints="1"/>
              </p:cNvSpPr>
              <p:nvPr/>
            </p:nvSpPr>
            <p:spPr bwMode="auto">
              <a:xfrm>
                <a:off x="7546930" y="6098622"/>
                <a:ext cx="151834" cy="170689"/>
              </a:xfrm>
              <a:custGeom>
                <a:avLst/>
                <a:gdLst>
                  <a:gd name="T0" fmla="*/ 525 w 547"/>
                  <a:gd name="T1" fmla="*/ 188 h 684"/>
                  <a:gd name="T2" fmla="*/ 350 w 547"/>
                  <a:gd name="T3" fmla="*/ 22 h 684"/>
                  <a:gd name="T4" fmla="*/ 306 w 547"/>
                  <a:gd name="T5" fmla="*/ 0 h 684"/>
                  <a:gd name="T6" fmla="*/ 66 w 547"/>
                  <a:gd name="T7" fmla="*/ 0 h 684"/>
                  <a:gd name="T8" fmla="*/ 0 w 547"/>
                  <a:gd name="T9" fmla="*/ 55 h 684"/>
                  <a:gd name="T10" fmla="*/ 0 w 547"/>
                  <a:gd name="T11" fmla="*/ 618 h 684"/>
                  <a:gd name="T12" fmla="*/ 66 w 547"/>
                  <a:gd name="T13" fmla="*/ 684 h 684"/>
                  <a:gd name="T14" fmla="*/ 481 w 547"/>
                  <a:gd name="T15" fmla="*/ 684 h 684"/>
                  <a:gd name="T16" fmla="*/ 547 w 547"/>
                  <a:gd name="T17" fmla="*/ 618 h 684"/>
                  <a:gd name="T18" fmla="*/ 547 w 547"/>
                  <a:gd name="T19" fmla="*/ 232 h 684"/>
                  <a:gd name="T20" fmla="*/ 525 w 547"/>
                  <a:gd name="T21" fmla="*/ 188 h 684"/>
                  <a:gd name="T22" fmla="*/ 481 w 547"/>
                  <a:gd name="T23" fmla="*/ 618 h 684"/>
                  <a:gd name="T24" fmla="*/ 66 w 547"/>
                  <a:gd name="T25" fmla="*/ 618 h 684"/>
                  <a:gd name="T26" fmla="*/ 66 w 547"/>
                  <a:gd name="T27" fmla="*/ 55 h 684"/>
                  <a:gd name="T28" fmla="*/ 252 w 547"/>
                  <a:gd name="T29" fmla="*/ 55 h 684"/>
                  <a:gd name="T30" fmla="*/ 252 w 547"/>
                  <a:gd name="T31" fmla="*/ 232 h 684"/>
                  <a:gd name="T32" fmla="*/ 306 w 547"/>
                  <a:gd name="T33" fmla="*/ 298 h 684"/>
                  <a:gd name="T34" fmla="*/ 481 w 547"/>
                  <a:gd name="T35" fmla="*/ 298 h 684"/>
                  <a:gd name="T36" fmla="*/ 481 w 547"/>
                  <a:gd name="T37" fmla="*/ 618 h 684"/>
                  <a:gd name="T38" fmla="*/ 306 w 547"/>
                  <a:gd name="T39" fmla="*/ 232 h 684"/>
                  <a:gd name="T40" fmla="*/ 306 w 547"/>
                  <a:gd name="T41" fmla="*/ 55 h 684"/>
                  <a:gd name="T42" fmla="*/ 481 w 547"/>
                  <a:gd name="T43" fmla="*/ 232 h 684"/>
                  <a:gd name="T44" fmla="*/ 306 w 547"/>
                  <a:gd name="T45" fmla="*/ 232 h 6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47" h="684">
                    <a:moveTo>
                      <a:pt x="525" y="188"/>
                    </a:moveTo>
                    <a:cubicBezTo>
                      <a:pt x="350" y="22"/>
                      <a:pt x="350" y="22"/>
                      <a:pt x="350" y="22"/>
                    </a:cubicBezTo>
                    <a:cubicBezTo>
                      <a:pt x="330" y="2"/>
                      <a:pt x="328" y="0"/>
                      <a:pt x="30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33" y="0"/>
                      <a:pt x="0" y="22"/>
                      <a:pt x="0" y="55"/>
                    </a:cubicBezTo>
                    <a:cubicBezTo>
                      <a:pt x="0" y="618"/>
                      <a:pt x="0" y="618"/>
                      <a:pt x="0" y="618"/>
                    </a:cubicBezTo>
                    <a:cubicBezTo>
                      <a:pt x="0" y="651"/>
                      <a:pt x="33" y="684"/>
                      <a:pt x="66" y="684"/>
                    </a:cubicBezTo>
                    <a:cubicBezTo>
                      <a:pt x="481" y="684"/>
                      <a:pt x="481" y="684"/>
                      <a:pt x="481" y="684"/>
                    </a:cubicBezTo>
                    <a:cubicBezTo>
                      <a:pt x="514" y="684"/>
                      <a:pt x="547" y="651"/>
                      <a:pt x="547" y="618"/>
                    </a:cubicBezTo>
                    <a:cubicBezTo>
                      <a:pt x="547" y="232"/>
                      <a:pt x="547" y="232"/>
                      <a:pt x="547" y="232"/>
                    </a:cubicBezTo>
                    <a:cubicBezTo>
                      <a:pt x="547" y="207"/>
                      <a:pt x="525" y="188"/>
                      <a:pt x="525" y="188"/>
                    </a:cubicBezTo>
                    <a:close/>
                    <a:moveTo>
                      <a:pt x="481" y="618"/>
                    </a:moveTo>
                    <a:cubicBezTo>
                      <a:pt x="66" y="618"/>
                      <a:pt x="66" y="618"/>
                      <a:pt x="66" y="618"/>
                    </a:cubicBezTo>
                    <a:cubicBezTo>
                      <a:pt x="66" y="55"/>
                      <a:pt x="66" y="55"/>
                      <a:pt x="66" y="55"/>
                    </a:cubicBezTo>
                    <a:cubicBezTo>
                      <a:pt x="252" y="55"/>
                      <a:pt x="252" y="55"/>
                      <a:pt x="252" y="55"/>
                    </a:cubicBezTo>
                    <a:cubicBezTo>
                      <a:pt x="252" y="232"/>
                      <a:pt x="252" y="232"/>
                      <a:pt x="252" y="232"/>
                    </a:cubicBezTo>
                    <a:cubicBezTo>
                      <a:pt x="252" y="265"/>
                      <a:pt x="273" y="298"/>
                      <a:pt x="306" y="298"/>
                    </a:cubicBezTo>
                    <a:cubicBezTo>
                      <a:pt x="481" y="298"/>
                      <a:pt x="481" y="298"/>
                      <a:pt x="481" y="298"/>
                    </a:cubicBezTo>
                    <a:lnTo>
                      <a:pt x="481" y="618"/>
                    </a:lnTo>
                    <a:close/>
                    <a:moveTo>
                      <a:pt x="306" y="232"/>
                    </a:moveTo>
                    <a:cubicBezTo>
                      <a:pt x="306" y="55"/>
                      <a:pt x="306" y="55"/>
                      <a:pt x="306" y="55"/>
                    </a:cubicBezTo>
                    <a:cubicBezTo>
                      <a:pt x="481" y="232"/>
                      <a:pt x="481" y="232"/>
                      <a:pt x="481" y="232"/>
                    </a:cubicBezTo>
                    <a:cubicBezTo>
                      <a:pt x="306" y="232"/>
                      <a:pt x="306" y="232"/>
                      <a:pt x="306" y="2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sz="1567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8" name="Freeform 27"/>
              <p:cNvSpPr>
                <a:spLocks noEditPoints="1"/>
              </p:cNvSpPr>
              <p:nvPr/>
            </p:nvSpPr>
            <p:spPr bwMode="auto">
              <a:xfrm>
                <a:off x="7746830" y="6098622"/>
                <a:ext cx="151834" cy="170689"/>
              </a:xfrm>
              <a:custGeom>
                <a:avLst/>
                <a:gdLst>
                  <a:gd name="T0" fmla="*/ 525 w 547"/>
                  <a:gd name="T1" fmla="*/ 188 h 684"/>
                  <a:gd name="T2" fmla="*/ 350 w 547"/>
                  <a:gd name="T3" fmla="*/ 22 h 684"/>
                  <a:gd name="T4" fmla="*/ 306 w 547"/>
                  <a:gd name="T5" fmla="*/ 0 h 684"/>
                  <a:gd name="T6" fmla="*/ 66 w 547"/>
                  <a:gd name="T7" fmla="*/ 0 h 684"/>
                  <a:gd name="T8" fmla="*/ 0 w 547"/>
                  <a:gd name="T9" fmla="*/ 55 h 684"/>
                  <a:gd name="T10" fmla="*/ 0 w 547"/>
                  <a:gd name="T11" fmla="*/ 618 h 684"/>
                  <a:gd name="T12" fmla="*/ 66 w 547"/>
                  <a:gd name="T13" fmla="*/ 684 h 684"/>
                  <a:gd name="T14" fmla="*/ 481 w 547"/>
                  <a:gd name="T15" fmla="*/ 684 h 684"/>
                  <a:gd name="T16" fmla="*/ 547 w 547"/>
                  <a:gd name="T17" fmla="*/ 618 h 684"/>
                  <a:gd name="T18" fmla="*/ 547 w 547"/>
                  <a:gd name="T19" fmla="*/ 232 h 684"/>
                  <a:gd name="T20" fmla="*/ 525 w 547"/>
                  <a:gd name="T21" fmla="*/ 188 h 684"/>
                  <a:gd name="T22" fmla="*/ 481 w 547"/>
                  <a:gd name="T23" fmla="*/ 618 h 684"/>
                  <a:gd name="T24" fmla="*/ 66 w 547"/>
                  <a:gd name="T25" fmla="*/ 618 h 684"/>
                  <a:gd name="T26" fmla="*/ 66 w 547"/>
                  <a:gd name="T27" fmla="*/ 55 h 684"/>
                  <a:gd name="T28" fmla="*/ 252 w 547"/>
                  <a:gd name="T29" fmla="*/ 55 h 684"/>
                  <a:gd name="T30" fmla="*/ 252 w 547"/>
                  <a:gd name="T31" fmla="*/ 232 h 684"/>
                  <a:gd name="T32" fmla="*/ 306 w 547"/>
                  <a:gd name="T33" fmla="*/ 298 h 684"/>
                  <a:gd name="T34" fmla="*/ 481 w 547"/>
                  <a:gd name="T35" fmla="*/ 298 h 684"/>
                  <a:gd name="T36" fmla="*/ 481 w 547"/>
                  <a:gd name="T37" fmla="*/ 618 h 684"/>
                  <a:gd name="T38" fmla="*/ 306 w 547"/>
                  <a:gd name="T39" fmla="*/ 232 h 684"/>
                  <a:gd name="T40" fmla="*/ 306 w 547"/>
                  <a:gd name="T41" fmla="*/ 55 h 684"/>
                  <a:gd name="T42" fmla="*/ 481 w 547"/>
                  <a:gd name="T43" fmla="*/ 232 h 684"/>
                  <a:gd name="T44" fmla="*/ 306 w 547"/>
                  <a:gd name="T45" fmla="*/ 232 h 6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47" h="684">
                    <a:moveTo>
                      <a:pt x="525" y="188"/>
                    </a:moveTo>
                    <a:cubicBezTo>
                      <a:pt x="350" y="22"/>
                      <a:pt x="350" y="22"/>
                      <a:pt x="350" y="22"/>
                    </a:cubicBezTo>
                    <a:cubicBezTo>
                      <a:pt x="330" y="2"/>
                      <a:pt x="328" y="0"/>
                      <a:pt x="30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33" y="0"/>
                      <a:pt x="0" y="22"/>
                      <a:pt x="0" y="55"/>
                    </a:cubicBezTo>
                    <a:cubicBezTo>
                      <a:pt x="0" y="618"/>
                      <a:pt x="0" y="618"/>
                      <a:pt x="0" y="618"/>
                    </a:cubicBezTo>
                    <a:cubicBezTo>
                      <a:pt x="0" y="651"/>
                      <a:pt x="33" y="684"/>
                      <a:pt x="66" y="684"/>
                    </a:cubicBezTo>
                    <a:cubicBezTo>
                      <a:pt x="481" y="684"/>
                      <a:pt x="481" y="684"/>
                      <a:pt x="481" y="684"/>
                    </a:cubicBezTo>
                    <a:cubicBezTo>
                      <a:pt x="514" y="684"/>
                      <a:pt x="547" y="651"/>
                      <a:pt x="547" y="618"/>
                    </a:cubicBezTo>
                    <a:cubicBezTo>
                      <a:pt x="547" y="232"/>
                      <a:pt x="547" y="232"/>
                      <a:pt x="547" y="232"/>
                    </a:cubicBezTo>
                    <a:cubicBezTo>
                      <a:pt x="547" y="207"/>
                      <a:pt x="525" y="188"/>
                      <a:pt x="525" y="188"/>
                    </a:cubicBezTo>
                    <a:close/>
                    <a:moveTo>
                      <a:pt x="481" y="618"/>
                    </a:moveTo>
                    <a:cubicBezTo>
                      <a:pt x="66" y="618"/>
                      <a:pt x="66" y="618"/>
                      <a:pt x="66" y="618"/>
                    </a:cubicBezTo>
                    <a:cubicBezTo>
                      <a:pt x="66" y="55"/>
                      <a:pt x="66" y="55"/>
                      <a:pt x="66" y="55"/>
                    </a:cubicBezTo>
                    <a:cubicBezTo>
                      <a:pt x="252" y="55"/>
                      <a:pt x="252" y="55"/>
                      <a:pt x="252" y="55"/>
                    </a:cubicBezTo>
                    <a:cubicBezTo>
                      <a:pt x="252" y="232"/>
                      <a:pt x="252" y="232"/>
                      <a:pt x="252" y="232"/>
                    </a:cubicBezTo>
                    <a:cubicBezTo>
                      <a:pt x="252" y="265"/>
                      <a:pt x="273" y="298"/>
                      <a:pt x="306" y="298"/>
                    </a:cubicBezTo>
                    <a:cubicBezTo>
                      <a:pt x="481" y="298"/>
                      <a:pt x="481" y="298"/>
                      <a:pt x="481" y="298"/>
                    </a:cubicBezTo>
                    <a:lnTo>
                      <a:pt x="481" y="618"/>
                    </a:lnTo>
                    <a:close/>
                    <a:moveTo>
                      <a:pt x="306" y="232"/>
                    </a:moveTo>
                    <a:cubicBezTo>
                      <a:pt x="306" y="55"/>
                      <a:pt x="306" y="55"/>
                      <a:pt x="306" y="55"/>
                    </a:cubicBezTo>
                    <a:cubicBezTo>
                      <a:pt x="481" y="232"/>
                      <a:pt x="481" y="232"/>
                      <a:pt x="481" y="232"/>
                    </a:cubicBezTo>
                    <a:cubicBezTo>
                      <a:pt x="306" y="232"/>
                      <a:pt x="306" y="232"/>
                      <a:pt x="306" y="2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sz="1567" kern="0">
                  <a:solidFill>
                    <a:sysClr val="windowText" lastClr="000000"/>
                  </a:solidFill>
                </a:endParaRPr>
              </a:p>
            </p:txBody>
          </p:sp>
        </p:grpSp>
        <p:sp>
          <p:nvSpPr>
            <p:cNvPr id="11" name="Right Arrow 223"/>
            <p:cNvSpPr/>
            <p:nvPr/>
          </p:nvSpPr>
          <p:spPr bwMode="auto">
            <a:xfrm>
              <a:off x="4127419" y="5396804"/>
              <a:ext cx="1929981" cy="509361"/>
            </a:xfrm>
            <a:prstGeom prst="rightArrow">
              <a:avLst>
                <a:gd name="adj1" fmla="val 59973"/>
                <a:gd name="adj2" fmla="val 64960"/>
              </a:avLst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>
                <a:lnSpc>
                  <a:spcPct val="90000"/>
                </a:lnSpc>
              </a:pPr>
              <a:endParaRPr lang="en-US" sz="1961" b="1" kern="0" dirty="0">
                <a:solidFill>
                  <a:schemeClr val="bg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2286478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GB" dirty="0">
                <a:solidFill>
                  <a:srgbClr val="00B0F0"/>
                </a:solidFill>
              </a:rPr>
              <a:t>MapReduce</a:t>
            </a:r>
          </a:p>
        </p:txBody>
      </p:sp>
      <p:sp>
        <p:nvSpPr>
          <p:cNvPr id="5" name="Rectangle 4"/>
          <p:cNvSpPr/>
          <p:nvPr/>
        </p:nvSpPr>
        <p:spPr>
          <a:xfrm>
            <a:off x="269241" y="1189494"/>
            <a:ext cx="9605440" cy="452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353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</a:rPr>
              <a:t>A managed cloud service for building and operating data pipelines</a:t>
            </a:r>
          </a:p>
        </p:txBody>
      </p:sp>
      <p:sp>
        <p:nvSpPr>
          <p:cNvPr id="9" name="Text Placeholder 3"/>
          <p:cNvSpPr txBox="1">
            <a:spLocks/>
          </p:cNvSpPr>
          <p:nvPr/>
        </p:nvSpPr>
        <p:spPr>
          <a:xfrm>
            <a:off x="163363" y="1339386"/>
            <a:ext cx="5270206" cy="491929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36145" marR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2800" kern="1200" spc="0" baseline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572691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6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784338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4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008435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2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32531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tabLst/>
              <a:defRPr sz="1200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2000" dirty="0">
                <a:solidFill>
                  <a:schemeClr val="tx1"/>
                </a:solidFill>
              </a:rPr>
              <a:t>Programming framework for analysing datasets stored on HDFS</a:t>
            </a:r>
          </a:p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2000" dirty="0">
                <a:solidFill>
                  <a:schemeClr val="tx1"/>
                </a:solidFill>
              </a:rPr>
              <a:t>Typically MapReduce + HDFS run on the same set of nodes</a:t>
            </a:r>
          </a:p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2000" dirty="0">
                <a:solidFill>
                  <a:schemeClr val="tx1"/>
                </a:solidFill>
              </a:rPr>
              <a:t>Distributes computation locally to where the data is</a:t>
            </a:r>
          </a:p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2000" dirty="0">
                <a:solidFill>
                  <a:schemeClr val="tx1"/>
                </a:solidFill>
              </a:rPr>
              <a:t>Scales linearly as you add nodes</a:t>
            </a:r>
          </a:p>
          <a:p>
            <a:pPr marL="342900" lvl="1" indent="-342900" defTabSz="914400">
              <a:spcBef>
                <a:spcPts val="500"/>
              </a:spcBef>
              <a:spcAft>
                <a:spcPts val="1800"/>
              </a:spcAft>
              <a:buClr>
                <a:srgbClr val="0078D7"/>
              </a:buClr>
              <a:buFont typeface="Wingdings" panose="05000000000000000000" pitchFamily="2" charset="2"/>
              <a:buChar char="Ø"/>
            </a:pPr>
            <a:r>
              <a:rPr lang="en-GB" sz="2000" dirty="0">
                <a:solidFill>
                  <a:schemeClr val="tx1"/>
                </a:solidFill>
              </a:rPr>
              <a:t>Composed of used-supplied Map and Reduce functions:</a:t>
            </a:r>
          </a:p>
          <a:p>
            <a:pPr marL="554547" lvl="2" indent="-342900" defTabSz="914400">
              <a:lnSpc>
                <a:spcPct val="150000"/>
              </a:lnSpc>
              <a:spcBef>
                <a:spcPts val="0"/>
              </a:spcBef>
              <a:buClr>
                <a:srgbClr val="0078D7"/>
              </a:buClr>
            </a:pPr>
            <a:r>
              <a:rPr lang="en-GB" sz="1800" b="1" dirty="0">
                <a:solidFill>
                  <a:schemeClr val="tx1"/>
                </a:solidFill>
              </a:rPr>
              <a:t>Map</a:t>
            </a:r>
            <a:r>
              <a:rPr lang="en-GB" sz="1800" dirty="0">
                <a:solidFill>
                  <a:schemeClr val="tx1"/>
                </a:solidFill>
              </a:rPr>
              <a:t>(): subdivide and conquer</a:t>
            </a:r>
          </a:p>
          <a:p>
            <a:pPr marL="554547" lvl="2" indent="-342900" defTabSz="914400">
              <a:lnSpc>
                <a:spcPct val="150000"/>
              </a:lnSpc>
              <a:spcBef>
                <a:spcPts val="0"/>
              </a:spcBef>
              <a:buClr>
                <a:srgbClr val="0078D7"/>
              </a:buClr>
            </a:pPr>
            <a:r>
              <a:rPr lang="en-GB" sz="1800" b="1" dirty="0">
                <a:solidFill>
                  <a:schemeClr val="tx1"/>
                </a:solidFill>
              </a:rPr>
              <a:t>Reduce</a:t>
            </a:r>
            <a:r>
              <a:rPr lang="en-GB" sz="1800" dirty="0">
                <a:solidFill>
                  <a:schemeClr val="tx1"/>
                </a:solidFill>
              </a:rPr>
              <a:t>(): combine and reduce cardinality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5423337" y="1415790"/>
            <a:ext cx="6545513" cy="5003930"/>
            <a:chOff x="5109897" y="1278141"/>
            <a:chExt cx="6663462" cy="5075801"/>
          </a:xfrm>
        </p:grpSpPr>
        <p:grpSp>
          <p:nvGrpSpPr>
            <p:cNvPr id="7" name="Group 6"/>
            <p:cNvGrpSpPr/>
            <p:nvPr/>
          </p:nvGrpSpPr>
          <p:grpSpPr>
            <a:xfrm>
              <a:off x="6705994" y="5152100"/>
              <a:ext cx="4173333" cy="556995"/>
              <a:chOff x="7267499" y="4959199"/>
              <a:chExt cx="4257017" cy="568164"/>
            </a:xfrm>
          </p:grpSpPr>
          <p:sp>
            <p:nvSpPr>
              <p:cNvPr id="8" name="Isosceles Triangle 7"/>
              <p:cNvSpPr/>
              <p:nvPr/>
            </p:nvSpPr>
            <p:spPr bwMode="auto">
              <a:xfrm flipV="1">
                <a:off x="7267499" y="4959199"/>
                <a:ext cx="4257017" cy="568164"/>
              </a:xfrm>
              <a:prstGeom prst="triangle">
                <a:avLst/>
              </a:prstGeom>
              <a:noFill/>
              <a:ln w="19050" cap="rnd">
                <a:solidFill>
                  <a:schemeClr val="bg1">
                    <a:lumMod val="75000"/>
                  </a:schemeClr>
                </a:solidFill>
                <a:prstDash val="sysDot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10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10" name="Group 9"/>
              <p:cNvGrpSpPr/>
              <p:nvPr/>
            </p:nvGrpSpPr>
            <p:grpSpPr>
              <a:xfrm>
                <a:off x="8445328" y="5004579"/>
                <a:ext cx="1901359" cy="409584"/>
                <a:chOff x="8412347" y="5004579"/>
                <a:chExt cx="1901359" cy="409584"/>
              </a:xfrm>
            </p:grpSpPr>
            <p:sp>
              <p:nvSpPr>
                <p:cNvPr id="11" name="Rectangle 10"/>
                <p:cNvSpPr/>
                <p:nvPr/>
              </p:nvSpPr>
              <p:spPr bwMode="auto">
                <a:xfrm>
                  <a:off x="8412347" y="5016953"/>
                  <a:ext cx="429805" cy="228108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  <a:headEnd type="none" w="med" len="med"/>
                  <a:tailEnd type="none" w="med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horz" wrap="square" lIns="0" tIns="45720" rIns="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102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3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" name="Rectangle 11"/>
                <p:cNvSpPr/>
                <p:nvPr/>
              </p:nvSpPr>
              <p:spPr bwMode="auto">
                <a:xfrm>
                  <a:off x="9148124" y="5186055"/>
                  <a:ext cx="429805" cy="228108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  <a:headEnd type="none" w="med" len="med"/>
                  <a:tailEnd type="none" w="med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horz" wrap="square" lIns="0" tIns="45720" rIns="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102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3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" name="Rectangle 12"/>
                <p:cNvSpPr/>
                <p:nvPr/>
              </p:nvSpPr>
              <p:spPr bwMode="auto">
                <a:xfrm>
                  <a:off x="9883901" y="5004579"/>
                  <a:ext cx="429805" cy="228108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  <a:headEnd type="none" w="med" len="med"/>
                  <a:tailEnd type="none" w="med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horz" wrap="square" lIns="0" tIns="45720" rIns="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102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3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</a:endParaRPr>
                </a:p>
              </p:txBody>
            </p:sp>
          </p:grpSp>
        </p:grpSp>
        <p:sp>
          <p:nvSpPr>
            <p:cNvPr id="14" name="Rectangle 13"/>
            <p:cNvSpPr/>
            <p:nvPr/>
          </p:nvSpPr>
          <p:spPr bwMode="auto">
            <a:xfrm>
              <a:off x="8211231" y="5814143"/>
              <a:ext cx="1162856" cy="539798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353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Output</a:t>
              </a:r>
            </a:p>
          </p:txBody>
        </p:sp>
        <p:sp>
          <p:nvSpPr>
            <p:cNvPr id="15" name="Left Brace 14"/>
            <p:cNvSpPr/>
            <p:nvPr/>
          </p:nvSpPr>
          <p:spPr>
            <a:xfrm>
              <a:off x="6030163" y="1278141"/>
              <a:ext cx="183846" cy="2868311"/>
            </a:xfrm>
            <a:prstGeom prst="leftBrace">
              <a:avLst>
                <a:gd name="adj1" fmla="val 47876"/>
                <a:gd name="adj2" fmla="val 50000"/>
              </a:avLst>
            </a:prstGeom>
            <a:solidFill>
              <a:schemeClr val="bg1"/>
            </a:solidFill>
            <a:ln w="15875">
              <a:solidFill>
                <a:schemeClr val="bg1">
                  <a:lumMod val="75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5109897" y="2270315"/>
              <a:ext cx="888878" cy="883961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none" lIns="89642" tIns="44821" rIns="89642" bIns="44821" rtlCol="0" anchor="ctr">
              <a:noAutofit/>
            </a:bodyPr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68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ap()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5109897" y="4938219"/>
              <a:ext cx="888878" cy="883961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none" lIns="89642" tIns="44821" rIns="89642" bIns="44821" rtlCol="0" anchor="ctr">
              <a:noAutofit/>
            </a:bodyPr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68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bold" panose="020B0702040204020203" pitchFamily="34" charset="0"/>
                  <a:cs typeface="Segoe UI Semibold" panose="020B0702040204020203" pitchFamily="34" charset="0"/>
                </a:rPr>
                <a:t>Reduce()</a:t>
              </a:r>
            </a:p>
          </p:txBody>
        </p:sp>
        <p:sp>
          <p:nvSpPr>
            <p:cNvPr id="18" name="Left Brace 17"/>
            <p:cNvSpPr/>
            <p:nvPr/>
          </p:nvSpPr>
          <p:spPr>
            <a:xfrm>
              <a:off x="6030163" y="4406457"/>
              <a:ext cx="183846" cy="1947485"/>
            </a:xfrm>
            <a:prstGeom prst="leftBrace">
              <a:avLst>
                <a:gd name="adj1" fmla="val 47876"/>
                <a:gd name="adj2" fmla="val 50000"/>
              </a:avLst>
            </a:prstGeom>
            <a:solidFill>
              <a:schemeClr val="bg1"/>
            </a:solidFill>
            <a:ln w="15875">
              <a:solidFill>
                <a:schemeClr val="bg1">
                  <a:lumMod val="75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19" name="Group 18"/>
            <p:cNvGrpSpPr/>
            <p:nvPr/>
          </p:nvGrpSpPr>
          <p:grpSpPr>
            <a:xfrm>
              <a:off x="6418965" y="3520315"/>
              <a:ext cx="4750107" cy="580975"/>
              <a:chOff x="6974714" y="3492630"/>
              <a:chExt cx="4845357" cy="592625"/>
            </a:xfrm>
          </p:grpSpPr>
          <p:grpSp>
            <p:nvGrpSpPr>
              <p:cNvPr id="20" name="Group 19"/>
              <p:cNvGrpSpPr/>
              <p:nvPr/>
            </p:nvGrpSpPr>
            <p:grpSpPr>
              <a:xfrm>
                <a:off x="6974714" y="3492630"/>
                <a:ext cx="1236395" cy="592625"/>
                <a:chOff x="6860414" y="3771242"/>
                <a:chExt cx="1236395" cy="592625"/>
              </a:xfrm>
            </p:grpSpPr>
            <p:sp>
              <p:nvSpPr>
                <p:cNvPr id="29" name="Rectangle 28"/>
                <p:cNvSpPr/>
                <p:nvPr/>
              </p:nvSpPr>
              <p:spPr bwMode="auto">
                <a:xfrm>
                  <a:off x="7114341" y="3771242"/>
                  <a:ext cx="858083" cy="228108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horz" wrap="square" lIns="0" tIns="45720" rIns="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102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3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0" name="TextBox 29"/>
                <p:cNvSpPr txBox="1"/>
                <p:nvPr/>
              </p:nvSpPr>
              <p:spPr>
                <a:xfrm>
                  <a:off x="7023054" y="4025313"/>
                  <a:ext cx="1073755" cy="338554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lIns="89642" tIns="44821" rIns="89642" bIns="44821" rtlCol="0">
                  <a:noAutofit/>
                </a:bodyPr>
                <a:lstStyle/>
                <a:p>
                  <a:pPr marL="0" marR="0" lvl="0" indent="0" defTabSz="91436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568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72C6"/>
                      </a:solidFill>
                      <a:effectLst/>
                      <a:uLnTx/>
                      <a:uFillTx/>
                    </a:rPr>
                    <a:t>Do work()</a:t>
                  </a:r>
                </a:p>
              </p:txBody>
            </p:sp>
            <p:sp>
              <p:nvSpPr>
                <p:cNvPr id="31" name="Curved Up Arrow 9"/>
                <p:cNvSpPr/>
                <p:nvPr/>
              </p:nvSpPr>
              <p:spPr bwMode="auto">
                <a:xfrm rot="5400000" flipH="1">
                  <a:off x="6776799" y="3914855"/>
                  <a:ext cx="393096" cy="225866"/>
                </a:xfrm>
                <a:prstGeom prst="curvedUpArrow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horz" wrap="square" lIns="0" tIns="45720" rIns="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102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3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21" name="Group 20"/>
              <p:cNvGrpSpPr/>
              <p:nvPr/>
            </p:nvGrpSpPr>
            <p:grpSpPr>
              <a:xfrm>
                <a:off x="8779195" y="3492630"/>
                <a:ext cx="1236395" cy="592625"/>
                <a:chOff x="6860414" y="3771242"/>
                <a:chExt cx="1236395" cy="592625"/>
              </a:xfrm>
            </p:grpSpPr>
            <p:sp>
              <p:nvSpPr>
                <p:cNvPr id="26" name="Rectangle 25"/>
                <p:cNvSpPr/>
                <p:nvPr/>
              </p:nvSpPr>
              <p:spPr bwMode="auto">
                <a:xfrm>
                  <a:off x="7114341" y="3771242"/>
                  <a:ext cx="858083" cy="228108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horz" wrap="square" lIns="0" tIns="45720" rIns="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102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3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7" name="TextBox 26"/>
                <p:cNvSpPr txBox="1"/>
                <p:nvPr/>
              </p:nvSpPr>
              <p:spPr>
                <a:xfrm>
                  <a:off x="7023054" y="4025313"/>
                  <a:ext cx="1073755" cy="338554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lIns="89642" tIns="44821" rIns="89642" bIns="44821" rtlCol="0">
                  <a:noAutofit/>
                </a:bodyPr>
                <a:lstStyle/>
                <a:p>
                  <a:pPr marL="0" marR="0" lvl="0" indent="0" defTabSz="91436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568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72C6"/>
                      </a:solidFill>
                      <a:effectLst/>
                      <a:uLnTx/>
                      <a:uFillTx/>
                    </a:rPr>
                    <a:t>Do work()</a:t>
                  </a:r>
                </a:p>
              </p:txBody>
            </p:sp>
            <p:sp>
              <p:nvSpPr>
                <p:cNvPr id="28" name="Curved Up Arrow 48"/>
                <p:cNvSpPr/>
                <p:nvPr/>
              </p:nvSpPr>
              <p:spPr bwMode="auto">
                <a:xfrm rot="5400000" flipH="1">
                  <a:off x="6776799" y="3914855"/>
                  <a:ext cx="393096" cy="225866"/>
                </a:xfrm>
                <a:prstGeom prst="curvedUpArrow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horz" wrap="square" lIns="0" tIns="45720" rIns="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102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3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22" name="Group 21"/>
              <p:cNvGrpSpPr/>
              <p:nvPr/>
            </p:nvGrpSpPr>
            <p:grpSpPr>
              <a:xfrm>
                <a:off x="10583676" y="3492630"/>
                <a:ext cx="1236395" cy="592625"/>
                <a:chOff x="6860414" y="3771242"/>
                <a:chExt cx="1236395" cy="592625"/>
              </a:xfrm>
            </p:grpSpPr>
            <p:sp>
              <p:nvSpPr>
                <p:cNvPr id="23" name="Rectangle 22"/>
                <p:cNvSpPr/>
                <p:nvPr/>
              </p:nvSpPr>
              <p:spPr bwMode="auto">
                <a:xfrm>
                  <a:off x="7114341" y="3771242"/>
                  <a:ext cx="858083" cy="228108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horz" wrap="square" lIns="0" tIns="45720" rIns="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102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3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4" name="TextBox 23"/>
                <p:cNvSpPr txBox="1"/>
                <p:nvPr/>
              </p:nvSpPr>
              <p:spPr>
                <a:xfrm>
                  <a:off x="7023054" y="4025313"/>
                  <a:ext cx="1073755" cy="338554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lIns="89642" tIns="44821" rIns="89642" bIns="44821" rtlCol="0">
                  <a:noAutofit/>
                </a:bodyPr>
                <a:lstStyle/>
                <a:p>
                  <a:pPr marL="0" marR="0" lvl="0" indent="0" defTabSz="91436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568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72C6"/>
                      </a:solidFill>
                      <a:effectLst/>
                      <a:uLnTx/>
                      <a:uFillTx/>
                    </a:rPr>
                    <a:t>Do work()</a:t>
                  </a:r>
                </a:p>
              </p:txBody>
            </p:sp>
            <p:sp>
              <p:nvSpPr>
                <p:cNvPr id="25" name="Curved Up Arrow 52"/>
                <p:cNvSpPr/>
                <p:nvPr/>
              </p:nvSpPr>
              <p:spPr bwMode="auto">
                <a:xfrm rot="5400000" flipH="1">
                  <a:off x="6776799" y="3914855"/>
                  <a:ext cx="393096" cy="225866"/>
                </a:xfrm>
                <a:prstGeom prst="curvedUpArrow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horz" wrap="square" lIns="0" tIns="45720" rIns="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102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3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32" name="Group 31"/>
            <p:cNvGrpSpPr/>
            <p:nvPr/>
          </p:nvGrpSpPr>
          <p:grpSpPr>
            <a:xfrm>
              <a:off x="6271441" y="2822900"/>
              <a:ext cx="5501918" cy="561211"/>
              <a:chOff x="6824232" y="2781232"/>
              <a:chExt cx="5612243" cy="572464"/>
            </a:xfrm>
          </p:grpSpPr>
          <p:sp>
            <p:nvSpPr>
              <p:cNvPr id="33" name="TextBox 32"/>
              <p:cNvSpPr txBox="1"/>
              <p:nvPr/>
            </p:nvSpPr>
            <p:spPr>
              <a:xfrm>
                <a:off x="7228640" y="2781232"/>
                <a:ext cx="5207835" cy="57246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square" lIns="89642" tIns="143428" rIns="44821" bIns="143428" rtlCol="0">
                <a:spAutoFit/>
              </a:bodyPr>
              <a:lstStyle/>
              <a:p>
                <a:pPr marL="0" marR="0" lvl="0" indent="0" defTabSz="91436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765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Perform the same function on all sub-problems.</a:t>
                </a:r>
              </a:p>
            </p:txBody>
          </p:sp>
          <p:sp>
            <p:nvSpPr>
              <p:cNvPr id="34" name="Freeform 55"/>
              <p:cNvSpPr>
                <a:spLocks/>
              </p:cNvSpPr>
              <p:nvPr/>
            </p:nvSpPr>
            <p:spPr bwMode="auto">
              <a:xfrm>
                <a:off x="6824232" y="2842985"/>
                <a:ext cx="273184" cy="448958"/>
              </a:xfrm>
              <a:custGeom>
                <a:avLst/>
                <a:gdLst>
                  <a:gd name="T0" fmla="*/ 608 w 617"/>
                  <a:gd name="T1" fmla="*/ 1014 h 1014"/>
                  <a:gd name="T2" fmla="*/ 17 w 617"/>
                  <a:gd name="T3" fmla="*/ 1014 h 1014"/>
                  <a:gd name="T4" fmla="*/ 6 w 617"/>
                  <a:gd name="T5" fmla="*/ 1014 h 1014"/>
                  <a:gd name="T6" fmla="*/ 0 w 617"/>
                  <a:gd name="T7" fmla="*/ 1009 h 1014"/>
                  <a:gd name="T8" fmla="*/ 2 w 617"/>
                  <a:gd name="T9" fmla="*/ 936 h 1014"/>
                  <a:gd name="T10" fmla="*/ 11 w 617"/>
                  <a:gd name="T11" fmla="*/ 862 h 1014"/>
                  <a:gd name="T12" fmla="*/ 25 w 617"/>
                  <a:gd name="T13" fmla="*/ 820 h 1014"/>
                  <a:gd name="T14" fmla="*/ 56 w 617"/>
                  <a:gd name="T15" fmla="*/ 764 h 1014"/>
                  <a:gd name="T16" fmla="*/ 98 w 617"/>
                  <a:gd name="T17" fmla="*/ 714 h 1014"/>
                  <a:gd name="T18" fmla="*/ 167 w 617"/>
                  <a:gd name="T19" fmla="*/ 651 h 1014"/>
                  <a:gd name="T20" fmla="*/ 241 w 617"/>
                  <a:gd name="T21" fmla="*/ 595 h 1014"/>
                  <a:gd name="T22" fmla="*/ 361 w 617"/>
                  <a:gd name="T23" fmla="*/ 498 h 1014"/>
                  <a:gd name="T24" fmla="*/ 392 w 617"/>
                  <a:gd name="T25" fmla="*/ 464 h 1014"/>
                  <a:gd name="T26" fmla="*/ 431 w 617"/>
                  <a:gd name="T27" fmla="*/ 409 h 1014"/>
                  <a:gd name="T28" fmla="*/ 455 w 617"/>
                  <a:gd name="T29" fmla="*/ 344 h 1014"/>
                  <a:gd name="T30" fmla="*/ 461 w 617"/>
                  <a:gd name="T31" fmla="*/ 287 h 1014"/>
                  <a:gd name="T32" fmla="*/ 456 w 617"/>
                  <a:gd name="T33" fmla="*/ 231 h 1014"/>
                  <a:gd name="T34" fmla="*/ 440 w 617"/>
                  <a:gd name="T35" fmla="*/ 184 h 1014"/>
                  <a:gd name="T36" fmla="*/ 398 w 617"/>
                  <a:gd name="T37" fmla="*/ 133 h 1014"/>
                  <a:gd name="T38" fmla="*/ 333 w 617"/>
                  <a:gd name="T39" fmla="*/ 103 h 1014"/>
                  <a:gd name="T40" fmla="*/ 286 w 617"/>
                  <a:gd name="T41" fmla="*/ 97 h 1014"/>
                  <a:gd name="T42" fmla="*/ 219 w 617"/>
                  <a:gd name="T43" fmla="*/ 103 h 1014"/>
                  <a:gd name="T44" fmla="*/ 155 w 617"/>
                  <a:gd name="T45" fmla="*/ 128 h 1014"/>
                  <a:gd name="T46" fmla="*/ 98 w 617"/>
                  <a:gd name="T47" fmla="*/ 164 h 1014"/>
                  <a:gd name="T48" fmla="*/ 50 w 617"/>
                  <a:gd name="T49" fmla="*/ 208 h 1014"/>
                  <a:gd name="T50" fmla="*/ 39 w 617"/>
                  <a:gd name="T51" fmla="*/ 214 h 1014"/>
                  <a:gd name="T52" fmla="*/ 39 w 617"/>
                  <a:gd name="T53" fmla="*/ 206 h 1014"/>
                  <a:gd name="T54" fmla="*/ 41 w 617"/>
                  <a:gd name="T55" fmla="*/ 95 h 1014"/>
                  <a:gd name="T56" fmla="*/ 45 w 617"/>
                  <a:gd name="T57" fmla="*/ 89 h 1014"/>
                  <a:gd name="T58" fmla="*/ 108 w 617"/>
                  <a:gd name="T59" fmla="*/ 44 h 1014"/>
                  <a:gd name="T60" fmla="*/ 177 w 617"/>
                  <a:gd name="T61" fmla="*/ 14 h 1014"/>
                  <a:gd name="T62" fmla="*/ 226 w 617"/>
                  <a:gd name="T63" fmla="*/ 3 h 1014"/>
                  <a:gd name="T64" fmla="*/ 323 w 617"/>
                  <a:gd name="T65" fmla="*/ 0 h 1014"/>
                  <a:gd name="T66" fmla="*/ 381 w 617"/>
                  <a:gd name="T67" fmla="*/ 9 h 1014"/>
                  <a:gd name="T68" fmla="*/ 439 w 617"/>
                  <a:gd name="T69" fmla="*/ 31 h 1014"/>
                  <a:gd name="T70" fmla="*/ 500 w 617"/>
                  <a:gd name="T71" fmla="*/ 72 h 1014"/>
                  <a:gd name="T72" fmla="*/ 529 w 617"/>
                  <a:gd name="T73" fmla="*/ 105 h 1014"/>
                  <a:gd name="T74" fmla="*/ 553 w 617"/>
                  <a:gd name="T75" fmla="*/ 145 h 1014"/>
                  <a:gd name="T76" fmla="*/ 565 w 617"/>
                  <a:gd name="T77" fmla="*/ 176 h 1014"/>
                  <a:gd name="T78" fmla="*/ 576 w 617"/>
                  <a:gd name="T79" fmla="*/ 228 h 1014"/>
                  <a:gd name="T80" fmla="*/ 578 w 617"/>
                  <a:gd name="T81" fmla="*/ 298 h 1014"/>
                  <a:gd name="T82" fmla="*/ 570 w 617"/>
                  <a:gd name="T83" fmla="*/ 355 h 1014"/>
                  <a:gd name="T84" fmla="*/ 553 w 617"/>
                  <a:gd name="T85" fmla="*/ 408 h 1014"/>
                  <a:gd name="T86" fmla="*/ 520 w 617"/>
                  <a:gd name="T87" fmla="*/ 472 h 1014"/>
                  <a:gd name="T88" fmla="*/ 447 w 617"/>
                  <a:gd name="T89" fmla="*/ 555 h 1014"/>
                  <a:gd name="T90" fmla="*/ 381 w 617"/>
                  <a:gd name="T91" fmla="*/ 608 h 1014"/>
                  <a:gd name="T92" fmla="*/ 256 w 617"/>
                  <a:gd name="T93" fmla="*/ 700 h 1014"/>
                  <a:gd name="T94" fmla="*/ 203 w 617"/>
                  <a:gd name="T95" fmla="*/ 744 h 1014"/>
                  <a:gd name="T96" fmla="*/ 159 w 617"/>
                  <a:gd name="T97" fmla="*/ 789 h 1014"/>
                  <a:gd name="T98" fmla="*/ 141 w 617"/>
                  <a:gd name="T99" fmla="*/ 817 h 1014"/>
                  <a:gd name="T100" fmla="*/ 122 w 617"/>
                  <a:gd name="T101" fmla="*/ 875 h 1014"/>
                  <a:gd name="T102" fmla="*/ 120 w 617"/>
                  <a:gd name="T103" fmla="*/ 906 h 1014"/>
                  <a:gd name="T104" fmla="*/ 131 w 617"/>
                  <a:gd name="T105" fmla="*/ 911 h 1014"/>
                  <a:gd name="T106" fmla="*/ 142 w 617"/>
                  <a:gd name="T107" fmla="*/ 911 h 1014"/>
                  <a:gd name="T108" fmla="*/ 611 w 617"/>
                  <a:gd name="T109" fmla="*/ 911 h 1014"/>
                  <a:gd name="T110" fmla="*/ 617 w 617"/>
                  <a:gd name="T111" fmla="*/ 926 h 1014"/>
                  <a:gd name="T112" fmla="*/ 617 w 617"/>
                  <a:gd name="T113" fmla="*/ 1000 h 1014"/>
                  <a:gd name="T114" fmla="*/ 615 w 617"/>
                  <a:gd name="T115" fmla="*/ 1014 h 1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17" h="1014">
                    <a:moveTo>
                      <a:pt x="615" y="1014"/>
                    </a:moveTo>
                    <a:lnTo>
                      <a:pt x="615" y="1014"/>
                    </a:lnTo>
                    <a:lnTo>
                      <a:pt x="608" y="1014"/>
                    </a:lnTo>
                    <a:lnTo>
                      <a:pt x="600" y="1014"/>
                    </a:lnTo>
                    <a:lnTo>
                      <a:pt x="600" y="1014"/>
                    </a:lnTo>
                    <a:lnTo>
                      <a:pt x="17" y="1014"/>
                    </a:lnTo>
                    <a:lnTo>
                      <a:pt x="17" y="1014"/>
                    </a:lnTo>
                    <a:lnTo>
                      <a:pt x="6" y="1014"/>
                    </a:lnTo>
                    <a:lnTo>
                      <a:pt x="6" y="1014"/>
                    </a:lnTo>
                    <a:lnTo>
                      <a:pt x="2" y="1014"/>
                    </a:lnTo>
                    <a:lnTo>
                      <a:pt x="0" y="1012"/>
                    </a:lnTo>
                    <a:lnTo>
                      <a:pt x="0" y="1009"/>
                    </a:lnTo>
                    <a:lnTo>
                      <a:pt x="0" y="1009"/>
                    </a:lnTo>
                    <a:lnTo>
                      <a:pt x="0" y="972"/>
                    </a:lnTo>
                    <a:lnTo>
                      <a:pt x="2" y="936"/>
                    </a:lnTo>
                    <a:lnTo>
                      <a:pt x="5" y="898"/>
                    </a:lnTo>
                    <a:lnTo>
                      <a:pt x="6" y="881"/>
                    </a:lnTo>
                    <a:lnTo>
                      <a:pt x="11" y="862"/>
                    </a:lnTo>
                    <a:lnTo>
                      <a:pt x="11" y="862"/>
                    </a:lnTo>
                    <a:lnTo>
                      <a:pt x="17" y="841"/>
                    </a:lnTo>
                    <a:lnTo>
                      <a:pt x="25" y="820"/>
                    </a:lnTo>
                    <a:lnTo>
                      <a:pt x="34" y="801"/>
                    </a:lnTo>
                    <a:lnTo>
                      <a:pt x="44" y="783"/>
                    </a:lnTo>
                    <a:lnTo>
                      <a:pt x="56" y="764"/>
                    </a:lnTo>
                    <a:lnTo>
                      <a:pt x="69" y="747"/>
                    </a:lnTo>
                    <a:lnTo>
                      <a:pt x="83" y="730"/>
                    </a:lnTo>
                    <a:lnTo>
                      <a:pt x="98" y="714"/>
                    </a:lnTo>
                    <a:lnTo>
                      <a:pt x="98" y="714"/>
                    </a:lnTo>
                    <a:lnTo>
                      <a:pt x="131" y="681"/>
                    </a:lnTo>
                    <a:lnTo>
                      <a:pt x="167" y="651"/>
                    </a:lnTo>
                    <a:lnTo>
                      <a:pt x="203" y="623"/>
                    </a:lnTo>
                    <a:lnTo>
                      <a:pt x="241" y="595"/>
                    </a:lnTo>
                    <a:lnTo>
                      <a:pt x="241" y="595"/>
                    </a:lnTo>
                    <a:lnTo>
                      <a:pt x="303" y="548"/>
                    </a:lnTo>
                    <a:lnTo>
                      <a:pt x="333" y="525"/>
                    </a:lnTo>
                    <a:lnTo>
                      <a:pt x="361" y="498"/>
                    </a:lnTo>
                    <a:lnTo>
                      <a:pt x="361" y="498"/>
                    </a:lnTo>
                    <a:lnTo>
                      <a:pt x="378" y="481"/>
                    </a:lnTo>
                    <a:lnTo>
                      <a:pt x="392" y="464"/>
                    </a:lnTo>
                    <a:lnTo>
                      <a:pt x="406" y="447"/>
                    </a:lnTo>
                    <a:lnTo>
                      <a:pt x="420" y="428"/>
                    </a:lnTo>
                    <a:lnTo>
                      <a:pt x="431" y="409"/>
                    </a:lnTo>
                    <a:lnTo>
                      <a:pt x="440" y="389"/>
                    </a:lnTo>
                    <a:lnTo>
                      <a:pt x="448" y="367"/>
                    </a:lnTo>
                    <a:lnTo>
                      <a:pt x="455" y="344"/>
                    </a:lnTo>
                    <a:lnTo>
                      <a:pt x="455" y="344"/>
                    </a:lnTo>
                    <a:lnTo>
                      <a:pt x="459" y="316"/>
                    </a:lnTo>
                    <a:lnTo>
                      <a:pt x="461" y="287"/>
                    </a:lnTo>
                    <a:lnTo>
                      <a:pt x="461" y="259"/>
                    </a:lnTo>
                    <a:lnTo>
                      <a:pt x="459" y="245"/>
                    </a:lnTo>
                    <a:lnTo>
                      <a:pt x="456" y="231"/>
                    </a:lnTo>
                    <a:lnTo>
                      <a:pt x="456" y="231"/>
                    </a:lnTo>
                    <a:lnTo>
                      <a:pt x="450" y="206"/>
                    </a:lnTo>
                    <a:lnTo>
                      <a:pt x="440" y="184"/>
                    </a:lnTo>
                    <a:lnTo>
                      <a:pt x="428" y="164"/>
                    </a:lnTo>
                    <a:lnTo>
                      <a:pt x="414" y="147"/>
                    </a:lnTo>
                    <a:lnTo>
                      <a:pt x="398" y="133"/>
                    </a:lnTo>
                    <a:lnTo>
                      <a:pt x="378" y="120"/>
                    </a:lnTo>
                    <a:lnTo>
                      <a:pt x="356" y="111"/>
                    </a:lnTo>
                    <a:lnTo>
                      <a:pt x="333" y="103"/>
                    </a:lnTo>
                    <a:lnTo>
                      <a:pt x="333" y="103"/>
                    </a:lnTo>
                    <a:lnTo>
                      <a:pt x="309" y="98"/>
                    </a:lnTo>
                    <a:lnTo>
                      <a:pt x="286" y="97"/>
                    </a:lnTo>
                    <a:lnTo>
                      <a:pt x="264" y="97"/>
                    </a:lnTo>
                    <a:lnTo>
                      <a:pt x="241" y="100"/>
                    </a:lnTo>
                    <a:lnTo>
                      <a:pt x="219" y="103"/>
                    </a:lnTo>
                    <a:lnTo>
                      <a:pt x="198" y="111"/>
                    </a:lnTo>
                    <a:lnTo>
                      <a:pt x="177" y="119"/>
                    </a:lnTo>
                    <a:lnTo>
                      <a:pt x="155" y="128"/>
                    </a:lnTo>
                    <a:lnTo>
                      <a:pt x="155" y="128"/>
                    </a:lnTo>
                    <a:lnTo>
                      <a:pt x="127" y="145"/>
                    </a:lnTo>
                    <a:lnTo>
                      <a:pt x="98" y="164"/>
                    </a:lnTo>
                    <a:lnTo>
                      <a:pt x="73" y="184"/>
                    </a:lnTo>
                    <a:lnTo>
                      <a:pt x="50" y="208"/>
                    </a:lnTo>
                    <a:lnTo>
                      <a:pt x="50" y="208"/>
                    </a:lnTo>
                    <a:lnTo>
                      <a:pt x="42" y="216"/>
                    </a:lnTo>
                    <a:lnTo>
                      <a:pt x="42" y="216"/>
                    </a:lnTo>
                    <a:lnTo>
                      <a:pt x="39" y="214"/>
                    </a:lnTo>
                    <a:lnTo>
                      <a:pt x="39" y="211"/>
                    </a:lnTo>
                    <a:lnTo>
                      <a:pt x="39" y="206"/>
                    </a:lnTo>
                    <a:lnTo>
                      <a:pt x="39" y="206"/>
                    </a:lnTo>
                    <a:lnTo>
                      <a:pt x="39" y="105"/>
                    </a:lnTo>
                    <a:lnTo>
                      <a:pt x="39" y="105"/>
                    </a:lnTo>
                    <a:lnTo>
                      <a:pt x="41" y="95"/>
                    </a:lnTo>
                    <a:lnTo>
                      <a:pt x="42" y="92"/>
                    </a:lnTo>
                    <a:lnTo>
                      <a:pt x="45" y="89"/>
                    </a:lnTo>
                    <a:lnTo>
                      <a:pt x="45" y="89"/>
                    </a:lnTo>
                    <a:lnTo>
                      <a:pt x="66" y="72"/>
                    </a:lnTo>
                    <a:lnTo>
                      <a:pt x="86" y="56"/>
                    </a:lnTo>
                    <a:lnTo>
                      <a:pt x="108" y="44"/>
                    </a:lnTo>
                    <a:lnTo>
                      <a:pt x="130" y="31"/>
                    </a:lnTo>
                    <a:lnTo>
                      <a:pt x="152" y="22"/>
                    </a:lnTo>
                    <a:lnTo>
                      <a:pt x="177" y="14"/>
                    </a:lnTo>
                    <a:lnTo>
                      <a:pt x="200" y="8"/>
                    </a:lnTo>
                    <a:lnTo>
                      <a:pt x="226" y="3"/>
                    </a:lnTo>
                    <a:lnTo>
                      <a:pt x="226" y="3"/>
                    </a:lnTo>
                    <a:lnTo>
                      <a:pt x="266" y="0"/>
                    </a:lnTo>
                    <a:lnTo>
                      <a:pt x="305" y="0"/>
                    </a:lnTo>
                    <a:lnTo>
                      <a:pt x="323" y="0"/>
                    </a:lnTo>
                    <a:lnTo>
                      <a:pt x="342" y="1"/>
                    </a:lnTo>
                    <a:lnTo>
                      <a:pt x="362" y="5"/>
                    </a:lnTo>
                    <a:lnTo>
                      <a:pt x="381" y="9"/>
                    </a:lnTo>
                    <a:lnTo>
                      <a:pt x="381" y="9"/>
                    </a:lnTo>
                    <a:lnTo>
                      <a:pt x="411" y="19"/>
                    </a:lnTo>
                    <a:lnTo>
                      <a:pt x="439" y="31"/>
                    </a:lnTo>
                    <a:lnTo>
                      <a:pt x="465" y="45"/>
                    </a:lnTo>
                    <a:lnTo>
                      <a:pt x="489" y="62"/>
                    </a:lnTo>
                    <a:lnTo>
                      <a:pt x="500" y="72"/>
                    </a:lnTo>
                    <a:lnTo>
                      <a:pt x="511" y="83"/>
                    </a:lnTo>
                    <a:lnTo>
                      <a:pt x="520" y="94"/>
                    </a:lnTo>
                    <a:lnTo>
                      <a:pt x="529" y="105"/>
                    </a:lnTo>
                    <a:lnTo>
                      <a:pt x="537" y="117"/>
                    </a:lnTo>
                    <a:lnTo>
                      <a:pt x="545" y="131"/>
                    </a:lnTo>
                    <a:lnTo>
                      <a:pt x="553" y="145"/>
                    </a:lnTo>
                    <a:lnTo>
                      <a:pt x="559" y="159"/>
                    </a:lnTo>
                    <a:lnTo>
                      <a:pt x="559" y="159"/>
                    </a:lnTo>
                    <a:lnTo>
                      <a:pt x="565" y="176"/>
                    </a:lnTo>
                    <a:lnTo>
                      <a:pt x="570" y="194"/>
                    </a:lnTo>
                    <a:lnTo>
                      <a:pt x="573" y="211"/>
                    </a:lnTo>
                    <a:lnTo>
                      <a:pt x="576" y="228"/>
                    </a:lnTo>
                    <a:lnTo>
                      <a:pt x="578" y="262"/>
                    </a:lnTo>
                    <a:lnTo>
                      <a:pt x="578" y="298"/>
                    </a:lnTo>
                    <a:lnTo>
                      <a:pt x="578" y="298"/>
                    </a:lnTo>
                    <a:lnTo>
                      <a:pt x="576" y="317"/>
                    </a:lnTo>
                    <a:lnTo>
                      <a:pt x="573" y="337"/>
                    </a:lnTo>
                    <a:lnTo>
                      <a:pt x="570" y="355"/>
                    </a:lnTo>
                    <a:lnTo>
                      <a:pt x="565" y="373"/>
                    </a:lnTo>
                    <a:lnTo>
                      <a:pt x="559" y="391"/>
                    </a:lnTo>
                    <a:lnTo>
                      <a:pt x="553" y="408"/>
                    </a:lnTo>
                    <a:lnTo>
                      <a:pt x="547" y="425"/>
                    </a:lnTo>
                    <a:lnTo>
                      <a:pt x="539" y="441"/>
                    </a:lnTo>
                    <a:lnTo>
                      <a:pt x="520" y="472"/>
                    </a:lnTo>
                    <a:lnTo>
                      <a:pt x="498" y="500"/>
                    </a:lnTo>
                    <a:lnTo>
                      <a:pt x="473" y="528"/>
                    </a:lnTo>
                    <a:lnTo>
                      <a:pt x="447" y="555"/>
                    </a:lnTo>
                    <a:lnTo>
                      <a:pt x="447" y="555"/>
                    </a:lnTo>
                    <a:lnTo>
                      <a:pt x="414" y="583"/>
                    </a:lnTo>
                    <a:lnTo>
                      <a:pt x="381" y="608"/>
                    </a:lnTo>
                    <a:lnTo>
                      <a:pt x="312" y="658"/>
                    </a:lnTo>
                    <a:lnTo>
                      <a:pt x="312" y="658"/>
                    </a:lnTo>
                    <a:lnTo>
                      <a:pt x="256" y="700"/>
                    </a:lnTo>
                    <a:lnTo>
                      <a:pt x="230" y="722"/>
                    </a:lnTo>
                    <a:lnTo>
                      <a:pt x="203" y="744"/>
                    </a:lnTo>
                    <a:lnTo>
                      <a:pt x="203" y="744"/>
                    </a:lnTo>
                    <a:lnTo>
                      <a:pt x="187" y="758"/>
                    </a:lnTo>
                    <a:lnTo>
                      <a:pt x="173" y="773"/>
                    </a:lnTo>
                    <a:lnTo>
                      <a:pt x="159" y="789"/>
                    </a:lnTo>
                    <a:lnTo>
                      <a:pt x="148" y="806"/>
                    </a:lnTo>
                    <a:lnTo>
                      <a:pt x="148" y="806"/>
                    </a:lnTo>
                    <a:lnTo>
                      <a:pt x="141" y="817"/>
                    </a:lnTo>
                    <a:lnTo>
                      <a:pt x="136" y="828"/>
                    </a:lnTo>
                    <a:lnTo>
                      <a:pt x="127" y="851"/>
                    </a:lnTo>
                    <a:lnTo>
                      <a:pt x="122" y="875"/>
                    </a:lnTo>
                    <a:lnTo>
                      <a:pt x="120" y="900"/>
                    </a:lnTo>
                    <a:lnTo>
                      <a:pt x="120" y="900"/>
                    </a:lnTo>
                    <a:lnTo>
                      <a:pt x="120" y="906"/>
                    </a:lnTo>
                    <a:lnTo>
                      <a:pt x="122" y="909"/>
                    </a:lnTo>
                    <a:lnTo>
                      <a:pt x="125" y="911"/>
                    </a:lnTo>
                    <a:lnTo>
                      <a:pt x="131" y="911"/>
                    </a:lnTo>
                    <a:lnTo>
                      <a:pt x="131" y="911"/>
                    </a:lnTo>
                    <a:lnTo>
                      <a:pt x="142" y="911"/>
                    </a:lnTo>
                    <a:lnTo>
                      <a:pt x="142" y="911"/>
                    </a:lnTo>
                    <a:lnTo>
                      <a:pt x="600" y="911"/>
                    </a:lnTo>
                    <a:lnTo>
                      <a:pt x="600" y="911"/>
                    </a:lnTo>
                    <a:lnTo>
                      <a:pt x="611" y="911"/>
                    </a:lnTo>
                    <a:lnTo>
                      <a:pt x="615" y="912"/>
                    </a:lnTo>
                    <a:lnTo>
                      <a:pt x="617" y="917"/>
                    </a:lnTo>
                    <a:lnTo>
                      <a:pt x="617" y="926"/>
                    </a:lnTo>
                    <a:lnTo>
                      <a:pt x="617" y="926"/>
                    </a:lnTo>
                    <a:lnTo>
                      <a:pt x="617" y="1000"/>
                    </a:lnTo>
                    <a:lnTo>
                      <a:pt x="617" y="1000"/>
                    </a:lnTo>
                    <a:lnTo>
                      <a:pt x="617" y="1008"/>
                    </a:lnTo>
                    <a:lnTo>
                      <a:pt x="617" y="1011"/>
                    </a:lnTo>
                    <a:lnTo>
                      <a:pt x="615" y="1014"/>
                    </a:lnTo>
                    <a:lnTo>
                      <a:pt x="615" y="1014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xtLst/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3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35" name="Group 34"/>
            <p:cNvGrpSpPr/>
            <p:nvPr/>
          </p:nvGrpSpPr>
          <p:grpSpPr>
            <a:xfrm>
              <a:off x="6288368" y="4421889"/>
              <a:ext cx="5484989" cy="561211"/>
              <a:chOff x="6414463" y="4510061"/>
              <a:chExt cx="5594974" cy="572464"/>
            </a:xfrm>
          </p:grpSpPr>
          <p:sp>
            <p:nvSpPr>
              <p:cNvPr id="36" name="TextBox 35"/>
              <p:cNvSpPr txBox="1"/>
              <p:nvPr/>
            </p:nvSpPr>
            <p:spPr>
              <a:xfrm>
                <a:off x="6773543" y="4510061"/>
                <a:ext cx="5235894" cy="57246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wrap="square" lIns="89642" tIns="143428" rIns="44821" bIns="143428" rtlCol="0">
                <a:spAutoFit/>
              </a:bodyPr>
              <a:lstStyle/>
              <a:p>
                <a:pPr marL="0" marR="0" lvl="0" indent="0" defTabSz="91436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765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Combine the output from all sub-functions.</a:t>
                </a:r>
              </a:p>
            </p:txBody>
          </p:sp>
          <p:sp>
            <p:nvSpPr>
              <p:cNvPr id="37" name="Freeform 56"/>
              <p:cNvSpPr>
                <a:spLocks/>
              </p:cNvSpPr>
              <p:nvPr/>
            </p:nvSpPr>
            <p:spPr bwMode="auto">
              <a:xfrm>
                <a:off x="6414463" y="4567608"/>
                <a:ext cx="255916" cy="457370"/>
              </a:xfrm>
              <a:custGeom>
                <a:avLst/>
                <a:gdLst>
                  <a:gd name="T0" fmla="*/ 37 w 578"/>
                  <a:gd name="T1" fmla="*/ 63 h 1033"/>
                  <a:gd name="T2" fmla="*/ 47 w 578"/>
                  <a:gd name="T3" fmla="*/ 53 h 1033"/>
                  <a:gd name="T4" fmla="*/ 151 w 578"/>
                  <a:gd name="T5" fmla="*/ 13 h 1033"/>
                  <a:gd name="T6" fmla="*/ 222 w 578"/>
                  <a:gd name="T7" fmla="*/ 2 h 1033"/>
                  <a:gd name="T8" fmla="*/ 317 w 578"/>
                  <a:gd name="T9" fmla="*/ 5 h 1033"/>
                  <a:gd name="T10" fmla="*/ 398 w 578"/>
                  <a:gd name="T11" fmla="*/ 25 h 1033"/>
                  <a:gd name="T12" fmla="*/ 470 w 578"/>
                  <a:gd name="T13" fmla="*/ 71 h 1033"/>
                  <a:gd name="T14" fmla="*/ 525 w 578"/>
                  <a:gd name="T15" fmla="*/ 149 h 1033"/>
                  <a:gd name="T16" fmla="*/ 540 w 578"/>
                  <a:gd name="T17" fmla="*/ 222 h 1033"/>
                  <a:gd name="T18" fmla="*/ 532 w 578"/>
                  <a:gd name="T19" fmla="*/ 318 h 1033"/>
                  <a:gd name="T20" fmla="*/ 512 w 578"/>
                  <a:gd name="T21" fmla="*/ 371 h 1033"/>
                  <a:gd name="T22" fmla="*/ 451 w 578"/>
                  <a:gd name="T23" fmla="*/ 441 h 1033"/>
                  <a:gd name="T24" fmla="*/ 390 w 578"/>
                  <a:gd name="T25" fmla="*/ 477 h 1033"/>
                  <a:gd name="T26" fmla="*/ 353 w 578"/>
                  <a:gd name="T27" fmla="*/ 496 h 1033"/>
                  <a:gd name="T28" fmla="*/ 395 w 578"/>
                  <a:gd name="T29" fmla="*/ 505 h 1033"/>
                  <a:gd name="T30" fmla="*/ 468 w 578"/>
                  <a:gd name="T31" fmla="*/ 536 h 1033"/>
                  <a:gd name="T32" fmla="*/ 514 w 578"/>
                  <a:gd name="T33" fmla="*/ 574 h 1033"/>
                  <a:gd name="T34" fmla="*/ 557 w 578"/>
                  <a:gd name="T35" fmla="*/ 636 h 1033"/>
                  <a:gd name="T36" fmla="*/ 576 w 578"/>
                  <a:gd name="T37" fmla="*/ 711 h 1033"/>
                  <a:gd name="T38" fmla="*/ 572 w 578"/>
                  <a:gd name="T39" fmla="*/ 800 h 1033"/>
                  <a:gd name="T40" fmla="*/ 522 w 578"/>
                  <a:gd name="T41" fmla="*/ 907 h 1033"/>
                  <a:gd name="T42" fmla="*/ 475 w 578"/>
                  <a:gd name="T43" fmla="*/ 957 h 1033"/>
                  <a:gd name="T44" fmla="*/ 411 w 578"/>
                  <a:gd name="T45" fmla="*/ 996 h 1033"/>
                  <a:gd name="T46" fmla="*/ 353 w 578"/>
                  <a:gd name="T47" fmla="*/ 1018 h 1033"/>
                  <a:gd name="T48" fmla="*/ 259 w 578"/>
                  <a:gd name="T49" fmla="*/ 1033 h 1033"/>
                  <a:gd name="T50" fmla="*/ 189 w 578"/>
                  <a:gd name="T51" fmla="*/ 1033 h 1033"/>
                  <a:gd name="T52" fmla="*/ 64 w 578"/>
                  <a:gd name="T53" fmla="*/ 1010 h 1033"/>
                  <a:gd name="T54" fmla="*/ 8 w 578"/>
                  <a:gd name="T55" fmla="*/ 985 h 1033"/>
                  <a:gd name="T56" fmla="*/ 0 w 578"/>
                  <a:gd name="T57" fmla="*/ 971 h 1033"/>
                  <a:gd name="T58" fmla="*/ 3 w 578"/>
                  <a:gd name="T59" fmla="*/ 858 h 1033"/>
                  <a:gd name="T60" fmla="*/ 36 w 578"/>
                  <a:gd name="T61" fmla="*/ 882 h 1033"/>
                  <a:gd name="T62" fmla="*/ 156 w 578"/>
                  <a:gd name="T63" fmla="*/ 928 h 1033"/>
                  <a:gd name="T64" fmla="*/ 253 w 578"/>
                  <a:gd name="T65" fmla="*/ 935 h 1033"/>
                  <a:gd name="T66" fmla="*/ 342 w 578"/>
                  <a:gd name="T67" fmla="*/ 916 h 1033"/>
                  <a:gd name="T68" fmla="*/ 392 w 578"/>
                  <a:gd name="T69" fmla="*/ 888 h 1033"/>
                  <a:gd name="T70" fmla="*/ 428 w 578"/>
                  <a:gd name="T71" fmla="*/ 850 h 1033"/>
                  <a:gd name="T72" fmla="*/ 457 w 578"/>
                  <a:gd name="T73" fmla="*/ 782 h 1033"/>
                  <a:gd name="T74" fmla="*/ 456 w 578"/>
                  <a:gd name="T75" fmla="*/ 702 h 1033"/>
                  <a:gd name="T76" fmla="*/ 443 w 578"/>
                  <a:gd name="T77" fmla="*/ 660 h 1033"/>
                  <a:gd name="T78" fmla="*/ 401 w 578"/>
                  <a:gd name="T79" fmla="*/ 607 h 1033"/>
                  <a:gd name="T80" fmla="*/ 358 w 578"/>
                  <a:gd name="T81" fmla="*/ 578 h 1033"/>
                  <a:gd name="T82" fmla="*/ 244 w 578"/>
                  <a:gd name="T83" fmla="*/ 552 h 1033"/>
                  <a:gd name="T84" fmla="*/ 114 w 578"/>
                  <a:gd name="T85" fmla="*/ 549 h 1033"/>
                  <a:gd name="T86" fmla="*/ 100 w 578"/>
                  <a:gd name="T87" fmla="*/ 544 h 1033"/>
                  <a:gd name="T88" fmla="*/ 100 w 578"/>
                  <a:gd name="T89" fmla="*/ 461 h 1033"/>
                  <a:gd name="T90" fmla="*/ 111 w 578"/>
                  <a:gd name="T91" fmla="*/ 450 h 1033"/>
                  <a:gd name="T92" fmla="*/ 222 w 578"/>
                  <a:gd name="T93" fmla="*/ 450 h 1033"/>
                  <a:gd name="T94" fmla="*/ 311 w 578"/>
                  <a:gd name="T95" fmla="*/ 432 h 1033"/>
                  <a:gd name="T96" fmla="*/ 389 w 578"/>
                  <a:gd name="T97" fmla="*/ 380 h 1033"/>
                  <a:gd name="T98" fmla="*/ 423 w 578"/>
                  <a:gd name="T99" fmla="*/ 291 h 1033"/>
                  <a:gd name="T100" fmla="*/ 422 w 578"/>
                  <a:gd name="T101" fmla="*/ 235 h 1033"/>
                  <a:gd name="T102" fmla="*/ 406 w 578"/>
                  <a:gd name="T103" fmla="*/ 178 h 1033"/>
                  <a:gd name="T104" fmla="*/ 358 w 578"/>
                  <a:gd name="T105" fmla="*/ 127 h 1033"/>
                  <a:gd name="T106" fmla="*/ 297 w 578"/>
                  <a:gd name="T107" fmla="*/ 103 h 1033"/>
                  <a:gd name="T108" fmla="*/ 192 w 578"/>
                  <a:gd name="T109" fmla="*/ 102 h 1033"/>
                  <a:gd name="T110" fmla="*/ 115 w 578"/>
                  <a:gd name="T111" fmla="*/ 124 h 1033"/>
                  <a:gd name="T112" fmla="*/ 37 w 578"/>
                  <a:gd name="T113" fmla="*/ 169 h 10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78" h="1033">
                    <a:moveTo>
                      <a:pt x="37" y="169"/>
                    </a:moveTo>
                    <a:lnTo>
                      <a:pt x="37" y="169"/>
                    </a:lnTo>
                    <a:lnTo>
                      <a:pt x="37" y="63"/>
                    </a:lnTo>
                    <a:lnTo>
                      <a:pt x="37" y="63"/>
                    </a:lnTo>
                    <a:lnTo>
                      <a:pt x="39" y="60"/>
                    </a:lnTo>
                    <a:lnTo>
                      <a:pt x="40" y="57"/>
                    </a:lnTo>
                    <a:lnTo>
                      <a:pt x="47" y="53"/>
                    </a:lnTo>
                    <a:lnTo>
                      <a:pt x="47" y="53"/>
                    </a:lnTo>
                    <a:lnTo>
                      <a:pt x="72" y="41"/>
                    </a:lnTo>
                    <a:lnTo>
                      <a:pt x="97" y="30"/>
                    </a:lnTo>
                    <a:lnTo>
                      <a:pt x="123" y="21"/>
                    </a:lnTo>
                    <a:lnTo>
                      <a:pt x="151" y="13"/>
                    </a:lnTo>
                    <a:lnTo>
                      <a:pt x="151" y="13"/>
                    </a:lnTo>
                    <a:lnTo>
                      <a:pt x="175" y="8"/>
                    </a:lnTo>
                    <a:lnTo>
                      <a:pt x="198" y="5"/>
                    </a:lnTo>
                    <a:lnTo>
                      <a:pt x="222" y="2"/>
                    </a:lnTo>
                    <a:lnTo>
                      <a:pt x="245" y="0"/>
                    </a:lnTo>
                    <a:lnTo>
                      <a:pt x="270" y="0"/>
                    </a:lnTo>
                    <a:lnTo>
                      <a:pt x="293" y="2"/>
                    </a:lnTo>
                    <a:lnTo>
                      <a:pt x="317" y="5"/>
                    </a:lnTo>
                    <a:lnTo>
                      <a:pt x="342" y="8"/>
                    </a:lnTo>
                    <a:lnTo>
                      <a:pt x="342" y="8"/>
                    </a:lnTo>
                    <a:lnTo>
                      <a:pt x="370" y="16"/>
                    </a:lnTo>
                    <a:lnTo>
                      <a:pt x="398" y="25"/>
                    </a:lnTo>
                    <a:lnTo>
                      <a:pt x="425" y="39"/>
                    </a:lnTo>
                    <a:lnTo>
                      <a:pt x="450" y="55"/>
                    </a:lnTo>
                    <a:lnTo>
                      <a:pt x="450" y="55"/>
                    </a:lnTo>
                    <a:lnTo>
                      <a:pt x="470" y="71"/>
                    </a:lnTo>
                    <a:lnTo>
                      <a:pt x="487" y="89"/>
                    </a:lnTo>
                    <a:lnTo>
                      <a:pt x="503" y="108"/>
                    </a:lnTo>
                    <a:lnTo>
                      <a:pt x="515" y="128"/>
                    </a:lnTo>
                    <a:lnTo>
                      <a:pt x="525" y="149"/>
                    </a:lnTo>
                    <a:lnTo>
                      <a:pt x="532" y="172"/>
                    </a:lnTo>
                    <a:lnTo>
                      <a:pt x="539" y="196"/>
                    </a:lnTo>
                    <a:lnTo>
                      <a:pt x="540" y="222"/>
                    </a:lnTo>
                    <a:lnTo>
                      <a:pt x="540" y="222"/>
                    </a:lnTo>
                    <a:lnTo>
                      <a:pt x="542" y="253"/>
                    </a:lnTo>
                    <a:lnTo>
                      <a:pt x="539" y="286"/>
                    </a:lnTo>
                    <a:lnTo>
                      <a:pt x="536" y="302"/>
                    </a:lnTo>
                    <a:lnTo>
                      <a:pt x="532" y="318"/>
                    </a:lnTo>
                    <a:lnTo>
                      <a:pt x="528" y="333"/>
                    </a:lnTo>
                    <a:lnTo>
                      <a:pt x="523" y="349"/>
                    </a:lnTo>
                    <a:lnTo>
                      <a:pt x="523" y="349"/>
                    </a:lnTo>
                    <a:lnTo>
                      <a:pt x="512" y="371"/>
                    </a:lnTo>
                    <a:lnTo>
                      <a:pt x="500" y="391"/>
                    </a:lnTo>
                    <a:lnTo>
                      <a:pt x="486" y="410"/>
                    </a:lnTo>
                    <a:lnTo>
                      <a:pt x="470" y="425"/>
                    </a:lnTo>
                    <a:lnTo>
                      <a:pt x="451" y="441"/>
                    </a:lnTo>
                    <a:lnTo>
                      <a:pt x="432" y="455"/>
                    </a:lnTo>
                    <a:lnTo>
                      <a:pt x="412" y="466"/>
                    </a:lnTo>
                    <a:lnTo>
                      <a:pt x="390" y="477"/>
                    </a:lnTo>
                    <a:lnTo>
                      <a:pt x="390" y="477"/>
                    </a:lnTo>
                    <a:lnTo>
                      <a:pt x="367" y="485"/>
                    </a:lnTo>
                    <a:lnTo>
                      <a:pt x="343" y="494"/>
                    </a:lnTo>
                    <a:lnTo>
                      <a:pt x="343" y="494"/>
                    </a:lnTo>
                    <a:lnTo>
                      <a:pt x="353" y="496"/>
                    </a:lnTo>
                    <a:lnTo>
                      <a:pt x="361" y="497"/>
                    </a:lnTo>
                    <a:lnTo>
                      <a:pt x="376" y="500"/>
                    </a:lnTo>
                    <a:lnTo>
                      <a:pt x="376" y="500"/>
                    </a:lnTo>
                    <a:lnTo>
                      <a:pt x="395" y="505"/>
                    </a:lnTo>
                    <a:lnTo>
                      <a:pt x="415" y="511"/>
                    </a:lnTo>
                    <a:lnTo>
                      <a:pt x="432" y="518"/>
                    </a:lnTo>
                    <a:lnTo>
                      <a:pt x="451" y="527"/>
                    </a:lnTo>
                    <a:lnTo>
                      <a:pt x="468" y="536"/>
                    </a:lnTo>
                    <a:lnTo>
                      <a:pt x="484" y="547"/>
                    </a:lnTo>
                    <a:lnTo>
                      <a:pt x="500" y="560"/>
                    </a:lnTo>
                    <a:lnTo>
                      <a:pt x="514" y="574"/>
                    </a:lnTo>
                    <a:lnTo>
                      <a:pt x="514" y="574"/>
                    </a:lnTo>
                    <a:lnTo>
                      <a:pt x="528" y="588"/>
                    </a:lnTo>
                    <a:lnTo>
                      <a:pt x="539" y="603"/>
                    </a:lnTo>
                    <a:lnTo>
                      <a:pt x="550" y="619"/>
                    </a:lnTo>
                    <a:lnTo>
                      <a:pt x="557" y="636"/>
                    </a:lnTo>
                    <a:lnTo>
                      <a:pt x="565" y="653"/>
                    </a:lnTo>
                    <a:lnTo>
                      <a:pt x="570" y="672"/>
                    </a:lnTo>
                    <a:lnTo>
                      <a:pt x="575" y="691"/>
                    </a:lnTo>
                    <a:lnTo>
                      <a:pt x="576" y="711"/>
                    </a:lnTo>
                    <a:lnTo>
                      <a:pt x="576" y="711"/>
                    </a:lnTo>
                    <a:lnTo>
                      <a:pt x="578" y="743"/>
                    </a:lnTo>
                    <a:lnTo>
                      <a:pt x="576" y="772"/>
                    </a:lnTo>
                    <a:lnTo>
                      <a:pt x="572" y="800"/>
                    </a:lnTo>
                    <a:lnTo>
                      <a:pt x="564" y="828"/>
                    </a:lnTo>
                    <a:lnTo>
                      <a:pt x="553" y="857"/>
                    </a:lnTo>
                    <a:lnTo>
                      <a:pt x="539" y="882"/>
                    </a:lnTo>
                    <a:lnTo>
                      <a:pt x="522" y="907"/>
                    </a:lnTo>
                    <a:lnTo>
                      <a:pt x="503" y="932"/>
                    </a:lnTo>
                    <a:lnTo>
                      <a:pt x="503" y="932"/>
                    </a:lnTo>
                    <a:lnTo>
                      <a:pt x="489" y="944"/>
                    </a:lnTo>
                    <a:lnTo>
                      <a:pt x="475" y="957"/>
                    </a:lnTo>
                    <a:lnTo>
                      <a:pt x="459" y="968"/>
                    </a:lnTo>
                    <a:lnTo>
                      <a:pt x="443" y="978"/>
                    </a:lnTo>
                    <a:lnTo>
                      <a:pt x="428" y="988"/>
                    </a:lnTo>
                    <a:lnTo>
                      <a:pt x="411" y="996"/>
                    </a:lnTo>
                    <a:lnTo>
                      <a:pt x="393" y="1003"/>
                    </a:lnTo>
                    <a:lnTo>
                      <a:pt x="375" y="1010"/>
                    </a:lnTo>
                    <a:lnTo>
                      <a:pt x="375" y="1010"/>
                    </a:lnTo>
                    <a:lnTo>
                      <a:pt x="353" y="1018"/>
                    </a:lnTo>
                    <a:lnTo>
                      <a:pt x="329" y="1024"/>
                    </a:lnTo>
                    <a:lnTo>
                      <a:pt x="306" y="1027"/>
                    </a:lnTo>
                    <a:lnTo>
                      <a:pt x="283" y="1030"/>
                    </a:lnTo>
                    <a:lnTo>
                      <a:pt x="259" y="1033"/>
                    </a:lnTo>
                    <a:lnTo>
                      <a:pt x="236" y="1033"/>
                    </a:lnTo>
                    <a:lnTo>
                      <a:pt x="212" y="1033"/>
                    </a:lnTo>
                    <a:lnTo>
                      <a:pt x="189" y="1033"/>
                    </a:lnTo>
                    <a:lnTo>
                      <a:pt x="189" y="1033"/>
                    </a:lnTo>
                    <a:lnTo>
                      <a:pt x="158" y="1030"/>
                    </a:lnTo>
                    <a:lnTo>
                      <a:pt x="126" y="1025"/>
                    </a:lnTo>
                    <a:lnTo>
                      <a:pt x="95" y="1019"/>
                    </a:lnTo>
                    <a:lnTo>
                      <a:pt x="64" y="1010"/>
                    </a:lnTo>
                    <a:lnTo>
                      <a:pt x="64" y="1010"/>
                    </a:lnTo>
                    <a:lnTo>
                      <a:pt x="36" y="999"/>
                    </a:lnTo>
                    <a:lnTo>
                      <a:pt x="8" y="985"/>
                    </a:lnTo>
                    <a:lnTo>
                      <a:pt x="8" y="985"/>
                    </a:lnTo>
                    <a:lnTo>
                      <a:pt x="3" y="982"/>
                    </a:lnTo>
                    <a:lnTo>
                      <a:pt x="1" y="978"/>
                    </a:lnTo>
                    <a:lnTo>
                      <a:pt x="0" y="975"/>
                    </a:lnTo>
                    <a:lnTo>
                      <a:pt x="0" y="971"/>
                    </a:lnTo>
                    <a:lnTo>
                      <a:pt x="0" y="971"/>
                    </a:lnTo>
                    <a:lnTo>
                      <a:pt x="0" y="860"/>
                    </a:lnTo>
                    <a:lnTo>
                      <a:pt x="0" y="860"/>
                    </a:lnTo>
                    <a:lnTo>
                      <a:pt x="3" y="858"/>
                    </a:lnTo>
                    <a:lnTo>
                      <a:pt x="5" y="860"/>
                    </a:lnTo>
                    <a:lnTo>
                      <a:pt x="9" y="863"/>
                    </a:lnTo>
                    <a:lnTo>
                      <a:pt x="9" y="863"/>
                    </a:lnTo>
                    <a:lnTo>
                      <a:pt x="36" y="882"/>
                    </a:lnTo>
                    <a:lnTo>
                      <a:pt x="65" y="897"/>
                    </a:lnTo>
                    <a:lnTo>
                      <a:pt x="94" y="910"/>
                    </a:lnTo>
                    <a:lnTo>
                      <a:pt x="125" y="921"/>
                    </a:lnTo>
                    <a:lnTo>
                      <a:pt x="156" y="928"/>
                    </a:lnTo>
                    <a:lnTo>
                      <a:pt x="187" y="933"/>
                    </a:lnTo>
                    <a:lnTo>
                      <a:pt x="220" y="935"/>
                    </a:lnTo>
                    <a:lnTo>
                      <a:pt x="253" y="935"/>
                    </a:lnTo>
                    <a:lnTo>
                      <a:pt x="253" y="935"/>
                    </a:lnTo>
                    <a:lnTo>
                      <a:pt x="283" y="932"/>
                    </a:lnTo>
                    <a:lnTo>
                      <a:pt x="312" y="925"/>
                    </a:lnTo>
                    <a:lnTo>
                      <a:pt x="328" y="922"/>
                    </a:lnTo>
                    <a:lnTo>
                      <a:pt x="342" y="916"/>
                    </a:lnTo>
                    <a:lnTo>
                      <a:pt x="356" y="910"/>
                    </a:lnTo>
                    <a:lnTo>
                      <a:pt x="368" y="903"/>
                    </a:lnTo>
                    <a:lnTo>
                      <a:pt x="368" y="903"/>
                    </a:lnTo>
                    <a:lnTo>
                      <a:pt x="392" y="888"/>
                    </a:lnTo>
                    <a:lnTo>
                      <a:pt x="403" y="878"/>
                    </a:lnTo>
                    <a:lnTo>
                      <a:pt x="412" y="871"/>
                    </a:lnTo>
                    <a:lnTo>
                      <a:pt x="420" y="861"/>
                    </a:lnTo>
                    <a:lnTo>
                      <a:pt x="428" y="850"/>
                    </a:lnTo>
                    <a:lnTo>
                      <a:pt x="436" y="841"/>
                    </a:lnTo>
                    <a:lnTo>
                      <a:pt x="442" y="830"/>
                    </a:lnTo>
                    <a:lnTo>
                      <a:pt x="451" y="807"/>
                    </a:lnTo>
                    <a:lnTo>
                      <a:pt x="457" y="782"/>
                    </a:lnTo>
                    <a:lnTo>
                      <a:pt x="459" y="755"/>
                    </a:lnTo>
                    <a:lnTo>
                      <a:pt x="459" y="727"/>
                    </a:lnTo>
                    <a:lnTo>
                      <a:pt x="459" y="727"/>
                    </a:lnTo>
                    <a:lnTo>
                      <a:pt x="456" y="702"/>
                    </a:lnTo>
                    <a:lnTo>
                      <a:pt x="454" y="689"/>
                    </a:lnTo>
                    <a:lnTo>
                      <a:pt x="450" y="677"/>
                    </a:lnTo>
                    <a:lnTo>
                      <a:pt x="450" y="677"/>
                    </a:lnTo>
                    <a:lnTo>
                      <a:pt x="443" y="660"/>
                    </a:lnTo>
                    <a:lnTo>
                      <a:pt x="436" y="644"/>
                    </a:lnTo>
                    <a:lnTo>
                      <a:pt x="425" y="630"/>
                    </a:lnTo>
                    <a:lnTo>
                      <a:pt x="414" y="618"/>
                    </a:lnTo>
                    <a:lnTo>
                      <a:pt x="401" y="607"/>
                    </a:lnTo>
                    <a:lnTo>
                      <a:pt x="389" y="596"/>
                    </a:lnTo>
                    <a:lnTo>
                      <a:pt x="373" y="586"/>
                    </a:lnTo>
                    <a:lnTo>
                      <a:pt x="358" y="578"/>
                    </a:lnTo>
                    <a:lnTo>
                      <a:pt x="358" y="578"/>
                    </a:lnTo>
                    <a:lnTo>
                      <a:pt x="331" y="569"/>
                    </a:lnTo>
                    <a:lnTo>
                      <a:pt x="301" y="561"/>
                    </a:lnTo>
                    <a:lnTo>
                      <a:pt x="273" y="555"/>
                    </a:lnTo>
                    <a:lnTo>
                      <a:pt x="244" y="552"/>
                    </a:lnTo>
                    <a:lnTo>
                      <a:pt x="244" y="552"/>
                    </a:lnTo>
                    <a:lnTo>
                      <a:pt x="211" y="549"/>
                    </a:lnTo>
                    <a:lnTo>
                      <a:pt x="178" y="549"/>
                    </a:lnTo>
                    <a:lnTo>
                      <a:pt x="114" y="549"/>
                    </a:lnTo>
                    <a:lnTo>
                      <a:pt x="114" y="549"/>
                    </a:lnTo>
                    <a:lnTo>
                      <a:pt x="104" y="549"/>
                    </a:lnTo>
                    <a:lnTo>
                      <a:pt x="101" y="547"/>
                    </a:lnTo>
                    <a:lnTo>
                      <a:pt x="100" y="544"/>
                    </a:lnTo>
                    <a:lnTo>
                      <a:pt x="100" y="535"/>
                    </a:lnTo>
                    <a:lnTo>
                      <a:pt x="100" y="535"/>
                    </a:lnTo>
                    <a:lnTo>
                      <a:pt x="100" y="461"/>
                    </a:lnTo>
                    <a:lnTo>
                      <a:pt x="100" y="461"/>
                    </a:lnTo>
                    <a:lnTo>
                      <a:pt x="100" y="455"/>
                    </a:lnTo>
                    <a:lnTo>
                      <a:pt x="101" y="452"/>
                    </a:lnTo>
                    <a:lnTo>
                      <a:pt x="104" y="452"/>
                    </a:lnTo>
                    <a:lnTo>
                      <a:pt x="111" y="450"/>
                    </a:lnTo>
                    <a:lnTo>
                      <a:pt x="111" y="450"/>
                    </a:lnTo>
                    <a:lnTo>
                      <a:pt x="192" y="450"/>
                    </a:lnTo>
                    <a:lnTo>
                      <a:pt x="192" y="450"/>
                    </a:lnTo>
                    <a:lnTo>
                      <a:pt x="222" y="450"/>
                    </a:lnTo>
                    <a:lnTo>
                      <a:pt x="251" y="446"/>
                    </a:lnTo>
                    <a:lnTo>
                      <a:pt x="281" y="441"/>
                    </a:lnTo>
                    <a:lnTo>
                      <a:pt x="311" y="432"/>
                    </a:lnTo>
                    <a:lnTo>
                      <a:pt x="311" y="432"/>
                    </a:lnTo>
                    <a:lnTo>
                      <a:pt x="334" y="422"/>
                    </a:lnTo>
                    <a:lnTo>
                      <a:pt x="354" y="410"/>
                    </a:lnTo>
                    <a:lnTo>
                      <a:pt x="373" y="396"/>
                    </a:lnTo>
                    <a:lnTo>
                      <a:pt x="389" y="380"/>
                    </a:lnTo>
                    <a:lnTo>
                      <a:pt x="401" y="361"/>
                    </a:lnTo>
                    <a:lnTo>
                      <a:pt x="412" y="341"/>
                    </a:lnTo>
                    <a:lnTo>
                      <a:pt x="418" y="318"/>
                    </a:lnTo>
                    <a:lnTo>
                      <a:pt x="423" y="291"/>
                    </a:lnTo>
                    <a:lnTo>
                      <a:pt x="423" y="291"/>
                    </a:lnTo>
                    <a:lnTo>
                      <a:pt x="425" y="272"/>
                    </a:lnTo>
                    <a:lnTo>
                      <a:pt x="423" y="253"/>
                    </a:lnTo>
                    <a:lnTo>
                      <a:pt x="422" y="235"/>
                    </a:lnTo>
                    <a:lnTo>
                      <a:pt x="418" y="216"/>
                    </a:lnTo>
                    <a:lnTo>
                      <a:pt x="418" y="216"/>
                    </a:lnTo>
                    <a:lnTo>
                      <a:pt x="414" y="197"/>
                    </a:lnTo>
                    <a:lnTo>
                      <a:pt x="406" y="178"/>
                    </a:lnTo>
                    <a:lnTo>
                      <a:pt x="397" y="163"/>
                    </a:lnTo>
                    <a:lnTo>
                      <a:pt x="386" y="149"/>
                    </a:lnTo>
                    <a:lnTo>
                      <a:pt x="373" y="136"/>
                    </a:lnTo>
                    <a:lnTo>
                      <a:pt x="358" y="127"/>
                    </a:lnTo>
                    <a:lnTo>
                      <a:pt x="342" y="118"/>
                    </a:lnTo>
                    <a:lnTo>
                      <a:pt x="323" y="111"/>
                    </a:lnTo>
                    <a:lnTo>
                      <a:pt x="323" y="111"/>
                    </a:lnTo>
                    <a:lnTo>
                      <a:pt x="297" y="103"/>
                    </a:lnTo>
                    <a:lnTo>
                      <a:pt x="270" y="100"/>
                    </a:lnTo>
                    <a:lnTo>
                      <a:pt x="244" y="99"/>
                    </a:lnTo>
                    <a:lnTo>
                      <a:pt x="217" y="99"/>
                    </a:lnTo>
                    <a:lnTo>
                      <a:pt x="192" y="102"/>
                    </a:lnTo>
                    <a:lnTo>
                      <a:pt x="165" y="107"/>
                    </a:lnTo>
                    <a:lnTo>
                      <a:pt x="140" y="114"/>
                    </a:lnTo>
                    <a:lnTo>
                      <a:pt x="115" y="124"/>
                    </a:lnTo>
                    <a:lnTo>
                      <a:pt x="115" y="124"/>
                    </a:lnTo>
                    <a:lnTo>
                      <a:pt x="95" y="133"/>
                    </a:lnTo>
                    <a:lnTo>
                      <a:pt x="76" y="144"/>
                    </a:lnTo>
                    <a:lnTo>
                      <a:pt x="58" y="157"/>
                    </a:lnTo>
                    <a:lnTo>
                      <a:pt x="37" y="169"/>
                    </a:lnTo>
                    <a:lnTo>
                      <a:pt x="37" y="169"/>
                    </a:ln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xtLst/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3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38" name="Group 37"/>
            <p:cNvGrpSpPr/>
            <p:nvPr/>
          </p:nvGrpSpPr>
          <p:grpSpPr>
            <a:xfrm>
              <a:off x="6640390" y="1905226"/>
              <a:ext cx="4080758" cy="543108"/>
              <a:chOff x="7200580" y="2009338"/>
              <a:chExt cx="4162586" cy="553998"/>
            </a:xfrm>
          </p:grpSpPr>
          <p:sp>
            <p:nvSpPr>
              <p:cNvPr id="39" name="Rectangle 38"/>
              <p:cNvSpPr/>
              <p:nvPr/>
            </p:nvSpPr>
            <p:spPr bwMode="auto">
              <a:xfrm>
                <a:off x="7200580" y="2140594"/>
                <a:ext cx="746306" cy="422742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10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0" name="Right Arrow 7"/>
              <p:cNvSpPr/>
              <p:nvPr/>
            </p:nvSpPr>
            <p:spPr bwMode="auto">
              <a:xfrm>
                <a:off x="8049228" y="2259553"/>
                <a:ext cx="616585" cy="203935"/>
              </a:xfrm>
              <a:prstGeom prst="rightArrow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10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1" name="Rectangle 40"/>
              <p:cNvSpPr/>
              <p:nvPr/>
            </p:nvSpPr>
            <p:spPr bwMode="auto">
              <a:xfrm>
                <a:off x="8768155" y="2247466"/>
                <a:ext cx="429805" cy="22810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10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2" name="Rectangle 41"/>
              <p:cNvSpPr/>
              <p:nvPr/>
            </p:nvSpPr>
            <p:spPr bwMode="auto">
              <a:xfrm>
                <a:off x="9300302" y="2247466"/>
                <a:ext cx="429805" cy="22810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10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3" name="Rectangle 42"/>
              <p:cNvSpPr/>
              <p:nvPr/>
            </p:nvSpPr>
            <p:spPr bwMode="auto">
              <a:xfrm>
                <a:off x="9832450" y="2247466"/>
                <a:ext cx="429805" cy="22810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10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" name="TextBox 43"/>
              <p:cNvSpPr txBox="1"/>
              <p:nvPr/>
            </p:nvSpPr>
            <p:spPr>
              <a:xfrm>
                <a:off x="10348465" y="2009338"/>
                <a:ext cx="1014701" cy="55399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defTabSz="91436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52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68217A"/>
                    </a:solidFill>
                    <a:effectLst/>
                    <a:uLnTx/>
                    <a:uFillTx/>
                  </a:rPr>
                  <a:t>………</a:t>
                </a:r>
              </a:p>
            </p:txBody>
          </p:sp>
        </p:grpSp>
        <p:grpSp>
          <p:nvGrpSpPr>
            <p:cNvPr id="45" name="Group 44"/>
            <p:cNvGrpSpPr/>
            <p:nvPr/>
          </p:nvGrpSpPr>
          <p:grpSpPr>
            <a:xfrm>
              <a:off x="6388636" y="1278915"/>
              <a:ext cx="5384721" cy="561211"/>
              <a:chOff x="6943778" y="1370469"/>
              <a:chExt cx="5492696" cy="572464"/>
            </a:xfrm>
          </p:grpSpPr>
          <p:sp>
            <p:nvSpPr>
              <p:cNvPr id="46" name="TextBox 45"/>
              <p:cNvSpPr txBox="1"/>
              <p:nvPr/>
            </p:nvSpPr>
            <p:spPr>
              <a:xfrm>
                <a:off x="7200579" y="1370469"/>
                <a:ext cx="5235895" cy="57246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wrap="square" lIns="89642" tIns="143428" rIns="44821" bIns="143428" rtlCol="0">
                <a:spAutoFit/>
              </a:bodyPr>
              <a:lstStyle/>
              <a:p>
                <a:pPr marL="230321" marR="0" lvl="0" indent="-230321" defTabSz="91436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765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Divide a large problem into sub-problems.</a:t>
                </a:r>
              </a:p>
            </p:txBody>
          </p:sp>
          <p:sp>
            <p:nvSpPr>
              <p:cNvPr id="47" name="Freeform 57"/>
              <p:cNvSpPr>
                <a:spLocks/>
              </p:cNvSpPr>
              <p:nvPr/>
            </p:nvSpPr>
            <p:spPr bwMode="auto">
              <a:xfrm>
                <a:off x="6943778" y="1430894"/>
                <a:ext cx="153638" cy="451614"/>
              </a:xfrm>
              <a:custGeom>
                <a:avLst/>
                <a:gdLst>
                  <a:gd name="T0" fmla="*/ 231 w 347"/>
                  <a:gd name="T1" fmla="*/ 161 h 1020"/>
                  <a:gd name="T2" fmla="*/ 178 w 347"/>
                  <a:gd name="T3" fmla="*/ 198 h 1020"/>
                  <a:gd name="T4" fmla="*/ 122 w 347"/>
                  <a:gd name="T5" fmla="*/ 229 h 1020"/>
                  <a:gd name="T6" fmla="*/ 64 w 347"/>
                  <a:gd name="T7" fmla="*/ 256 h 1020"/>
                  <a:gd name="T8" fmla="*/ 3 w 347"/>
                  <a:gd name="T9" fmla="*/ 276 h 1020"/>
                  <a:gd name="T10" fmla="*/ 2 w 347"/>
                  <a:gd name="T11" fmla="*/ 273 h 1020"/>
                  <a:gd name="T12" fmla="*/ 0 w 347"/>
                  <a:gd name="T13" fmla="*/ 264 h 1020"/>
                  <a:gd name="T14" fmla="*/ 0 w 347"/>
                  <a:gd name="T15" fmla="*/ 172 h 1020"/>
                  <a:gd name="T16" fmla="*/ 0 w 347"/>
                  <a:gd name="T17" fmla="*/ 165 h 1020"/>
                  <a:gd name="T18" fmla="*/ 7 w 347"/>
                  <a:gd name="T19" fmla="*/ 159 h 1020"/>
                  <a:gd name="T20" fmla="*/ 11 w 347"/>
                  <a:gd name="T21" fmla="*/ 157 h 1020"/>
                  <a:gd name="T22" fmla="*/ 78 w 347"/>
                  <a:gd name="T23" fmla="*/ 132 h 1020"/>
                  <a:gd name="T24" fmla="*/ 144 w 347"/>
                  <a:gd name="T25" fmla="*/ 103 h 1020"/>
                  <a:gd name="T26" fmla="*/ 205 w 347"/>
                  <a:gd name="T27" fmla="*/ 68 h 1020"/>
                  <a:gd name="T28" fmla="*/ 266 w 347"/>
                  <a:gd name="T29" fmla="*/ 29 h 1020"/>
                  <a:gd name="T30" fmla="*/ 296 w 347"/>
                  <a:gd name="T31" fmla="*/ 4 h 1020"/>
                  <a:gd name="T32" fmla="*/ 302 w 347"/>
                  <a:gd name="T33" fmla="*/ 1 h 1020"/>
                  <a:gd name="T34" fmla="*/ 308 w 347"/>
                  <a:gd name="T35" fmla="*/ 0 h 1020"/>
                  <a:gd name="T36" fmla="*/ 339 w 347"/>
                  <a:gd name="T37" fmla="*/ 0 h 1020"/>
                  <a:gd name="T38" fmla="*/ 346 w 347"/>
                  <a:gd name="T39" fmla="*/ 1 h 1020"/>
                  <a:gd name="T40" fmla="*/ 347 w 347"/>
                  <a:gd name="T41" fmla="*/ 7 h 1020"/>
                  <a:gd name="T42" fmla="*/ 347 w 347"/>
                  <a:gd name="T43" fmla="*/ 18 h 1020"/>
                  <a:gd name="T44" fmla="*/ 347 w 347"/>
                  <a:gd name="T45" fmla="*/ 1003 h 1020"/>
                  <a:gd name="T46" fmla="*/ 347 w 347"/>
                  <a:gd name="T47" fmla="*/ 1012 h 1020"/>
                  <a:gd name="T48" fmla="*/ 344 w 347"/>
                  <a:gd name="T49" fmla="*/ 1018 h 1020"/>
                  <a:gd name="T50" fmla="*/ 339 w 347"/>
                  <a:gd name="T51" fmla="*/ 1020 h 1020"/>
                  <a:gd name="T52" fmla="*/ 328 w 347"/>
                  <a:gd name="T53" fmla="*/ 1020 h 1020"/>
                  <a:gd name="T54" fmla="*/ 242 w 347"/>
                  <a:gd name="T55" fmla="*/ 1020 h 1020"/>
                  <a:gd name="T56" fmla="*/ 233 w 347"/>
                  <a:gd name="T57" fmla="*/ 1018 h 1020"/>
                  <a:gd name="T58" fmla="*/ 231 w 347"/>
                  <a:gd name="T59" fmla="*/ 1011 h 1020"/>
                  <a:gd name="T60" fmla="*/ 231 w 347"/>
                  <a:gd name="T61" fmla="*/ 1000 h 1020"/>
                  <a:gd name="T62" fmla="*/ 231 w 347"/>
                  <a:gd name="T63" fmla="*/ 181 h 1020"/>
                  <a:gd name="T64" fmla="*/ 231 w 347"/>
                  <a:gd name="T65" fmla="*/ 161 h 10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47" h="1020">
                    <a:moveTo>
                      <a:pt x="231" y="161"/>
                    </a:moveTo>
                    <a:lnTo>
                      <a:pt x="231" y="161"/>
                    </a:lnTo>
                    <a:lnTo>
                      <a:pt x="205" y="181"/>
                    </a:lnTo>
                    <a:lnTo>
                      <a:pt x="178" y="198"/>
                    </a:lnTo>
                    <a:lnTo>
                      <a:pt x="150" y="215"/>
                    </a:lnTo>
                    <a:lnTo>
                      <a:pt x="122" y="229"/>
                    </a:lnTo>
                    <a:lnTo>
                      <a:pt x="92" y="243"/>
                    </a:lnTo>
                    <a:lnTo>
                      <a:pt x="64" y="256"/>
                    </a:lnTo>
                    <a:lnTo>
                      <a:pt x="33" y="267"/>
                    </a:lnTo>
                    <a:lnTo>
                      <a:pt x="3" y="276"/>
                    </a:lnTo>
                    <a:lnTo>
                      <a:pt x="3" y="276"/>
                    </a:lnTo>
                    <a:lnTo>
                      <a:pt x="2" y="273"/>
                    </a:lnTo>
                    <a:lnTo>
                      <a:pt x="0" y="270"/>
                    </a:lnTo>
                    <a:lnTo>
                      <a:pt x="0" y="264"/>
                    </a:lnTo>
                    <a:lnTo>
                      <a:pt x="0" y="264"/>
                    </a:lnTo>
                    <a:lnTo>
                      <a:pt x="0" y="172"/>
                    </a:lnTo>
                    <a:lnTo>
                      <a:pt x="0" y="172"/>
                    </a:lnTo>
                    <a:lnTo>
                      <a:pt x="0" y="165"/>
                    </a:lnTo>
                    <a:lnTo>
                      <a:pt x="3" y="162"/>
                    </a:lnTo>
                    <a:lnTo>
                      <a:pt x="7" y="159"/>
                    </a:lnTo>
                    <a:lnTo>
                      <a:pt x="11" y="157"/>
                    </a:lnTo>
                    <a:lnTo>
                      <a:pt x="11" y="157"/>
                    </a:lnTo>
                    <a:lnTo>
                      <a:pt x="46" y="145"/>
                    </a:lnTo>
                    <a:lnTo>
                      <a:pt x="78" y="132"/>
                    </a:lnTo>
                    <a:lnTo>
                      <a:pt x="111" y="118"/>
                    </a:lnTo>
                    <a:lnTo>
                      <a:pt x="144" y="103"/>
                    </a:lnTo>
                    <a:lnTo>
                      <a:pt x="175" y="86"/>
                    </a:lnTo>
                    <a:lnTo>
                      <a:pt x="205" y="68"/>
                    </a:lnTo>
                    <a:lnTo>
                      <a:pt x="236" y="50"/>
                    </a:lnTo>
                    <a:lnTo>
                      <a:pt x="266" y="29"/>
                    </a:lnTo>
                    <a:lnTo>
                      <a:pt x="266" y="29"/>
                    </a:lnTo>
                    <a:lnTo>
                      <a:pt x="296" y="4"/>
                    </a:lnTo>
                    <a:lnTo>
                      <a:pt x="296" y="4"/>
                    </a:lnTo>
                    <a:lnTo>
                      <a:pt x="302" y="1"/>
                    </a:lnTo>
                    <a:lnTo>
                      <a:pt x="308" y="0"/>
                    </a:lnTo>
                    <a:lnTo>
                      <a:pt x="308" y="0"/>
                    </a:lnTo>
                    <a:lnTo>
                      <a:pt x="339" y="0"/>
                    </a:lnTo>
                    <a:lnTo>
                      <a:pt x="339" y="0"/>
                    </a:lnTo>
                    <a:lnTo>
                      <a:pt x="344" y="0"/>
                    </a:lnTo>
                    <a:lnTo>
                      <a:pt x="346" y="1"/>
                    </a:lnTo>
                    <a:lnTo>
                      <a:pt x="347" y="4"/>
                    </a:lnTo>
                    <a:lnTo>
                      <a:pt x="347" y="7"/>
                    </a:lnTo>
                    <a:lnTo>
                      <a:pt x="347" y="7"/>
                    </a:lnTo>
                    <a:lnTo>
                      <a:pt x="347" y="18"/>
                    </a:lnTo>
                    <a:lnTo>
                      <a:pt x="347" y="18"/>
                    </a:lnTo>
                    <a:lnTo>
                      <a:pt x="347" y="1003"/>
                    </a:lnTo>
                    <a:lnTo>
                      <a:pt x="347" y="1003"/>
                    </a:lnTo>
                    <a:lnTo>
                      <a:pt x="347" y="1012"/>
                    </a:lnTo>
                    <a:lnTo>
                      <a:pt x="346" y="1017"/>
                    </a:lnTo>
                    <a:lnTo>
                      <a:pt x="344" y="1018"/>
                    </a:lnTo>
                    <a:lnTo>
                      <a:pt x="342" y="1020"/>
                    </a:lnTo>
                    <a:lnTo>
                      <a:pt x="339" y="1020"/>
                    </a:lnTo>
                    <a:lnTo>
                      <a:pt x="328" y="1020"/>
                    </a:lnTo>
                    <a:lnTo>
                      <a:pt x="328" y="1020"/>
                    </a:lnTo>
                    <a:lnTo>
                      <a:pt x="242" y="1020"/>
                    </a:lnTo>
                    <a:lnTo>
                      <a:pt x="242" y="1020"/>
                    </a:lnTo>
                    <a:lnTo>
                      <a:pt x="236" y="1020"/>
                    </a:lnTo>
                    <a:lnTo>
                      <a:pt x="233" y="1018"/>
                    </a:lnTo>
                    <a:lnTo>
                      <a:pt x="231" y="1015"/>
                    </a:lnTo>
                    <a:lnTo>
                      <a:pt x="231" y="1011"/>
                    </a:lnTo>
                    <a:lnTo>
                      <a:pt x="231" y="1011"/>
                    </a:lnTo>
                    <a:lnTo>
                      <a:pt x="231" y="1000"/>
                    </a:lnTo>
                    <a:lnTo>
                      <a:pt x="231" y="1000"/>
                    </a:lnTo>
                    <a:lnTo>
                      <a:pt x="231" y="181"/>
                    </a:lnTo>
                    <a:lnTo>
                      <a:pt x="231" y="181"/>
                    </a:lnTo>
                    <a:lnTo>
                      <a:pt x="231" y="161"/>
                    </a:lnTo>
                    <a:lnTo>
                      <a:pt x="231" y="161"/>
                    </a:lnTo>
                    <a:close/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  <a:extLst/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3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81462631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_TILE" val="YE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_TILE" val="YE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_TILE" val="YE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_TILE" val="YE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_TILE" val="YE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_TILE" val="YE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_TILE" val="YE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_TILE" val="YES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WHITE TEMPLATE">
  <a:themeElements>
    <a:clrScheme name="BT - Dark Purple on white 2">
      <a:dk1>
        <a:srgbClr val="505050"/>
      </a:dk1>
      <a:lt1>
        <a:srgbClr val="FFFFFF"/>
      </a:lt1>
      <a:dk2>
        <a:srgbClr val="32145A"/>
      </a:dk2>
      <a:lt2>
        <a:srgbClr val="E7DCF4"/>
      </a:lt2>
      <a:accent1>
        <a:srgbClr val="32145A"/>
      </a:accent1>
      <a:accent2>
        <a:srgbClr val="5C2D91"/>
      </a:accent2>
      <a:accent3>
        <a:srgbClr val="B4009E"/>
      </a:accent3>
      <a:accent4>
        <a:srgbClr val="0078D7"/>
      </a:accent4>
      <a:accent5>
        <a:srgbClr val="107C10"/>
      </a:accent5>
      <a:accent6>
        <a:srgbClr val="D83B01"/>
      </a:accent6>
      <a:hlink>
        <a:srgbClr val="5C2D91"/>
      </a:hlink>
      <a:folHlink>
        <a:srgbClr val="5C2D91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6-9_Business_DARK_Purple_2016_4.potx" id="{F230D9BC-2807-4FF4-A52E-87669ED1A81F}" vid="{D4EDA164-A9DF-4FD6-84AA-6D2E5BC1200A}"/>
    </a:ext>
  </a:extLst>
</a:theme>
</file>

<file path=ppt/theme/theme3.xml><?xml version="1.0" encoding="utf-8"?>
<a:theme xmlns:a="http://schemas.openxmlformats.org/drawingml/2006/main" name="4_COLOR TEMPLATE">
  <a:themeElements>
    <a:clrScheme name="Custom 11">
      <a:dk1>
        <a:srgbClr val="505050"/>
      </a:dk1>
      <a:lt1>
        <a:srgbClr val="FFFFFF"/>
      </a:lt1>
      <a:dk2>
        <a:srgbClr val="002050"/>
      </a:dk2>
      <a:lt2>
        <a:srgbClr val="CDF4FF"/>
      </a:lt2>
      <a:accent1>
        <a:srgbClr val="0078D7"/>
      </a:accent1>
      <a:accent2>
        <a:srgbClr val="D83B01"/>
      </a:accent2>
      <a:accent3>
        <a:srgbClr val="107C10"/>
      </a:accent3>
      <a:accent4>
        <a:srgbClr val="B4009E"/>
      </a:accent4>
      <a:accent5>
        <a:srgbClr val="5C2D91"/>
      </a:accent5>
      <a:accent6>
        <a:srgbClr val="008272"/>
      </a:accent6>
      <a:hlink>
        <a:srgbClr val="CDF4FF"/>
      </a:hlink>
      <a:folHlink>
        <a:srgbClr val="CDF4F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32472" fontAlgn="base">
          <a:spcBef>
            <a:spcPct val="0"/>
          </a:spcBef>
          <a:spcAft>
            <a:spcPct val="0"/>
          </a:spcAft>
          <a:defRPr sz="2400">
            <a:solidFill>
              <a:schemeClr val="tx1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2D6B5C47-15D3-4853-A69E-31534ABCEC61}"/>
    </a:ext>
  </a:extLst>
</a:theme>
</file>

<file path=ppt/theme/theme4.xml><?xml version="1.0" encoding="utf-8"?>
<a:theme xmlns:a="http://schemas.openxmlformats.org/drawingml/2006/main" name="COLOR TEMPLATE">
  <a:themeElements>
    <a:clrScheme name="Custom 1">
      <a:dk1>
        <a:srgbClr val="505050"/>
      </a:dk1>
      <a:lt1>
        <a:srgbClr val="FFFFFF"/>
      </a:lt1>
      <a:dk2>
        <a:srgbClr val="002050"/>
      </a:dk2>
      <a:lt2>
        <a:srgbClr val="CDF4FF"/>
      </a:lt2>
      <a:accent1>
        <a:srgbClr val="0078D7"/>
      </a:accent1>
      <a:accent2>
        <a:srgbClr val="D83B01"/>
      </a:accent2>
      <a:accent3>
        <a:srgbClr val="107C10"/>
      </a:accent3>
      <a:accent4>
        <a:srgbClr val="B4009E"/>
      </a:accent4>
      <a:accent5>
        <a:srgbClr val="5C2D91"/>
      </a:accent5>
      <a:accent6>
        <a:srgbClr val="008272"/>
      </a:accent6>
      <a:hlink>
        <a:srgbClr val="002050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32472" fontAlgn="base">
          <a:spcBef>
            <a:spcPct val="0"/>
          </a:spcBef>
          <a:spcAft>
            <a:spcPct val="0"/>
          </a:spcAft>
          <a:defRPr sz="2400">
            <a:solidFill>
              <a:schemeClr val="tx1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2D6B5C47-15D3-4853-A69E-31534ABCEC61}"/>
    </a:ext>
  </a:extLst>
</a:theme>
</file>

<file path=ppt/theme/theme5.xml><?xml version="1.0" encoding="utf-8"?>
<a:theme xmlns:a="http://schemas.openxmlformats.org/drawingml/2006/main" name="ADLSE_Template">
  <a:themeElements>
    <a:clrScheme name="ADL">
      <a:dk1>
        <a:srgbClr val="505050"/>
      </a:dk1>
      <a:lt1>
        <a:srgbClr val="FFFFFF"/>
      </a:lt1>
      <a:dk2>
        <a:srgbClr val="002050"/>
      </a:dk2>
      <a:lt2>
        <a:srgbClr val="F2F2F2"/>
      </a:lt2>
      <a:accent1>
        <a:srgbClr val="7FBA00"/>
      </a:accent1>
      <a:accent2>
        <a:srgbClr val="0078D7"/>
      </a:accent2>
      <a:accent3>
        <a:srgbClr val="00BCF2"/>
      </a:accent3>
      <a:accent4>
        <a:srgbClr val="FF8C00"/>
      </a:accent4>
      <a:accent5>
        <a:srgbClr val="FFB900"/>
      </a:accent5>
      <a:accent6>
        <a:srgbClr val="5C2D91"/>
      </a:accent6>
      <a:hlink>
        <a:srgbClr val="00BCF2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5439">
                  <a:srgbClr val="F8F8F8"/>
                </a:gs>
                <a:gs pos="10000">
                  <a:srgbClr val="F8F8F8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6_16x9_Template.potx" id="{61D5EBA6-A23E-492C-8A07-E4BCB14E768B}" vid="{2C5385DD-25CC-4B4A-8E83-9D91F0EF820F}"/>
    </a:ext>
  </a:extLst>
</a:theme>
</file>

<file path=ppt/theme/theme6.xml><?xml version="1.0" encoding="utf-8"?>
<a:theme xmlns:a="http://schemas.openxmlformats.org/drawingml/2006/main" name="1_STB Conversations 2013">
  <a:themeElements>
    <a:clrScheme name="STB 2013 colors">
      <a:dk1>
        <a:srgbClr val="000000"/>
      </a:dk1>
      <a:lt1>
        <a:srgbClr val="FFFFFF"/>
      </a:lt1>
      <a:dk2>
        <a:srgbClr val="505050"/>
      </a:dk2>
      <a:lt2>
        <a:srgbClr val="D2D2D2"/>
      </a:lt2>
      <a:accent1>
        <a:srgbClr val="0072C6"/>
      </a:accent1>
      <a:accent2>
        <a:srgbClr val="008272"/>
      </a:accent2>
      <a:accent3>
        <a:srgbClr val="68217A"/>
      </a:accent3>
      <a:accent4>
        <a:srgbClr val="DC3C00"/>
      </a:accent4>
      <a:accent5>
        <a:srgbClr val="FF8C00"/>
      </a:accent5>
      <a:accent6>
        <a:srgbClr val="00BCF2"/>
      </a:accent6>
      <a:hlink>
        <a:srgbClr val="505050"/>
      </a:hlink>
      <a:folHlink>
        <a:srgbClr val="505050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4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000" b="1" dirty="0" smtClean="0">
            <a:solidFill>
              <a:schemeClr val="bg1"/>
            </a:solidFill>
            <a:latin typeface="+mj-lt"/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noAutofit/>
      </a:bodyPr>
      <a:lstStyle>
        <a:defPPr>
          <a:lnSpc>
            <a:spcPct val="90000"/>
          </a:lnSpc>
          <a:spcAft>
            <a:spcPts val="600"/>
          </a:spcAft>
          <a:defRPr sz="2400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Theme1">
  <a:themeElements>
    <a:clrScheme name="STB 2013 colors">
      <a:dk1>
        <a:srgbClr val="000000"/>
      </a:dk1>
      <a:lt1>
        <a:srgbClr val="FFFFFF"/>
      </a:lt1>
      <a:dk2>
        <a:srgbClr val="505050"/>
      </a:dk2>
      <a:lt2>
        <a:srgbClr val="D2D2D2"/>
      </a:lt2>
      <a:accent1>
        <a:srgbClr val="0072C6"/>
      </a:accent1>
      <a:accent2>
        <a:srgbClr val="008272"/>
      </a:accent2>
      <a:accent3>
        <a:srgbClr val="68217A"/>
      </a:accent3>
      <a:accent4>
        <a:srgbClr val="DC3C00"/>
      </a:accent4>
      <a:accent5>
        <a:srgbClr val="FF8C00"/>
      </a:accent5>
      <a:accent6>
        <a:srgbClr val="00BCF2"/>
      </a:accent6>
      <a:hlink>
        <a:srgbClr val="505050"/>
      </a:hlink>
      <a:folHlink>
        <a:srgbClr val="505050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4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000" b="1" dirty="0" smtClean="0">
            <a:solidFill>
              <a:schemeClr val="bg1"/>
            </a:solidFill>
            <a:latin typeface="+mj-lt"/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182880" tIns="146304" rIns="182880" bIns="146304" rtlCol="0">
        <a:noAutofit/>
      </a:bodyPr>
      <a:lstStyle>
        <a:defPPr>
          <a:lnSpc>
            <a:spcPct val="90000"/>
          </a:lnSpc>
          <a:spcAft>
            <a:spcPts val="600"/>
          </a:spcAft>
          <a:defRPr dirty="0" smtClean="0">
            <a:solidFill>
              <a:schemeClr val="tx1">
                <a:lumMod val="85000"/>
                <a:lumOff val="1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heme1" id="{3B365E36-265F-42ED-90CB-897686AA20D5}" vid="{42BB44ED-578C-437B-982F-BE4F33A2196C}"/>
    </a:ext>
  </a:extLst>
</a:theme>
</file>

<file path=ppt/theme/theme8.xml><?xml version="1.0" encoding="utf-8"?>
<a:theme xmlns:a="http://schemas.openxmlformats.org/drawingml/2006/main" name="1_COLOR TEMPLATE">
  <a:themeElements>
    <a:clrScheme name="Custom 11">
      <a:dk1>
        <a:srgbClr val="505050"/>
      </a:dk1>
      <a:lt1>
        <a:srgbClr val="FFFFFF"/>
      </a:lt1>
      <a:dk2>
        <a:srgbClr val="002050"/>
      </a:dk2>
      <a:lt2>
        <a:srgbClr val="CDF4FF"/>
      </a:lt2>
      <a:accent1>
        <a:srgbClr val="0078D7"/>
      </a:accent1>
      <a:accent2>
        <a:srgbClr val="D83B01"/>
      </a:accent2>
      <a:accent3>
        <a:srgbClr val="107C10"/>
      </a:accent3>
      <a:accent4>
        <a:srgbClr val="B4009E"/>
      </a:accent4>
      <a:accent5>
        <a:srgbClr val="5C2D91"/>
      </a:accent5>
      <a:accent6>
        <a:srgbClr val="008272"/>
      </a:accent6>
      <a:hlink>
        <a:srgbClr val="CDF4FF"/>
      </a:hlink>
      <a:folHlink>
        <a:srgbClr val="CDF4F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2D6B5C47-15D3-4853-A69E-31534ABCEC61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33</TotalTime>
  <Words>1019</Words>
  <Application>Microsoft Office PowerPoint</Application>
  <PresentationFormat>Widescreen</PresentationFormat>
  <Paragraphs>311</Paragraphs>
  <Slides>31</Slides>
  <Notes>25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55" baseType="lpstr">
      <vt:lpstr>MS PGothic</vt:lpstr>
      <vt:lpstr>MS PGothic</vt:lpstr>
      <vt:lpstr>Arial</vt:lpstr>
      <vt:lpstr>Calibri</vt:lpstr>
      <vt:lpstr>Calibri Light</vt:lpstr>
      <vt:lpstr>Consolas</vt:lpstr>
      <vt:lpstr>Segoe</vt:lpstr>
      <vt:lpstr>Segoe Semibold</vt:lpstr>
      <vt:lpstr>Segoe UI</vt:lpstr>
      <vt:lpstr>Segoe UI Black</vt:lpstr>
      <vt:lpstr>Segoe UI Light</vt:lpstr>
      <vt:lpstr>Segoe UI Semibold</vt:lpstr>
      <vt:lpstr>Segoe UI Semilight</vt:lpstr>
      <vt:lpstr>Wingdings</vt:lpstr>
      <vt:lpstr>Wingdings 3</vt:lpstr>
      <vt:lpstr>Office Theme</vt:lpstr>
      <vt:lpstr>WHITE TEMPLATE</vt:lpstr>
      <vt:lpstr>4_COLOR TEMPLATE</vt:lpstr>
      <vt:lpstr>COLOR TEMPLATE</vt:lpstr>
      <vt:lpstr>ADLSE_Template</vt:lpstr>
      <vt:lpstr>1_STB Conversations 2013</vt:lpstr>
      <vt:lpstr>Theme1</vt:lpstr>
      <vt:lpstr>1_COLOR TEMPLATE</vt:lpstr>
      <vt:lpstr>think-cell Slide</vt:lpstr>
      <vt:lpstr>Microsoft Azure Data Masterclass</vt:lpstr>
      <vt:lpstr>Data on Azure</vt:lpstr>
      <vt:lpstr>Big Data On Azure</vt:lpstr>
      <vt:lpstr>Azure HDInsight</vt:lpstr>
      <vt:lpstr>Azure HDInsight</vt:lpstr>
      <vt:lpstr>Cluster Types</vt:lpstr>
      <vt:lpstr>Hadoop</vt:lpstr>
      <vt:lpstr>HDFS</vt:lpstr>
      <vt:lpstr>MapReduce</vt:lpstr>
      <vt:lpstr>Hive</vt:lpstr>
      <vt:lpstr>HBase</vt:lpstr>
      <vt:lpstr>Storm</vt:lpstr>
      <vt:lpstr>Kafka</vt:lpstr>
      <vt:lpstr>Demo – HDInsight Hadoop</vt:lpstr>
      <vt:lpstr>Spark</vt:lpstr>
      <vt:lpstr>Demo – HDInsight Spark</vt:lpstr>
      <vt:lpstr>Event ingestion patterns</vt:lpstr>
      <vt:lpstr>Azure Data Lake Store</vt:lpstr>
      <vt:lpstr>Data Lake Store</vt:lpstr>
      <vt:lpstr>Data Lake Store</vt:lpstr>
      <vt:lpstr>ADL Store: Ingress</vt:lpstr>
      <vt:lpstr>ADL Store: Egress</vt:lpstr>
      <vt:lpstr>Azure Data Lake Analytics</vt:lpstr>
      <vt:lpstr>PowerPoint Presentation</vt:lpstr>
      <vt:lpstr>Data Lake Analytics</vt:lpstr>
      <vt:lpstr>PowerPoint Presentation</vt:lpstr>
      <vt:lpstr>U-SQL Example</vt:lpstr>
      <vt:lpstr>Demo – Data Lake</vt:lpstr>
      <vt:lpstr>Lambda Architecture</vt:lpstr>
      <vt:lpstr>Lambda architecture</vt:lpstr>
      <vt:lpstr>Azure implem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, Data and more Data: Strategies for handling data on Microsoft Azure</dc:title>
  <dc:creator>David Gristwood</dc:creator>
  <cp:lastModifiedBy>Bianca Furtuna</cp:lastModifiedBy>
  <cp:revision>177</cp:revision>
  <dcterms:created xsi:type="dcterms:W3CDTF">2016-12-07T10:44:31Z</dcterms:created>
  <dcterms:modified xsi:type="dcterms:W3CDTF">2017-02-15T14:16:34Z</dcterms:modified>
</cp:coreProperties>
</file>